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slides/slide69.xml" ContentType="application/vnd.openxmlformats-officedocument.presentationml.slide+xml"/>
  <Override PartName="/ppt/slides/slide70.xml" ContentType="application/vnd.openxmlformats-officedocument.presentationml.slide+xml"/>
  <Override PartName="/ppt/presentation.xml" ContentType="application/vnd.openxmlformats-officedocument.presentationml.presentation.main+xml"/>
  <Override PartName="/ppt/slides/slide68.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1.xml" ContentType="application/vnd.openxmlformats-officedocument.presentationml.slide+xml"/>
  <Override PartName="/ppt/slides/slide40.xml" ContentType="application/vnd.openxmlformats-officedocument.presentationml.slide+xml"/>
  <Override PartName="/ppt/slides/slide39.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58.xml" ContentType="application/vnd.openxmlformats-officedocument.presentationml.slide+xml"/>
  <Override PartName="/ppt/slides/slide57.xml" ContentType="application/vnd.openxmlformats-officedocument.presentationml.slide+xml"/>
  <Override PartName="/ppt/slides/slide56.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33.xml" ContentType="application/vnd.openxmlformats-officedocument.presentationml.slide+xml"/>
  <Override PartName="/ppt/slides/slide32.xml" ContentType="application/vnd.openxmlformats-officedocument.presentationml.slide+xml"/>
  <Override PartName="/ppt/slides/slide31.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8.xml" ContentType="application/vnd.openxmlformats-officedocument.presentationml.slide+xml"/>
  <Override PartName="/ppt/slides/slide7.xml" ContentType="application/vnd.openxmlformats-officedocument.presentationml.slide+xml"/>
  <Override PartName="/ppt/slides/slide6.xml" ContentType="application/vnd.openxmlformats-officedocument.presentationml.slide+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25.xml" ContentType="application/vnd.openxmlformats-officedocument.presentationml.slide+xml"/>
  <Override PartName="/ppt/slides/slide24.xml" ContentType="application/vnd.openxmlformats-officedocument.presentationml.slide+xml"/>
  <Override PartName="/ppt/slides/slide23.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notesSlides/notesSlide1.xml" ContentType="application/vnd.openxmlformats-officedocument.presentationml.notesSlide+xml"/>
  <Override PartName="/ppt/slideLayouts/slideLayout5.xml" ContentType="application/vnd.openxmlformats-officedocument.presentationml.slideLayout+xml"/>
  <Override PartName="/ppt/slideLayouts/slideLayout4.xml" ContentType="application/vnd.openxmlformats-officedocument.presentationml.slideLayout+xml"/>
  <Override PartName="/ppt/slideLayouts/slideLayout3.xml" ContentType="application/vnd.openxmlformats-officedocument.presentationml.slideLayout+xml"/>
  <Override PartName="/ppt/notesSlides/notesSlide2.xml" ContentType="application/vnd.openxmlformats-officedocument.presentationml.notesSlide+xml"/>
  <Override PartName="/ppt/slideLayouts/slideLayout1.xml" ContentType="application/vnd.openxmlformats-officedocument.presentationml.slideLayout+xml"/>
  <Override PartName="/ppt/notesSlides/notesSlide4.xml" ContentType="application/vnd.openxmlformats-officedocument.presentationml.notesSlide+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13.xml" ContentType="application/vnd.openxmlformats-officedocument.presentationml.slideLayout+xml"/>
  <Override PartName="/ppt/notesSlides/notesSlide3.xml" ContentType="application/vnd.openxmlformats-officedocument.presentationml.notesSlide+xml"/>
  <Override PartName="/ppt/slideLayouts/slideLayout12.xml" ContentType="application/vnd.openxmlformats-officedocument.presentationml.slideLayout+xml"/>
  <Override PartName="/ppt/slideLayouts/slideLayout11.xml" ContentType="application/vnd.openxmlformats-officedocument.presentationml.slideLayout+xml"/>
  <Override PartName="/ppt/slideLayouts/slideLayout10.xml" ContentType="application/vnd.openxmlformats-officedocument.presentationml.slideLayout+xml"/>
  <Override PartName="/ppt/slideLayouts/slideLayout9.xml" ContentType="application/vnd.openxmlformats-officedocument.presentationml.slideLayout+xml"/>
  <Override PartName="/ppt/slideLayouts/slideLayout8.xml" ContentType="application/vnd.openxmlformats-officedocument.presentationml.slideLayout+xml"/>
  <Override PartName="/ppt/slideMasters/slideMaster1.xml" ContentType="application/vnd.openxmlformats-officedocument.presentationml.slideMaster+xml"/>
  <Override PartName="/ppt/slideLayouts/slideLayout2.xml" ContentType="application/vnd.openxmlformats-officedocument.presentationml.slideLayout+xml"/>
  <Override PartName="/ppt/theme/theme3.xml" ContentType="application/vnd.openxmlformats-officedocument.theme+xml"/>
  <Override PartName="/ppt/theme/themeOverride1.xml" ContentType="application/vnd.openxmlformats-officedocument.themeOverride+xml"/>
  <Override PartName="/ppt/theme/theme2.xml" ContentType="application/vnd.openxmlformats-officedocument.them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theme/theme1.xml" ContentType="application/vnd.openxmlformats-officedocument.theme+xml"/>
  <Override PartName="/ppt/theme/themeOverride2.xml" ContentType="application/vnd.openxmlformats-officedocument.themeOverride+xml"/>
  <Override PartName="/ppt/tableStyles.xml" ContentType="application/vnd.openxmlformats-officedocument.presentationml.tableStyles+xml"/>
  <Override PartName="/ppt/presProps.xml" ContentType="application/vnd.openxmlformats-officedocument.presentationml.presProps+xml"/>
  <Override PartName="/ppt/viewProps.xml" ContentType="application/vnd.openxmlformats-officedocument.presentationml.viewProps+xml"/>
  <Override PartName="/customXml/itemProps1.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customXml/itemProps3.xml" ContentType="application/vnd.openxmlformats-officedocument.customXmlProperties+xml"/>
  <Override PartName="/customXml/itemProps2.xml" ContentType="application/vnd.openxmlformats-officedocument.customXmlProperties+xml"/>
  <Override PartName="/ppt/tags/tag1.xml" ContentType="application/vnd.openxmlformats-officedocument.presentationml.tags+xml"/>
  <Override PartName="/customXml/itemProps5.xml" ContentType="application/vnd.openxmlformats-officedocument.customXmlProperties+xml"/>
  <Override PartName="/customXml/itemProps4.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75"/>
  </p:notesMasterIdLst>
  <p:handoutMasterIdLst>
    <p:handoutMasterId r:id="rId76"/>
  </p:handoutMasterIdLst>
  <p:sldIdLst>
    <p:sldId id="257" r:id="rId5"/>
    <p:sldId id="284" r:id="rId6"/>
    <p:sldId id="258" r:id="rId7"/>
    <p:sldId id="286" r:id="rId8"/>
    <p:sldId id="287" r:id="rId9"/>
    <p:sldId id="291" r:id="rId10"/>
    <p:sldId id="288" r:id="rId11"/>
    <p:sldId id="289" r:id="rId12"/>
    <p:sldId id="290" r:id="rId13"/>
    <p:sldId id="292" r:id="rId14"/>
    <p:sldId id="293" r:id="rId15"/>
    <p:sldId id="300" r:id="rId16"/>
    <p:sldId id="295" r:id="rId17"/>
    <p:sldId id="299" r:id="rId18"/>
    <p:sldId id="294" r:id="rId19"/>
    <p:sldId id="296" r:id="rId20"/>
    <p:sldId id="298" r:id="rId21"/>
    <p:sldId id="304" r:id="rId22"/>
    <p:sldId id="305" r:id="rId23"/>
    <p:sldId id="303" r:id="rId24"/>
    <p:sldId id="302" r:id="rId25"/>
    <p:sldId id="306" r:id="rId26"/>
    <p:sldId id="301" r:id="rId27"/>
    <p:sldId id="259" r:id="rId28"/>
    <p:sldId id="344" r:id="rId29"/>
    <p:sldId id="346" r:id="rId30"/>
    <p:sldId id="347" r:id="rId31"/>
    <p:sldId id="348" r:id="rId32"/>
    <p:sldId id="345" r:id="rId33"/>
    <p:sldId id="308" r:id="rId34"/>
    <p:sldId id="309" r:id="rId35"/>
    <p:sldId id="310" r:id="rId36"/>
    <p:sldId id="311" r:id="rId37"/>
    <p:sldId id="312" r:id="rId38"/>
    <p:sldId id="313" r:id="rId39"/>
    <p:sldId id="314" r:id="rId40"/>
    <p:sldId id="315" r:id="rId41"/>
    <p:sldId id="316" r:id="rId42"/>
    <p:sldId id="317" r:id="rId43"/>
    <p:sldId id="318" r:id="rId44"/>
    <p:sldId id="325" r:id="rId45"/>
    <p:sldId id="327" r:id="rId46"/>
    <p:sldId id="326" r:id="rId47"/>
    <p:sldId id="328" r:id="rId48"/>
    <p:sldId id="329" r:id="rId49"/>
    <p:sldId id="330" r:id="rId50"/>
    <p:sldId id="331" r:id="rId51"/>
    <p:sldId id="332" r:id="rId52"/>
    <p:sldId id="320" r:id="rId53"/>
    <p:sldId id="334" r:id="rId54"/>
    <p:sldId id="335" r:id="rId55"/>
    <p:sldId id="336" r:id="rId56"/>
    <p:sldId id="337" r:id="rId57"/>
    <p:sldId id="338" r:id="rId58"/>
    <p:sldId id="333" r:id="rId59"/>
    <p:sldId id="339" r:id="rId60"/>
    <p:sldId id="340" r:id="rId61"/>
    <p:sldId id="341" r:id="rId62"/>
    <p:sldId id="343" r:id="rId63"/>
    <p:sldId id="342" r:id="rId64"/>
    <p:sldId id="349" r:id="rId65"/>
    <p:sldId id="350" r:id="rId66"/>
    <p:sldId id="351" r:id="rId67"/>
    <p:sldId id="352" r:id="rId68"/>
    <p:sldId id="322" r:id="rId69"/>
    <p:sldId id="323" r:id="rId70"/>
    <p:sldId id="324" r:id="rId71"/>
    <p:sldId id="353" r:id="rId72"/>
    <p:sldId id="354" r:id="rId73"/>
    <p:sldId id="283" r:id="rId74"/>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Tauschia Copeland" initials="TC" lastIdx="51" clrIdx="0">
    <p:extLst>
      <p:ext uri="{19B8F6BF-5375-455C-9EA6-DF929625EA0E}">
        <p15:presenceInfo xmlns:p15="http://schemas.microsoft.com/office/powerpoint/2012/main" userId="Tauschia Copeland" providerId="None"/>
      </p:ext>
    </p:extLst>
  </p:cmAuthor>
  <p:cmAuthor id="2" name="Madhu Reddy" initials="MR" lastIdx="1" clrIdx="1">
    <p:extLst>
      <p:ext uri="{19B8F6BF-5375-455C-9EA6-DF929625EA0E}">
        <p15:presenceInfo xmlns:p15="http://schemas.microsoft.com/office/powerpoint/2012/main" userId="0d8d4d483ea927c5"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975" autoAdjust="0"/>
    <p:restoredTop sz="94660"/>
  </p:normalViewPr>
  <p:slideViewPr>
    <p:cSldViewPr snapToGrid="0">
      <p:cViewPr varScale="1">
        <p:scale>
          <a:sx n="74" d="100"/>
          <a:sy n="74" d="100"/>
        </p:scale>
        <p:origin x="378" y="66"/>
      </p:cViewPr>
      <p:guideLst/>
    </p:cSldViewPr>
  </p:slideViewPr>
  <p:notesTextViewPr>
    <p:cViewPr>
      <p:scale>
        <a:sx n="1" d="1"/>
        <a:sy n="1" d="1"/>
      </p:scale>
      <p:origin x="0" y="0"/>
    </p:cViewPr>
  </p:notesTextViewPr>
  <p:sorterViewPr>
    <p:cViewPr>
      <p:scale>
        <a:sx n="100" d="100"/>
        <a:sy n="100" d="100"/>
      </p:scale>
      <p:origin x="0" y="-14808"/>
    </p:cViewPr>
  </p:sorter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16" Type="http://schemas.openxmlformats.org/officeDocument/2006/relationships/slide" Target="slides/slide12.xml"/><Relationship Id="rId11" Type="http://schemas.openxmlformats.org/officeDocument/2006/relationships/slide" Target="slides/slide7.xml"/><Relationship Id="rId32" Type="http://schemas.openxmlformats.org/officeDocument/2006/relationships/slide" Target="slides/slide28.xml"/><Relationship Id="rId37" Type="http://schemas.openxmlformats.org/officeDocument/2006/relationships/slide" Target="slides/slide33.xml"/><Relationship Id="rId53" Type="http://schemas.openxmlformats.org/officeDocument/2006/relationships/slide" Target="slides/slide49.xml"/><Relationship Id="rId58" Type="http://schemas.openxmlformats.org/officeDocument/2006/relationships/slide" Target="slides/slide54.xml"/><Relationship Id="rId74" Type="http://schemas.openxmlformats.org/officeDocument/2006/relationships/slide" Target="slides/slide70.xml"/><Relationship Id="rId79" Type="http://schemas.openxmlformats.org/officeDocument/2006/relationships/viewProps" Target="viewProps.xml"/><Relationship Id="rId5" Type="http://schemas.openxmlformats.org/officeDocument/2006/relationships/slide" Target="slides/slide1.xml"/><Relationship Id="rId61" Type="http://schemas.openxmlformats.org/officeDocument/2006/relationships/slide" Target="slides/slide57.xml"/><Relationship Id="rId82" Type="http://schemas.openxmlformats.org/officeDocument/2006/relationships/customXml" Target="../customXml/item4.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slide" Target="slides/slide65.xml"/><Relationship Id="rId77" Type="http://schemas.openxmlformats.org/officeDocument/2006/relationships/commentAuthors" Target="commentAuthors.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80" Type="http://schemas.openxmlformats.org/officeDocument/2006/relationships/theme" Target="theme/theme1.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notesMaster" Target="notesMasters/notesMaster1.xml"/><Relationship Id="rId83" Type="http://schemas.openxmlformats.org/officeDocument/2006/relationships/customXml" Target="../customXml/item5.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presProps" Target="presProps.xml"/><Relationship Id="rId81"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handoutMaster" Target="handoutMasters/handoutMaster1.xml"/><Relationship Id="rId7" Type="http://schemas.openxmlformats.org/officeDocument/2006/relationships/slide" Target="slides/slide3.xml"/><Relationship Id="rId71" Type="http://schemas.openxmlformats.org/officeDocument/2006/relationships/slide" Target="slides/slide67.xml"/><Relationship Id="rId2" Type="http://schemas.openxmlformats.org/officeDocument/2006/relationships/customXml" Target="../customXml/item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dirty="0"/>
          </a:p>
        </p:txBody>
      </p:sp>
      <p:sp>
        <p:nvSpPr>
          <p:cNvPr id="3" name="Date Placeholder 2"/>
          <p:cNvSpPr>
            <a:spLocks noGrp="1"/>
          </p:cNvSpPr>
          <p:nvPr>
            <p:ph type="dt" sz="quarter" idx="1"/>
          </p:nvPr>
        </p:nvSpPr>
        <p:spPr>
          <a:xfrm>
            <a:off x="3970938" y="0"/>
            <a:ext cx="3037840" cy="466434"/>
          </a:xfrm>
          <a:prstGeom prst="rect">
            <a:avLst/>
          </a:prstGeom>
        </p:spPr>
        <p:txBody>
          <a:bodyPr vert="horz" lIns="93177" tIns="46589" rIns="93177" bIns="46589" rtlCol="0"/>
          <a:lstStyle>
            <a:lvl1pPr algn="r">
              <a:defRPr sz="1200"/>
            </a:lvl1pPr>
          </a:lstStyle>
          <a:p>
            <a:fld id="{8BEF5EFE-81CC-4A2E-BC07-A5C7691363FB}" type="datetimeFigureOut">
              <a:rPr lang="en-US" smtClean="0"/>
              <a:t>7/6/2015</a:t>
            </a:fld>
            <a:endParaRPr lang="en-US" dirty="0"/>
          </a:p>
        </p:txBody>
      </p:sp>
      <p:sp>
        <p:nvSpPr>
          <p:cNvPr id="4" name="Footer Placeholder 3"/>
          <p:cNvSpPr>
            <a:spLocks noGrp="1"/>
          </p:cNvSpPr>
          <p:nvPr>
            <p:ph type="ftr" sz="quarter" idx="2"/>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dirty="0"/>
          </a:p>
        </p:txBody>
      </p:sp>
      <p:sp>
        <p:nvSpPr>
          <p:cNvPr id="5" name="Slide Number Placeholder 4"/>
          <p:cNvSpPr>
            <a:spLocks noGrp="1"/>
          </p:cNvSpPr>
          <p:nvPr>
            <p:ph type="sldNum" sz="quarter" idx="3"/>
          </p:nvPr>
        </p:nvSpPr>
        <p:spPr>
          <a:xfrm>
            <a:off x="3970938" y="8829967"/>
            <a:ext cx="3037840" cy="466433"/>
          </a:xfrm>
          <a:prstGeom prst="rect">
            <a:avLst/>
          </a:prstGeom>
        </p:spPr>
        <p:txBody>
          <a:bodyPr vert="horz" lIns="93177" tIns="46589" rIns="93177" bIns="46589" rtlCol="0" anchor="b"/>
          <a:lstStyle>
            <a:lvl1pPr algn="r">
              <a:defRPr sz="1200"/>
            </a:lvl1pPr>
          </a:lstStyle>
          <a:p>
            <a:fld id="{9932ECA5-AAB0-4579-9862-A85F1EE31203}" type="slidenum">
              <a:rPr lang="en-US" smtClean="0"/>
              <a:t>‹#›</a:t>
            </a:fld>
            <a:endParaRPr lang="en-US" dirty="0"/>
          </a:p>
        </p:txBody>
      </p:sp>
    </p:spTree>
    <p:extLst>
      <p:ext uri="{BB962C8B-B14F-4D97-AF65-F5344CB8AC3E}">
        <p14:creationId xmlns:p14="http://schemas.microsoft.com/office/powerpoint/2010/main" val="341507218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dirty="0"/>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C3AAD594-D39D-4D42-B074-85BA01FAA4B9}" type="datetimeFigureOut">
              <a:rPr lang="en-US" smtClean="0"/>
              <a:t>7/6/2015</a:t>
            </a:fld>
            <a:endParaRPr lang="en-US" dirty="0"/>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n-US" dirty="0"/>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A305278E-5E87-46DA-836C-231A3458D216}" type="slidenum">
              <a:rPr lang="en-US" smtClean="0"/>
              <a:t>‹#›</a:t>
            </a:fld>
            <a:endParaRPr lang="en-US" dirty="0"/>
          </a:p>
        </p:txBody>
      </p:sp>
    </p:spTree>
    <p:extLst>
      <p:ext uri="{BB962C8B-B14F-4D97-AF65-F5344CB8AC3E}">
        <p14:creationId xmlns:p14="http://schemas.microsoft.com/office/powerpoint/2010/main" val="357933784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Date Placeholder 5"/>
          <p:cNvSpPr>
            <a:spLocks noGrp="1"/>
          </p:cNvSpPr>
          <p:nvPr>
            <p:ph type="dt" idx="12"/>
          </p:nvPr>
        </p:nvSpPr>
        <p:spPr/>
        <p:txBody>
          <a:bodyPr/>
          <a:lstStyle/>
          <a:p>
            <a:fld id="{C5C565FA-3C99-4787-98A7-FCE46D2F55AF}" type="datetime1">
              <a:rPr lang="en-US" smtClean="0">
                <a:solidFill>
                  <a:prstClr val="black"/>
                </a:solidFill>
              </a:rPr>
              <a:pPr/>
              <a:t>7/6/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a:t>
            </a:fld>
            <a:endParaRPr lang="en-US" dirty="0">
              <a:solidFill>
                <a:prstClr val="black"/>
              </a:solidFill>
            </a:endParaRPr>
          </a:p>
        </p:txBody>
      </p:sp>
      <p:sp>
        <p:nvSpPr>
          <p:cNvPr id="10" name="Footer Placeholder 9"/>
          <p:cNvSpPr>
            <a:spLocks noGrp="1"/>
          </p:cNvSpPr>
          <p:nvPr>
            <p:ph type="ftr" sz="quarter" idx="14"/>
          </p:nvPr>
        </p:nvSpPr>
        <p:spPr/>
        <p:txBody>
          <a:bodyPr/>
          <a:lstStyle/>
          <a:p>
            <a:pPr defTabSz="931467"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397910510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smtClean="0">
                <a:solidFill>
                  <a:schemeClr val="tx1"/>
                </a:solidFill>
                <a:effectLst/>
                <a:latin typeface="+mn-lt"/>
                <a:ea typeface="+mn-ea"/>
                <a:cs typeface="+mn-cs"/>
              </a:rPr>
              <a:t>points = spark.textFile(...).map(parsePoint).cache()</a:t>
            </a:r>
            <a:r>
              <a:rPr lang="en-US" dirty="0" smtClean="0"/>
              <a:t/>
            </a:r>
            <a:br>
              <a:rPr lang="en-US" dirty="0" smtClean="0"/>
            </a:br>
            <a:r>
              <a:rPr lang="en-US" sz="1200" b="0" i="0" kern="1200" dirty="0" smtClean="0">
                <a:solidFill>
                  <a:schemeClr val="tx1"/>
                </a:solidFill>
                <a:effectLst/>
                <a:latin typeface="+mn-lt"/>
                <a:ea typeface="+mn-ea"/>
                <a:cs typeface="+mn-cs"/>
              </a:rPr>
              <a:t>w = numpy.random.ranf(size = D) # current separating plane</a:t>
            </a:r>
            <a:r>
              <a:rPr lang="en-US" dirty="0" smtClean="0"/>
              <a:t/>
            </a:r>
            <a:br>
              <a:rPr lang="en-US" dirty="0" smtClean="0"/>
            </a:br>
            <a:r>
              <a:rPr lang="en-US" sz="1200" b="1" i="0" kern="1200" dirty="0" smtClean="0">
                <a:solidFill>
                  <a:schemeClr val="tx1"/>
                </a:solidFill>
                <a:effectLst/>
                <a:latin typeface="+mn-lt"/>
                <a:ea typeface="+mn-ea"/>
                <a:cs typeface="+mn-cs"/>
              </a:rPr>
              <a:t>for</a:t>
            </a:r>
            <a:r>
              <a:rPr lang="en-US" sz="1200" b="0" i="0" kern="1200" dirty="0" smtClean="0">
                <a:solidFill>
                  <a:schemeClr val="tx1"/>
                </a:solidFill>
                <a:effectLst/>
                <a:latin typeface="+mn-lt"/>
                <a:ea typeface="+mn-ea"/>
                <a:cs typeface="+mn-cs"/>
              </a:rPr>
              <a:t> i </a:t>
            </a:r>
            <a:r>
              <a:rPr lang="en-US" sz="1200" b="1" i="0" kern="1200" dirty="0" smtClean="0">
                <a:solidFill>
                  <a:schemeClr val="tx1"/>
                </a:solidFill>
                <a:effectLst/>
                <a:latin typeface="+mn-lt"/>
                <a:ea typeface="+mn-ea"/>
                <a:cs typeface="+mn-cs"/>
              </a:rPr>
              <a:t>in</a:t>
            </a:r>
            <a:r>
              <a:rPr lang="en-US" sz="1200" b="0" i="0" kern="1200" dirty="0" smtClean="0">
                <a:solidFill>
                  <a:schemeClr val="tx1"/>
                </a:solidFill>
                <a:effectLst/>
                <a:latin typeface="+mn-lt"/>
                <a:ea typeface="+mn-ea"/>
                <a:cs typeface="+mn-cs"/>
              </a:rPr>
              <a:t> range(ITERATIONS):</a:t>
            </a:r>
            <a:r>
              <a:rPr lang="en-US" dirty="0" smtClean="0"/>
              <a:t/>
            </a:r>
            <a:br>
              <a:rPr lang="en-US" dirty="0" smtClean="0"/>
            </a:br>
            <a:r>
              <a:rPr lang="en-US" sz="1200" b="0" i="0" kern="1200" dirty="0" smtClean="0">
                <a:solidFill>
                  <a:schemeClr val="tx1"/>
                </a:solidFill>
                <a:effectLst/>
                <a:latin typeface="+mn-lt"/>
                <a:ea typeface="+mn-ea"/>
                <a:cs typeface="+mn-cs"/>
              </a:rPr>
              <a:t>    gradient = points.map(</a:t>
            </a:r>
            <a:br>
              <a:rPr lang="en-US" sz="1200" b="0" i="0" kern="1200" dirty="0" smtClean="0">
                <a:solidFill>
                  <a:schemeClr val="tx1"/>
                </a:solidFill>
                <a:effectLst/>
                <a:latin typeface="+mn-lt"/>
                <a:ea typeface="+mn-ea"/>
                <a:cs typeface="+mn-cs"/>
              </a:rPr>
            </a:br>
            <a:r>
              <a:rPr lang="en-US" sz="1200" b="0" i="0" kern="1200" dirty="0" smtClean="0">
                <a:solidFill>
                  <a:schemeClr val="tx1"/>
                </a:solidFill>
                <a:effectLst/>
                <a:latin typeface="+mn-lt"/>
                <a:ea typeface="+mn-ea"/>
                <a:cs typeface="+mn-cs"/>
              </a:rPr>
              <a:t>        lambda p: (1 / (1 + exp(-p.y*(w.dot(p.x)))) - 1) * p.y * p.x</a:t>
            </a:r>
            <a:br>
              <a:rPr lang="en-US" sz="1200" b="0" i="0" kern="1200" dirty="0" smtClean="0">
                <a:solidFill>
                  <a:schemeClr val="tx1"/>
                </a:solidFill>
                <a:effectLst/>
                <a:latin typeface="+mn-lt"/>
                <a:ea typeface="+mn-ea"/>
                <a:cs typeface="+mn-cs"/>
              </a:rPr>
            </a:br>
            <a:r>
              <a:rPr lang="en-US" sz="1200" b="0" i="0" kern="1200" dirty="0" smtClean="0">
                <a:solidFill>
                  <a:schemeClr val="tx1"/>
                </a:solidFill>
                <a:effectLst/>
                <a:latin typeface="+mn-lt"/>
                <a:ea typeface="+mn-ea"/>
                <a:cs typeface="+mn-cs"/>
              </a:rPr>
              <a:t>    ).reduce(lambda a, b: a + b)</a:t>
            </a:r>
            <a:r>
              <a:rPr lang="en-US" dirty="0" smtClean="0"/>
              <a:t/>
            </a:r>
            <a:br>
              <a:rPr lang="en-US" dirty="0" smtClean="0"/>
            </a:br>
            <a:r>
              <a:rPr lang="en-US" sz="1200" b="0" i="0" kern="1200" dirty="0" smtClean="0">
                <a:solidFill>
                  <a:schemeClr val="tx1"/>
                </a:solidFill>
                <a:effectLst/>
                <a:latin typeface="+mn-lt"/>
                <a:ea typeface="+mn-ea"/>
                <a:cs typeface="+mn-cs"/>
              </a:rPr>
              <a:t>    w -= gradient</a:t>
            </a:r>
            <a:r>
              <a:rPr lang="en-US" dirty="0" smtClean="0"/>
              <a:t/>
            </a:r>
            <a:br>
              <a:rPr lang="en-US" dirty="0" smtClean="0"/>
            </a:br>
            <a:r>
              <a:rPr lang="en-US" sz="1200" b="0" i="0" kern="1200" dirty="0" smtClean="0">
                <a:solidFill>
                  <a:schemeClr val="tx1"/>
                </a:solidFill>
                <a:effectLst/>
                <a:latin typeface="+mn-lt"/>
                <a:ea typeface="+mn-ea"/>
                <a:cs typeface="+mn-cs"/>
              </a:rPr>
              <a:t>print "Final separating plane: %s" % w</a:t>
            </a:r>
            <a:endParaRPr lang="en-US" dirty="0"/>
          </a:p>
        </p:txBody>
      </p:sp>
      <p:sp>
        <p:nvSpPr>
          <p:cNvPr id="4" name="Slide Number Placeholder 3"/>
          <p:cNvSpPr>
            <a:spLocks noGrp="1"/>
          </p:cNvSpPr>
          <p:nvPr>
            <p:ph type="sldNum" sz="quarter" idx="10"/>
          </p:nvPr>
        </p:nvSpPr>
        <p:spPr/>
        <p:txBody>
          <a:bodyPr/>
          <a:lstStyle/>
          <a:p>
            <a:fld id="{A305278E-5E87-46DA-836C-231A3458D216}" type="slidenum">
              <a:rPr lang="en-US" smtClean="0"/>
              <a:t>10</a:t>
            </a:fld>
            <a:endParaRPr lang="en-US" dirty="0"/>
          </a:p>
        </p:txBody>
      </p:sp>
    </p:spTree>
    <p:extLst>
      <p:ext uri="{BB962C8B-B14F-4D97-AF65-F5344CB8AC3E}">
        <p14:creationId xmlns:p14="http://schemas.microsoft.com/office/powerpoint/2010/main" val="61352734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305278E-5E87-46DA-836C-231A3458D216}" type="slidenum">
              <a:rPr lang="en-US" smtClean="0"/>
              <a:t>36</a:t>
            </a:fld>
            <a:endParaRPr lang="en-US" dirty="0"/>
          </a:p>
        </p:txBody>
      </p:sp>
    </p:spTree>
    <p:extLst>
      <p:ext uri="{BB962C8B-B14F-4D97-AF65-F5344CB8AC3E}">
        <p14:creationId xmlns:p14="http://schemas.microsoft.com/office/powerpoint/2010/main" val="355105688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7088D5E3-B0C4-244E-905F-C9848084E0A1}" type="slidenum">
              <a:rPr lang="en-US" smtClean="0">
                <a:solidFill>
                  <a:prstClr val="black"/>
                </a:solidFill>
              </a:rPr>
              <a:pPr>
                <a:defRPr/>
              </a:pPr>
              <a:t>70</a:t>
            </a:fld>
            <a:endParaRPr lang="en-US" dirty="0">
              <a:solidFill>
                <a:prstClr val="black"/>
              </a:solidFill>
            </a:endParaRPr>
          </a:p>
        </p:txBody>
      </p:sp>
    </p:spTree>
    <p:extLst>
      <p:ext uri="{BB962C8B-B14F-4D97-AF65-F5344CB8AC3E}">
        <p14:creationId xmlns:p14="http://schemas.microsoft.com/office/powerpoint/2010/main" val="368216103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png"/><Relationship Id="rId1" Type="http://schemas.openxmlformats.org/officeDocument/2006/relationships/slideMaster" Target="../slideMasters/slideMaster1.xml"/><Relationship Id="rId5" Type="http://schemas.openxmlformats.org/officeDocument/2006/relationships/image" Target="../media/image6.png"/><Relationship Id="rId4"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4_Title Slide">
    <p:spTree>
      <p:nvGrpSpPr>
        <p:cNvPr id="1" name=""/>
        <p:cNvGrpSpPr/>
        <p:nvPr/>
      </p:nvGrpSpPr>
      <p:grpSpPr>
        <a:xfrm>
          <a:off x="0" y="0"/>
          <a:ext cx="0" cy="0"/>
          <a:chOff x="0" y="0"/>
          <a:chExt cx="0" cy="0"/>
        </a:xfrm>
      </p:grpSpPr>
      <p:pic>
        <p:nvPicPr>
          <p:cNvPr id="9" name="Picture 8" descr="DataInsights_quadtone.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088" y="-1"/>
            <a:ext cx="12192000" cy="6858973"/>
          </a:xfrm>
          <a:prstGeom prst="rect">
            <a:avLst/>
          </a:prstGeom>
        </p:spPr>
      </p:pic>
      <p:pic>
        <p:nvPicPr>
          <p:cNvPr id="14" name="Picture 13" descr="DataInsights-iStock_000022453217Large.jpg"/>
          <p:cNvPicPr>
            <a:picLocks noChangeAspect="1"/>
          </p:cNvPicPr>
          <p:nvPr/>
        </p:nvPicPr>
        <p:blipFill rotWithShape="1">
          <a:blip r:embed="rId3" cstate="email">
            <a:alphaModFix/>
            <a:extLst>
              <a:ext uri="{28A0092B-C50C-407E-A947-70E740481C1C}">
                <a14:useLocalDpi xmlns:a14="http://schemas.microsoft.com/office/drawing/2010/main" val="0"/>
              </a:ext>
            </a:extLst>
          </a:blip>
          <a:srcRect/>
          <a:stretch/>
        </p:blipFill>
        <p:spPr>
          <a:xfrm>
            <a:off x="7998438" y="2302198"/>
            <a:ext cx="2757245" cy="2751705"/>
          </a:xfrm>
          <a:prstGeom prst="rect">
            <a:avLst/>
          </a:prstGeom>
        </p:spPr>
      </p:pic>
      <p:pic>
        <p:nvPicPr>
          <p:cNvPr id="11" name="Picture 9"/>
          <p:cNvPicPr>
            <a:picLocks noChangeAspect="1"/>
          </p:cNvPicPr>
          <p:nvPr/>
        </p:nvPicPr>
        <p:blipFill>
          <a:blip r:embed="rId4" cstate="email">
            <a:extLst>
              <a:ext uri="{28A0092B-C50C-407E-A947-70E740481C1C}">
                <a14:useLocalDpi xmlns:a14="http://schemas.microsoft.com/office/drawing/2010/main" val="0"/>
              </a:ext>
            </a:extLst>
          </a:blip>
          <a:srcRect l="19656" r="20331"/>
          <a:stretch>
            <a:fillRect/>
          </a:stretch>
        </p:blipFill>
        <p:spPr bwMode="auto">
          <a:xfrm>
            <a:off x="6573783" y="236590"/>
            <a:ext cx="5464145" cy="6437741"/>
          </a:xfrm>
          <a:prstGeom prst="rect">
            <a:avLst/>
          </a:prstGeom>
          <a:noFill/>
          <a:ln>
            <a:noFill/>
          </a:ln>
          <a:effectLst>
            <a:outerShdw blurRad="114300" dist="38100" dir="2700000" algn="tl" rotWithShape="0">
              <a:srgbClr val="000000">
                <a:alpha val="39999"/>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Rectangle 11"/>
          <p:cNvSpPr/>
          <p:nvPr/>
        </p:nvSpPr>
        <p:spPr bwMode="auto">
          <a:xfrm>
            <a:off x="0" y="1"/>
            <a:ext cx="6053737" cy="6869648"/>
          </a:xfrm>
          <a:prstGeom prst="rect">
            <a:avLst/>
          </a:prstGeom>
          <a:gradFill flip="none" rotWithShape="1">
            <a:gsLst>
              <a:gs pos="100000">
                <a:srgbClr val="003963">
                  <a:alpha val="0"/>
                </a:srgbClr>
              </a:gs>
              <a:gs pos="0">
                <a:srgbClr val="03122F"/>
              </a:gs>
              <a:gs pos="50000">
                <a:srgbClr val="072450">
                  <a:alpha val="9000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5720" rIns="0" bIns="45720" anchor="ctr"/>
          <a:lstStyle/>
          <a:p>
            <a:pPr algn="ctr" defTabSz="914102">
              <a:defRPr/>
            </a:pPr>
            <a:endParaRPr lang="en-US" sz="1961" dirty="0">
              <a:gradFill>
                <a:gsLst>
                  <a:gs pos="0">
                    <a:srgbClr val="FFFFFF"/>
                  </a:gs>
                  <a:gs pos="100000">
                    <a:srgbClr val="FFFFFF"/>
                  </a:gs>
                </a:gsLst>
                <a:lin ang="5400000" scaled="0"/>
              </a:gradFill>
            </a:endParaRPr>
          </a:p>
        </p:txBody>
      </p:sp>
      <p:pic>
        <p:nvPicPr>
          <p:cNvPr id="15" name="Picture 8"/>
          <p:cNvPicPr>
            <a:picLocks noChangeAspect="1"/>
          </p:cNvPicPr>
          <p:nvPr/>
        </p:nvPicPr>
        <p:blipFill>
          <a:blip r:embed="rId5" cstate="email">
            <a:extLst>
              <a:ext uri="{28A0092B-C50C-407E-A947-70E740481C1C}">
                <a14:useLocalDpi xmlns:a14="http://schemas.microsoft.com/office/drawing/2010/main" val="0"/>
              </a:ext>
            </a:extLst>
          </a:blip>
          <a:srcRect/>
          <a:stretch>
            <a:fillRect/>
          </a:stretch>
        </p:blipFill>
        <p:spPr bwMode="auto">
          <a:xfrm>
            <a:off x="463776" y="470067"/>
            <a:ext cx="1304174" cy="2863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itle 1"/>
          <p:cNvSpPr>
            <a:spLocks noGrp="1"/>
          </p:cNvSpPr>
          <p:nvPr>
            <p:ph type="ctrTitle"/>
          </p:nvPr>
        </p:nvSpPr>
        <p:spPr>
          <a:xfrm>
            <a:off x="269240" y="1428401"/>
            <a:ext cx="5487085" cy="897667"/>
          </a:xfrm>
        </p:spPr>
        <p:txBody>
          <a:bodyPr/>
          <a:lstStyle>
            <a:lvl1pPr>
              <a:defRPr sz="5098">
                <a:solidFill>
                  <a:schemeClr val="bg1"/>
                </a:solidFill>
              </a:defRPr>
            </a:lvl1pPr>
          </a:lstStyle>
          <a:p>
            <a:r>
              <a:rPr lang="en-US" smtClean="0"/>
              <a:t>Click to edit Master title style</a:t>
            </a:r>
            <a:endParaRPr lang="en-US" dirty="0"/>
          </a:p>
        </p:txBody>
      </p:sp>
      <p:sp>
        <p:nvSpPr>
          <p:cNvPr id="17" name="Subtitle 2"/>
          <p:cNvSpPr>
            <a:spLocks noGrp="1"/>
          </p:cNvSpPr>
          <p:nvPr>
            <p:ph type="subTitle" idx="1"/>
          </p:nvPr>
        </p:nvSpPr>
        <p:spPr>
          <a:xfrm>
            <a:off x="269302" y="4353453"/>
            <a:ext cx="5487022" cy="1055663"/>
          </a:xfrm>
        </p:spPr>
        <p:txBody>
          <a:bodyPr/>
          <a:lstStyle>
            <a:lvl1pPr marL="0" indent="0" algn="l">
              <a:lnSpc>
                <a:spcPts val="2647"/>
              </a:lnSpc>
              <a:buNone/>
              <a:defRPr sz="2157">
                <a:solidFill>
                  <a:schemeClr val="bg1"/>
                </a:solidFill>
                <a:latin typeface="+mj-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smtClean="0"/>
              <a:t>Click to edit Master subtitle style</a:t>
            </a:r>
            <a:endParaRPr lang="en-US" dirty="0" smtClean="0"/>
          </a:p>
        </p:txBody>
      </p:sp>
    </p:spTree>
    <p:extLst>
      <p:ext uri="{BB962C8B-B14F-4D97-AF65-F5344CB8AC3E}">
        <p14:creationId xmlns:p14="http://schemas.microsoft.com/office/powerpoint/2010/main" val="1630503236"/>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298771"/>
          </a:xfrm>
        </p:spPr>
        <p:txBody>
          <a:bodyPr>
            <a:spAutoFit/>
          </a:bodyPr>
          <a:lstStyle>
            <a:lvl3pPr>
              <a:defRPr sz="2353"/>
            </a:lvl3pPr>
            <a:lvl4pPr>
              <a:defRPr sz="1961"/>
            </a:lvl4pPr>
            <a:lvl5pPr>
              <a:defRPr sz="1961"/>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
        <p:nvSpPr>
          <p:cNvPr id="5" name="Slide Number Placeholder 2"/>
          <p:cNvSpPr>
            <a:spLocks noGrp="1"/>
          </p:cNvSpPr>
          <p:nvPr>
            <p:ph type="sldNum" sz="quarter" idx="12"/>
          </p:nvPr>
        </p:nvSpPr>
        <p:spPr>
          <a:xfrm>
            <a:off x="11367165" y="6437742"/>
            <a:ext cx="555597" cy="133860"/>
          </a:xfrm>
        </p:spPr>
        <p:txBody>
          <a:bodyPr/>
          <a:lstStyle>
            <a:lvl1pPr defTabSz="913505" fontAlgn="base">
              <a:spcBef>
                <a:spcPct val="0"/>
              </a:spcBef>
              <a:spcAft>
                <a:spcPct val="0"/>
              </a:spcAft>
              <a:defRPr smtClean="0">
                <a:solidFill>
                  <a:srgbClr val="000000"/>
                </a:solidFill>
              </a:defRPr>
            </a:lvl1pPr>
          </a:lstStyle>
          <a:p>
            <a:pPr>
              <a:defRPr/>
            </a:pPr>
            <a:fld id="{F8A0AC42-AA1D-4944-8D96-660DE70C7E1B}" type="slidenum">
              <a:rPr/>
              <a:pPr>
                <a:defRPr/>
              </a:pPr>
              <a:t>‹#›</a:t>
            </a:fld>
            <a:endParaRPr dirty="0"/>
          </a:p>
        </p:txBody>
      </p:sp>
    </p:spTree>
    <p:extLst>
      <p:ext uri="{BB962C8B-B14F-4D97-AF65-F5344CB8AC3E}">
        <p14:creationId xmlns:p14="http://schemas.microsoft.com/office/powerpoint/2010/main" val="2467533645"/>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Slide for Developer Code</a:t>
            </a:r>
            <a:endParaRPr lang="en-US" dirty="0"/>
          </a:p>
        </p:txBody>
      </p:sp>
      <p:sp>
        <p:nvSpPr>
          <p:cNvPr id="3" name="Rectangle 2"/>
          <p:cNvSpPr/>
          <p:nvPr/>
        </p:nvSpPr>
        <p:spPr bwMode="hidden">
          <a:xfrm>
            <a:off x="1" y="1155941"/>
            <a:ext cx="12192000" cy="570206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518454" y="1447803"/>
            <a:ext cx="11155093" cy="2089751"/>
          </a:xfrm>
        </p:spPr>
        <p:txBody>
          <a:bodyPr/>
          <a:lstStyle>
            <a:lvl1pPr marL="0" indent="0">
              <a:buNone/>
              <a:defRPr sz="3235">
                <a:gradFill>
                  <a:gsLst>
                    <a:gs pos="1250">
                      <a:srgbClr val="000000"/>
                    </a:gs>
                    <a:gs pos="100000">
                      <a:srgbClr val="000000"/>
                    </a:gs>
                  </a:gsLst>
                  <a:lin ang="5400000" scaled="0"/>
                </a:gradFill>
                <a:latin typeface="Consolas" pitchFamily="49" charset="0"/>
                <a:cs typeface="Consolas" pitchFamily="49" charset="0"/>
              </a:defRPr>
            </a:lvl1pPr>
            <a:lvl2pPr marL="339726" indent="0">
              <a:buNone/>
              <a:defRPr>
                <a:gradFill>
                  <a:gsLst>
                    <a:gs pos="1250">
                      <a:srgbClr val="000000"/>
                    </a:gs>
                    <a:gs pos="100000">
                      <a:srgbClr val="000000"/>
                    </a:gs>
                  </a:gsLst>
                  <a:lin ang="5400000" scaled="0"/>
                </a:gradFill>
                <a:latin typeface="Consolas" pitchFamily="49" charset="0"/>
                <a:cs typeface="Consolas" pitchFamily="49" charset="0"/>
              </a:defRPr>
            </a:lvl2pPr>
            <a:lvl3pPr marL="573090" indent="0">
              <a:buNone/>
              <a:defRPr>
                <a:gradFill>
                  <a:gsLst>
                    <a:gs pos="1250">
                      <a:srgbClr val="000000"/>
                    </a:gs>
                    <a:gs pos="100000">
                      <a:srgbClr val="000000"/>
                    </a:gs>
                  </a:gsLst>
                  <a:lin ang="5400000" scaled="0"/>
                </a:gradFill>
                <a:latin typeface="Consolas" pitchFamily="49" charset="0"/>
                <a:cs typeface="Consolas" pitchFamily="49" charset="0"/>
              </a:defRPr>
            </a:lvl3pPr>
            <a:lvl4pPr marL="798516" indent="0">
              <a:buNone/>
              <a:defRPr>
                <a:gradFill>
                  <a:gsLst>
                    <a:gs pos="1250">
                      <a:srgbClr val="000000"/>
                    </a:gs>
                    <a:gs pos="100000">
                      <a:srgbClr val="000000"/>
                    </a:gs>
                  </a:gsLst>
                  <a:lin ang="5400000" scaled="0"/>
                </a:gradFill>
                <a:latin typeface="Consolas" pitchFamily="49" charset="0"/>
                <a:cs typeface="Consolas" pitchFamily="49" charset="0"/>
              </a:defRPr>
            </a:lvl4pPr>
            <a:lvl5pPr marL="1030292"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Slide Number Placeholder 2"/>
          <p:cNvSpPr>
            <a:spLocks noGrp="1"/>
          </p:cNvSpPr>
          <p:nvPr>
            <p:ph type="sldNum" sz="quarter" idx="12"/>
          </p:nvPr>
        </p:nvSpPr>
        <p:spPr>
          <a:xfrm>
            <a:off x="11367165" y="6437742"/>
            <a:ext cx="555597" cy="133860"/>
          </a:xfrm>
        </p:spPr>
        <p:txBody>
          <a:bodyPr/>
          <a:lstStyle>
            <a:lvl1pPr defTabSz="913505" fontAlgn="base">
              <a:spcBef>
                <a:spcPct val="0"/>
              </a:spcBef>
              <a:spcAft>
                <a:spcPct val="0"/>
              </a:spcAft>
              <a:defRPr smtClean="0">
                <a:solidFill>
                  <a:srgbClr val="000000"/>
                </a:solidFill>
              </a:defRPr>
            </a:lvl1pPr>
          </a:lstStyle>
          <a:p>
            <a:pPr>
              <a:defRPr/>
            </a:pPr>
            <a:fld id="{F8A0AC42-AA1D-4944-8D96-660DE70C7E1B}" type="slidenum">
              <a:rPr/>
              <a:pPr>
                <a:defRPr/>
              </a:pPr>
              <a:t>‹#›</a:t>
            </a:fld>
            <a:endParaRPr dirty="0"/>
          </a:p>
        </p:txBody>
      </p:sp>
    </p:spTree>
    <p:extLst>
      <p:ext uri="{BB962C8B-B14F-4D97-AF65-F5344CB8AC3E}">
        <p14:creationId xmlns:p14="http://schemas.microsoft.com/office/powerpoint/2010/main" val="3659888734"/>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46064"/>
            <a:ext cx="10972800" cy="439736"/>
          </a:xfrm>
        </p:spPr>
        <p:txBody>
          <a:bodyPr/>
          <a:lstStyle/>
          <a:p>
            <a:r>
              <a:rPr lang="en-US" smtClean="0"/>
              <a:t>Click to edit Master title style</a:t>
            </a:r>
            <a:endParaRPr lang="en-US"/>
          </a:p>
        </p:txBody>
      </p:sp>
      <p:sp>
        <p:nvSpPr>
          <p:cNvPr id="3" name="Content Placeholder 2"/>
          <p:cNvSpPr>
            <a:spLocks noGrp="1"/>
          </p:cNvSpPr>
          <p:nvPr>
            <p:ph idx="1"/>
          </p:nvPr>
        </p:nvSpPr>
        <p:spPr>
          <a:xfrm>
            <a:off x="609600" y="1502828"/>
            <a:ext cx="10972800" cy="2250695"/>
          </a:xfrm>
        </p:spPr>
        <p:txBody>
          <a:bodyPr/>
          <a:lstStyle>
            <a:lvl1pPr>
              <a:spcAft>
                <a:spcPts val="0"/>
              </a:spcAft>
              <a:defRPr/>
            </a:lvl1pPr>
            <a:lvl2pPr>
              <a:spcBef>
                <a:spcPts val="1100"/>
              </a:spcBef>
              <a:defRPr/>
            </a:lvl2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Text Placeholder 8"/>
          <p:cNvSpPr>
            <a:spLocks noGrp="1"/>
          </p:cNvSpPr>
          <p:nvPr>
            <p:ph type="body" sz="quarter" idx="13"/>
          </p:nvPr>
        </p:nvSpPr>
        <p:spPr>
          <a:xfrm>
            <a:off x="609600" y="627889"/>
            <a:ext cx="10972800" cy="312143"/>
          </a:xfrm>
        </p:spPr>
        <p:txBody>
          <a:bodyPr tIns="0"/>
          <a:lstStyle>
            <a:lvl1pPr>
              <a:spcAft>
                <a:spcPts val="0"/>
              </a:spcAft>
              <a:defRPr sz="1600">
                <a:solidFill>
                  <a:schemeClr val="bg1"/>
                </a:solidFill>
                <a:latin typeface="Segoe" pitchFamily="34" charset="0"/>
              </a:defRPr>
            </a:lvl1pPr>
          </a:lstStyle>
          <a:p>
            <a:pPr lvl="0"/>
            <a:r>
              <a:rPr lang="en-US" smtClean="0"/>
              <a:t>Click to edit Master text styles</a:t>
            </a:r>
          </a:p>
        </p:txBody>
      </p:sp>
      <p:sp>
        <p:nvSpPr>
          <p:cNvPr id="5" name="Slide Number Placeholder 2"/>
          <p:cNvSpPr>
            <a:spLocks noGrp="1"/>
          </p:cNvSpPr>
          <p:nvPr>
            <p:ph type="sldNum" sz="quarter" idx="12"/>
          </p:nvPr>
        </p:nvSpPr>
        <p:spPr>
          <a:xfrm>
            <a:off x="11367165" y="6437742"/>
            <a:ext cx="555597" cy="133860"/>
          </a:xfrm>
        </p:spPr>
        <p:txBody>
          <a:bodyPr/>
          <a:lstStyle>
            <a:lvl1pPr defTabSz="913505" fontAlgn="base">
              <a:spcBef>
                <a:spcPct val="0"/>
              </a:spcBef>
              <a:spcAft>
                <a:spcPct val="0"/>
              </a:spcAft>
              <a:defRPr smtClean="0">
                <a:solidFill>
                  <a:srgbClr val="000000"/>
                </a:solidFill>
              </a:defRPr>
            </a:lvl1pPr>
          </a:lstStyle>
          <a:p>
            <a:pPr>
              <a:defRPr/>
            </a:pPr>
            <a:fld id="{F8A0AC42-AA1D-4944-8D96-660DE70C7E1B}" type="slidenum">
              <a:rPr/>
              <a:pPr>
                <a:defRPr/>
              </a:pPr>
              <a:t>‹#›</a:t>
            </a:fld>
            <a:endParaRPr dirty="0"/>
          </a:p>
        </p:txBody>
      </p:sp>
    </p:spTree>
    <p:extLst>
      <p:ext uri="{BB962C8B-B14F-4D97-AF65-F5344CB8AC3E}">
        <p14:creationId xmlns:p14="http://schemas.microsoft.com/office/powerpoint/2010/main" val="3409344483"/>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1"/>
          </p:nvPr>
        </p:nvSpPr>
        <p:spPr>
          <a:xfrm>
            <a:off x="520835" y="1447803"/>
            <a:ext cx="5396366" cy="2622373"/>
          </a:xfrm>
        </p:spPr>
        <p:txBody>
          <a:bodyPr/>
          <a:lstStyle>
            <a:lvl1pPr marL="0" indent="0">
              <a:spcBef>
                <a:spcPts val="1200"/>
              </a:spcBef>
              <a:buNone/>
              <a:defRPr sz="4019">
                <a:gradFill>
                  <a:gsLst>
                    <a:gs pos="100000">
                      <a:schemeClr val="tx2"/>
                    </a:gs>
                    <a:gs pos="0">
                      <a:schemeClr val="tx2"/>
                    </a:gs>
                  </a:gsLst>
                  <a:lin ang="5400000" scaled="0"/>
                </a:gradFill>
                <a:latin typeface="+mj-lt"/>
              </a:defRPr>
            </a:lvl1pPr>
            <a:lvl2pPr marL="0" indent="0">
              <a:buNone/>
              <a:defRPr sz="1961"/>
            </a:lvl2pPr>
            <a:lvl3pPr marL="233364" indent="0">
              <a:buNone/>
              <a:defRPr sz="1961"/>
            </a:lvl3pPr>
            <a:lvl4pPr marL="457202" indent="0">
              <a:buNone/>
              <a:defRPr sz="1961"/>
            </a:lvl4pPr>
            <a:lvl5pPr marL="693741" indent="0">
              <a:buNone/>
              <a:defRPr sz="1961"/>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Text Placeholder 8"/>
          <p:cNvSpPr>
            <a:spLocks noGrp="1"/>
          </p:cNvSpPr>
          <p:nvPr>
            <p:ph type="body" sz="quarter" idx="12"/>
          </p:nvPr>
        </p:nvSpPr>
        <p:spPr>
          <a:xfrm>
            <a:off x="6279562" y="1447803"/>
            <a:ext cx="5396366" cy="2622373"/>
          </a:xfrm>
        </p:spPr>
        <p:txBody>
          <a:bodyPr/>
          <a:lstStyle>
            <a:lvl1pPr marL="0" indent="0">
              <a:spcBef>
                <a:spcPts val="1200"/>
              </a:spcBef>
              <a:buNone/>
              <a:defRPr lang="en-US" sz="4019" kern="1200" spc="-70" baseline="0" dirty="0" smtClean="0">
                <a:gradFill>
                  <a:gsLst>
                    <a:gs pos="100000">
                      <a:schemeClr val="tx2"/>
                    </a:gs>
                    <a:gs pos="0">
                      <a:schemeClr val="tx2"/>
                    </a:gs>
                  </a:gsLst>
                  <a:lin ang="5400000" scaled="0"/>
                </a:gradFill>
                <a:latin typeface="+mj-lt"/>
                <a:ea typeface="+mn-ea"/>
                <a:cs typeface="+mn-cs"/>
              </a:defRPr>
            </a:lvl1pPr>
            <a:lvl2pPr marL="3175" marR="0" indent="0" algn="l" defTabSz="914367" rtl="0" eaLnBrk="1" fontAlgn="auto" latinLnBrk="0" hangingPunct="1">
              <a:lnSpc>
                <a:spcPct val="90000"/>
              </a:lnSpc>
              <a:spcBef>
                <a:spcPct val="20000"/>
              </a:spcBef>
              <a:spcAft>
                <a:spcPts val="0"/>
              </a:spcAft>
              <a:buClrTx/>
              <a:buSzPct val="90000"/>
              <a:buFont typeface="Arial" pitchFamily="34" charset="0"/>
              <a:buNone/>
              <a:tabLst/>
              <a:defRPr lang="en-US" sz="1961" kern="1200" spc="-70" baseline="0" dirty="0" smtClean="0">
                <a:gradFill>
                  <a:gsLst>
                    <a:gs pos="1250">
                      <a:schemeClr val="tx1"/>
                    </a:gs>
                    <a:gs pos="100000">
                      <a:schemeClr val="tx1"/>
                    </a:gs>
                  </a:gsLst>
                  <a:lin ang="5400000" scaled="0"/>
                </a:gradFill>
                <a:latin typeface="+mn-lt"/>
                <a:ea typeface="+mn-ea"/>
                <a:cs typeface="+mn-cs"/>
              </a:defRPr>
            </a:lvl2pPr>
            <a:lvl3pPr marL="233364" marR="0" indent="0" algn="l" defTabSz="914367" rtl="0" eaLnBrk="1" fontAlgn="auto" latinLnBrk="0" hangingPunct="1">
              <a:lnSpc>
                <a:spcPct val="90000"/>
              </a:lnSpc>
              <a:spcBef>
                <a:spcPct val="20000"/>
              </a:spcBef>
              <a:spcAft>
                <a:spcPts val="0"/>
              </a:spcAft>
              <a:buClrTx/>
              <a:buSzPct val="90000"/>
              <a:buFont typeface="Arial" pitchFamily="34" charset="0"/>
              <a:buNone/>
              <a:tabLst/>
              <a:defRPr lang="en-US" sz="1961" kern="1200" spc="-70" baseline="0" dirty="0" smtClean="0">
                <a:gradFill>
                  <a:gsLst>
                    <a:gs pos="1250">
                      <a:schemeClr val="tx1"/>
                    </a:gs>
                    <a:gs pos="100000">
                      <a:schemeClr val="tx1"/>
                    </a:gs>
                  </a:gsLst>
                  <a:lin ang="5400000" scaled="0"/>
                </a:gradFill>
                <a:latin typeface="+mn-lt"/>
                <a:ea typeface="+mn-ea"/>
                <a:cs typeface="+mn-cs"/>
              </a:defRPr>
            </a:lvl3pPr>
            <a:lvl4pPr marL="460377" marR="0" indent="0" algn="l" defTabSz="914367" rtl="0" eaLnBrk="1" fontAlgn="auto" latinLnBrk="0" hangingPunct="1">
              <a:lnSpc>
                <a:spcPct val="90000"/>
              </a:lnSpc>
              <a:spcBef>
                <a:spcPct val="20000"/>
              </a:spcBef>
              <a:spcAft>
                <a:spcPts val="0"/>
              </a:spcAft>
              <a:buClrTx/>
              <a:buSzPct val="90000"/>
              <a:buFont typeface="Arial" pitchFamily="34" charset="0"/>
              <a:buNone/>
              <a:tabLst/>
              <a:defRPr lang="en-US" sz="1961" kern="1200" spc="-70" baseline="0" dirty="0" smtClean="0">
                <a:gradFill>
                  <a:gsLst>
                    <a:gs pos="1250">
                      <a:schemeClr val="tx1"/>
                    </a:gs>
                    <a:gs pos="100000">
                      <a:schemeClr val="tx1"/>
                    </a:gs>
                  </a:gsLst>
                  <a:lin ang="5400000" scaled="0"/>
                </a:gradFill>
                <a:latin typeface="+mn-lt"/>
                <a:ea typeface="+mn-ea"/>
                <a:cs typeface="+mn-cs"/>
              </a:defRPr>
            </a:lvl4pPr>
            <a:lvl5pPr marL="687390" marR="0" indent="0" algn="l" defTabSz="914367" rtl="0" eaLnBrk="1" fontAlgn="auto" latinLnBrk="0" hangingPunct="1">
              <a:lnSpc>
                <a:spcPct val="90000"/>
              </a:lnSpc>
              <a:spcBef>
                <a:spcPct val="20000"/>
              </a:spcBef>
              <a:spcAft>
                <a:spcPts val="0"/>
              </a:spcAft>
              <a:buClrTx/>
              <a:buSzPct val="90000"/>
              <a:buFont typeface="Arial" pitchFamily="34" charset="0"/>
              <a:buNone/>
              <a:tabLst/>
              <a:defRPr lang="en-US" sz="1961" kern="1200" spc="-70" baseline="0" dirty="0">
                <a:gradFill>
                  <a:gsLst>
                    <a:gs pos="1250">
                      <a:schemeClr val="tx1"/>
                    </a:gs>
                    <a:gs pos="100000">
                      <a:schemeClr val="tx1"/>
                    </a:gs>
                  </a:gsLst>
                  <a:lin ang="5400000" scaled="0"/>
                </a:gradFill>
                <a:latin typeface="+mn-lt"/>
                <a:ea typeface="+mn-ea"/>
                <a:cs typeface="+mn-cs"/>
              </a:defRPr>
            </a:lvl5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smtClean="0"/>
              <a:t>Click to edit Master text styles</a:t>
            </a:r>
          </a:p>
          <a:p>
            <a:pPr marL="0" marR="0" lvl="1"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smtClean="0"/>
              <a:t>Second level</a:t>
            </a:r>
          </a:p>
          <a:p>
            <a:pPr marL="0" marR="0" lvl="2"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smtClean="0"/>
              <a:t>Third level</a:t>
            </a:r>
          </a:p>
          <a:p>
            <a:pPr marL="0" marR="0" lvl="3"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smtClean="0"/>
              <a:t>Fourth level</a:t>
            </a:r>
          </a:p>
          <a:p>
            <a:pPr marL="0" marR="0" lvl="4"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smtClean="0"/>
              <a:t>Fifth level</a:t>
            </a:r>
            <a:endParaRPr lang="en-US" dirty="0"/>
          </a:p>
        </p:txBody>
      </p:sp>
      <p:sp>
        <p:nvSpPr>
          <p:cNvPr id="5" name="TextBox 7"/>
          <p:cNvSpPr txBox="1"/>
          <p:nvPr/>
        </p:nvSpPr>
        <p:spPr>
          <a:xfrm>
            <a:off x="4161400" y="6593488"/>
            <a:ext cx="3869200" cy="16597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78" spc="150" dirty="0" smtClean="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403931755"/>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5_BLANK">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srcRect l="120"/>
          <a:stretch/>
        </p:blipFill>
        <p:spPr>
          <a:xfrm>
            <a:off x="-1" y="-312"/>
            <a:ext cx="12206629" cy="6858623"/>
          </a:xfrm>
          <a:prstGeom prst="rect">
            <a:avLst/>
          </a:prstGeom>
        </p:spPr>
      </p:pic>
    </p:spTree>
    <p:extLst>
      <p:ext uri="{BB962C8B-B14F-4D97-AF65-F5344CB8AC3E}">
        <p14:creationId xmlns:p14="http://schemas.microsoft.com/office/powerpoint/2010/main" val="747822394"/>
      </p:ext>
    </p:extLst>
  </p:cSld>
  <p:clrMapOvr>
    <a:masterClrMapping/>
  </p:clrMapOvr>
  <p:transition spd="med">
    <p:wipe dir="r"/>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63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69240" y="1279455"/>
            <a:ext cx="10816237" cy="563458"/>
          </a:xfrm>
          <a:prstGeom prst="rect">
            <a:avLst/>
          </a:prstGeom>
        </p:spPr>
        <p:txBody>
          <a:bodyPr lIns="192024"/>
          <a:lstStyle>
            <a:lvl1pPr marL="0" indent="0">
              <a:buNone/>
              <a:defRPr lang="en-US" sz="2745" kern="1200" smtClean="0">
                <a:solidFill>
                  <a:schemeClr val="tx2"/>
                </a:solidFill>
                <a:latin typeface="+mj-lt"/>
                <a:ea typeface="+mn-ea"/>
                <a:cs typeface="+mn-cs"/>
              </a:defRPr>
            </a:lvl1pPr>
            <a:lvl2pPr marL="0" indent="0">
              <a:buNone/>
              <a:defRPr lang="en-US" sz="3108" kern="1200" smtClean="0">
                <a:solidFill>
                  <a:schemeClr val="bg1"/>
                </a:solidFill>
                <a:latin typeface="+mj-lt"/>
                <a:ea typeface="+mn-ea"/>
                <a:cs typeface="+mn-cs"/>
              </a:defRPr>
            </a:lvl2pPr>
            <a:lvl3pPr marL="0" indent="0">
              <a:buNone/>
              <a:defRPr lang="en-US" sz="3108" kern="1200" smtClean="0">
                <a:solidFill>
                  <a:schemeClr val="bg1"/>
                </a:solidFill>
                <a:latin typeface="+mj-lt"/>
                <a:ea typeface="+mn-ea"/>
                <a:cs typeface="+mn-cs"/>
              </a:defRPr>
            </a:lvl3pPr>
            <a:lvl4pPr marL="0" indent="0">
              <a:buNone/>
              <a:defRPr lang="en-US" sz="3108" kern="1200" smtClean="0">
                <a:solidFill>
                  <a:schemeClr val="bg1"/>
                </a:solidFill>
                <a:latin typeface="+mj-lt"/>
                <a:ea typeface="+mn-ea"/>
                <a:cs typeface="+mn-cs"/>
              </a:defRPr>
            </a:lvl4pPr>
            <a:lvl5pPr marL="0" indent="0">
              <a:buNone/>
              <a:defRPr lang="en-US" sz="3108" kern="1200">
                <a:solidFill>
                  <a:schemeClr val="bg1"/>
                </a:solidFill>
                <a:latin typeface="+mj-lt"/>
                <a:ea typeface="+mn-ea"/>
                <a:cs typeface="+mn-cs"/>
              </a:defRPr>
            </a:lvl5pPr>
          </a:lstStyle>
          <a:p>
            <a:pPr lvl="0"/>
            <a:r>
              <a:rPr lang="en-US" smtClean="0"/>
              <a:t>Click to edit Master text styles</a:t>
            </a:r>
          </a:p>
        </p:txBody>
      </p:sp>
      <p:sp>
        <p:nvSpPr>
          <p:cNvPr id="7" name="Title 2"/>
          <p:cNvSpPr>
            <a:spLocks noGrp="1"/>
          </p:cNvSpPr>
          <p:nvPr>
            <p:ph type="title"/>
          </p:nvPr>
        </p:nvSpPr>
        <p:spPr>
          <a:xfrm>
            <a:off x="268927" y="286381"/>
            <a:ext cx="11653523" cy="927940"/>
          </a:xfrm>
          <a:prstGeom prst="rect">
            <a:avLst/>
          </a:prstGeom>
        </p:spPr>
        <p:txBody>
          <a:bodyPr/>
          <a:lstStyle>
            <a:lvl1pPr algn="l">
              <a:defRPr sz="5098">
                <a:solidFill>
                  <a:schemeClr val="tx2"/>
                </a:solidFill>
              </a:defRPr>
            </a:lvl1pPr>
          </a:lstStyle>
          <a:p>
            <a:r>
              <a:rPr lang="en-US" smtClean="0"/>
              <a:t>Click to edit Master title style</a:t>
            </a:r>
            <a:endParaRPr lang="en-US" dirty="0"/>
          </a:p>
        </p:txBody>
      </p:sp>
      <p:sp>
        <p:nvSpPr>
          <p:cNvPr id="4" name="Footer Placeholder 2"/>
          <p:cNvSpPr>
            <a:spLocks noGrp="1"/>
          </p:cNvSpPr>
          <p:nvPr>
            <p:ph type="ftr" sz="quarter" idx="14"/>
          </p:nvPr>
        </p:nvSpPr>
        <p:spPr/>
        <p:txBody>
          <a:bodyPr/>
          <a:lstStyle>
            <a:lvl1pPr fontAlgn="base">
              <a:spcBef>
                <a:spcPct val="0"/>
              </a:spcBef>
              <a:spcAft>
                <a:spcPct val="0"/>
              </a:spcAft>
              <a:defRPr dirty="0" smtClean="0">
                <a:solidFill>
                  <a:srgbClr val="505050"/>
                </a:solidFill>
              </a:defRPr>
            </a:lvl1pPr>
          </a:lstStyle>
          <a:p>
            <a:pPr>
              <a:defRPr/>
            </a:pPr>
            <a:endParaRPr dirty="0"/>
          </a:p>
        </p:txBody>
      </p:sp>
      <p:sp>
        <p:nvSpPr>
          <p:cNvPr id="5" name="Slide Number Placeholder 3"/>
          <p:cNvSpPr>
            <a:spLocks noGrp="1"/>
          </p:cNvSpPr>
          <p:nvPr>
            <p:ph type="sldNum" sz="quarter" idx="15"/>
          </p:nvPr>
        </p:nvSpPr>
        <p:spPr/>
        <p:txBody>
          <a:bodyPr/>
          <a:lstStyle>
            <a:lvl1pPr defTabSz="913505" fontAlgn="base">
              <a:spcBef>
                <a:spcPct val="0"/>
              </a:spcBef>
              <a:spcAft>
                <a:spcPct val="0"/>
              </a:spcAft>
              <a:defRPr smtClean="0">
                <a:solidFill>
                  <a:srgbClr val="505050"/>
                </a:solidFill>
              </a:defRPr>
            </a:lvl1pPr>
          </a:lstStyle>
          <a:p>
            <a:pPr>
              <a:defRPr/>
            </a:pPr>
            <a:fld id="{56442AAA-6A77-5942-BCC4-0CCA4B0626F8}" type="slidenum">
              <a:rPr/>
              <a:pPr>
                <a:defRPr/>
              </a:pPr>
              <a:t>‹#›</a:t>
            </a:fld>
            <a:endParaRPr dirty="0"/>
          </a:p>
        </p:txBody>
      </p:sp>
    </p:spTree>
    <p:extLst>
      <p:ext uri="{BB962C8B-B14F-4D97-AF65-F5344CB8AC3E}">
        <p14:creationId xmlns:p14="http://schemas.microsoft.com/office/powerpoint/2010/main" val="3895091213"/>
      </p:ext>
    </p:extLst>
  </p:cSld>
  <p:clrMapOvr>
    <a:overrideClrMapping bg1="lt1" tx1="dk1" bg2="lt2" tx2="dk2" accent1="accent1" accent2="accent2" accent3="accent3" accent4="accent4" accent5="accent5" accent6="accent6" hlink="hlink" folHlink="folHlink"/>
  </p:clrMapOvr>
  <p:transition spd="med">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fontAlgn="base">
              <a:spcBef>
                <a:spcPct val="0"/>
              </a:spcBef>
              <a:spcAft>
                <a:spcPct val="0"/>
              </a:spcAft>
              <a:defRPr dirty="0" smtClean="0">
                <a:solidFill>
                  <a:srgbClr val="000000"/>
                </a:solidFill>
              </a:defRPr>
            </a:lvl1pPr>
          </a:lstStyle>
          <a:p>
            <a:pPr>
              <a:defRPr/>
            </a:pPr>
            <a:endParaRPr dirty="0"/>
          </a:p>
        </p:txBody>
      </p:sp>
      <p:sp>
        <p:nvSpPr>
          <p:cNvPr id="3" name="Slide Number Placeholder 2"/>
          <p:cNvSpPr>
            <a:spLocks noGrp="1"/>
          </p:cNvSpPr>
          <p:nvPr>
            <p:ph type="sldNum" sz="quarter" idx="11"/>
          </p:nvPr>
        </p:nvSpPr>
        <p:spPr/>
        <p:txBody>
          <a:bodyPr/>
          <a:lstStyle>
            <a:lvl1pPr defTabSz="913505" fontAlgn="base">
              <a:spcBef>
                <a:spcPct val="0"/>
              </a:spcBef>
              <a:spcAft>
                <a:spcPct val="0"/>
              </a:spcAft>
              <a:defRPr smtClean="0">
                <a:solidFill>
                  <a:srgbClr val="000000"/>
                </a:solidFill>
              </a:defRPr>
            </a:lvl1pPr>
          </a:lstStyle>
          <a:p>
            <a:pPr>
              <a:defRPr/>
            </a:pPr>
            <a:fld id="{F8A0AC42-AA1D-4944-8D96-660DE70C7E1B}" type="slidenum">
              <a:rPr/>
              <a:pPr>
                <a:defRPr/>
              </a:pPr>
              <a:t>‹#›</a:t>
            </a:fld>
            <a:endParaRPr dirty="0"/>
          </a:p>
        </p:txBody>
      </p:sp>
    </p:spTree>
    <p:extLst>
      <p:ext uri="{BB962C8B-B14F-4D97-AF65-F5344CB8AC3E}">
        <p14:creationId xmlns:p14="http://schemas.microsoft.com/office/powerpoint/2010/main" val="1399197836"/>
      </p:ext>
    </p:extLst>
  </p:cSld>
  <p:clrMapOvr>
    <a:overrideClrMapping bg1="lt1" tx1="dk1" bg2="lt2" tx2="dk2" accent1="accent1" accent2="accent2" accent3="accent3" accent4="accent4" accent5="accent5" accent6="accent6" hlink="hlink" folHlink="folHlink"/>
  </p:clrMapOvr>
  <p:transition spd="med">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cSld name="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a:lstStyle>
            <a:lvl1pPr algn="l">
              <a:defRPr sz="5098">
                <a:solidFill>
                  <a:schemeClr val="tx2"/>
                </a:solidFill>
              </a:defRPr>
            </a:lvl1pPr>
          </a:lstStyle>
          <a:p>
            <a:r>
              <a:rPr lang="en-US" smtClean="0"/>
              <a:t>Click to edit Master title style</a:t>
            </a:r>
            <a:endParaRPr lang="en-US" dirty="0"/>
          </a:p>
        </p:txBody>
      </p:sp>
      <p:sp>
        <p:nvSpPr>
          <p:cNvPr id="4" name="Slide Number Placeholder 2"/>
          <p:cNvSpPr>
            <a:spLocks noGrp="1"/>
          </p:cNvSpPr>
          <p:nvPr>
            <p:ph type="sldNum" sz="quarter" idx="11"/>
          </p:nvPr>
        </p:nvSpPr>
        <p:spPr>
          <a:xfrm>
            <a:off x="11367165" y="6437742"/>
            <a:ext cx="555597" cy="133860"/>
          </a:xfrm>
        </p:spPr>
        <p:txBody>
          <a:bodyPr/>
          <a:lstStyle>
            <a:lvl1pPr defTabSz="913505" fontAlgn="base">
              <a:spcBef>
                <a:spcPct val="0"/>
              </a:spcBef>
              <a:spcAft>
                <a:spcPct val="0"/>
              </a:spcAft>
              <a:defRPr smtClean="0">
                <a:solidFill>
                  <a:srgbClr val="000000"/>
                </a:solidFill>
              </a:defRPr>
            </a:lvl1pPr>
          </a:lstStyle>
          <a:p>
            <a:pPr>
              <a:defRPr/>
            </a:pPr>
            <a:fld id="{F8A0AC42-AA1D-4944-8D96-660DE70C7E1B}" type="slidenum">
              <a:rPr/>
              <a:pPr>
                <a:defRPr/>
              </a:pPr>
              <a:t>‹#›</a:t>
            </a:fld>
            <a:endParaRPr dirty="0"/>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l="28502" t="40628" r="27716" b="39461"/>
          <a:stretch/>
        </p:blipFill>
        <p:spPr>
          <a:xfrm>
            <a:off x="523142" y="6434664"/>
            <a:ext cx="935823" cy="239431"/>
          </a:xfrm>
          <a:prstGeom prst="rect">
            <a:avLst/>
          </a:prstGeom>
        </p:spPr>
      </p:pic>
    </p:spTree>
    <p:extLst>
      <p:ext uri="{BB962C8B-B14F-4D97-AF65-F5344CB8AC3E}">
        <p14:creationId xmlns:p14="http://schemas.microsoft.com/office/powerpoint/2010/main" val="1056261712"/>
      </p:ext>
    </p:extLst>
  </p:cSld>
  <p:clrMapOvr>
    <a:masterClrMapping/>
  </p:clrMapOvr>
  <p:transition spd="med">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1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a:lstStyle>
            <a:lvl1pPr algn="l">
              <a:defRPr sz="5098">
                <a:solidFill>
                  <a:schemeClr val="tx2"/>
                </a:solidFill>
              </a:defRPr>
            </a:lvl1pPr>
          </a:lstStyle>
          <a:p>
            <a:r>
              <a:rPr lang="en-US" smtClean="0"/>
              <a:t>Click to edit Master title style</a:t>
            </a:r>
            <a:endParaRPr lang="en-US" dirty="0"/>
          </a:p>
        </p:txBody>
      </p:sp>
      <p:sp>
        <p:nvSpPr>
          <p:cNvPr id="4" name="Slide Number Placeholder 2"/>
          <p:cNvSpPr>
            <a:spLocks noGrp="1"/>
          </p:cNvSpPr>
          <p:nvPr>
            <p:ph type="sldNum" sz="quarter" idx="11"/>
          </p:nvPr>
        </p:nvSpPr>
        <p:spPr>
          <a:xfrm>
            <a:off x="11367165" y="6437742"/>
            <a:ext cx="555597" cy="133860"/>
          </a:xfrm>
        </p:spPr>
        <p:txBody>
          <a:bodyPr/>
          <a:lstStyle>
            <a:lvl1pPr defTabSz="913505" fontAlgn="base">
              <a:spcBef>
                <a:spcPct val="0"/>
              </a:spcBef>
              <a:spcAft>
                <a:spcPct val="0"/>
              </a:spcAft>
              <a:defRPr smtClean="0">
                <a:solidFill>
                  <a:srgbClr val="000000"/>
                </a:solidFill>
              </a:defRPr>
            </a:lvl1pPr>
          </a:lstStyle>
          <a:p>
            <a:pPr>
              <a:defRPr/>
            </a:pPr>
            <a:fld id="{F8A0AC42-AA1D-4944-8D96-660DE70C7E1B}" type="slidenum">
              <a:rPr/>
              <a:pPr>
                <a:defRPr/>
              </a:pPr>
              <a:t>‹#›</a:t>
            </a:fld>
            <a:endParaRPr dirty="0"/>
          </a:p>
        </p:txBody>
      </p:sp>
    </p:spTree>
    <p:extLst>
      <p:ext uri="{BB962C8B-B14F-4D97-AF65-F5344CB8AC3E}">
        <p14:creationId xmlns:p14="http://schemas.microsoft.com/office/powerpoint/2010/main" val="1831706163"/>
      </p:ext>
    </p:extLst>
  </p:cSld>
  <p:clrMapOvr>
    <a:masterClrMapping/>
  </p:clrMapOvr>
  <p:transition spd="med">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cSld name="4_BLANK">
    <p:spTree>
      <p:nvGrpSpPr>
        <p:cNvPr id="1" name=""/>
        <p:cNvGrpSpPr/>
        <p:nvPr/>
      </p:nvGrpSpPr>
      <p:grpSpPr>
        <a:xfrm>
          <a:off x="0" y="0"/>
          <a:ext cx="0" cy="0"/>
          <a:chOff x="0" y="0"/>
          <a:chExt cx="0" cy="0"/>
        </a:xfrm>
      </p:grpSpPr>
      <p:sp>
        <p:nvSpPr>
          <p:cNvPr id="3" name="Rectangle 2"/>
          <p:cNvSpPr/>
          <p:nvPr/>
        </p:nvSpPr>
        <p:spPr bwMode="auto">
          <a:xfrm rot="16200000">
            <a:off x="4436204" y="-897799"/>
            <a:ext cx="3319595" cy="12192002"/>
          </a:xfrm>
          <a:prstGeom prst="rect">
            <a:avLst/>
          </a:prstGeom>
          <a:gradFill flip="none" rotWithShape="1">
            <a:gsLst>
              <a:gs pos="75000">
                <a:srgbClr val="003963">
                  <a:alpha val="0"/>
                </a:srgbClr>
              </a:gs>
              <a:gs pos="0">
                <a:srgbClr val="002B4A"/>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5720" rIns="0" bIns="45720" anchor="ctr"/>
          <a:lstStyle/>
          <a:p>
            <a:pPr algn="ctr" defTabSz="914102">
              <a:defRPr/>
            </a:pPr>
            <a:endParaRPr lang="en-US" sz="1961" dirty="0">
              <a:gradFill>
                <a:gsLst>
                  <a:gs pos="0">
                    <a:srgbClr val="FFFFFF"/>
                  </a:gs>
                  <a:gs pos="100000">
                    <a:srgbClr val="FFFFFF"/>
                  </a:gs>
                </a:gsLst>
                <a:lin ang="5400000" scaled="0"/>
              </a:gradFill>
            </a:endParaRPr>
          </a:p>
        </p:txBody>
      </p:sp>
      <p:pic>
        <p:nvPicPr>
          <p:cNvPr id="4" name="Picture 3"/>
          <p:cNvPicPr>
            <a:picLocks noChangeAspect="1"/>
          </p:cNvPicPr>
          <p:nvPr userDrawn="1"/>
        </p:nvPicPr>
        <p:blipFill>
          <a:blip r:embed="rId2"/>
          <a:stretch>
            <a:fillRect/>
          </a:stretch>
        </p:blipFill>
        <p:spPr>
          <a:xfrm>
            <a:off x="0" y="0"/>
            <a:ext cx="12213788" cy="6858623"/>
          </a:xfrm>
          <a:prstGeom prst="rect">
            <a:avLst/>
          </a:prstGeom>
        </p:spPr>
      </p:pic>
    </p:spTree>
    <p:extLst>
      <p:ext uri="{BB962C8B-B14F-4D97-AF65-F5344CB8AC3E}">
        <p14:creationId xmlns:p14="http://schemas.microsoft.com/office/powerpoint/2010/main" val="2508260720"/>
      </p:ext>
    </p:extLst>
  </p:cSld>
  <p:clrMapOvr>
    <a:masterClrMapping/>
  </p:clrMapOvr>
  <p:transition spd="med">
    <p:wipe dir="r"/>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cSld name="Blank Accent Color 1">
    <p:bg>
      <p:bgPr>
        <a:solidFill>
          <a:srgbClr val="DA3C16"/>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03799237"/>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6922" y="1284251"/>
            <a:ext cx="11655840" cy="2018835"/>
          </a:xfrm>
        </p:spPr>
        <p:txBody>
          <a:bodyPr/>
          <a:lstStyle>
            <a:lvl1pPr marL="0" indent="0">
              <a:buNone/>
              <a:defRPr>
                <a:gradFill>
                  <a:gsLst>
                    <a:gs pos="2920">
                      <a:schemeClr val="tx2"/>
                    </a:gs>
                    <a:gs pos="39000">
                      <a:schemeClr val="tx2"/>
                    </a:gs>
                  </a:gsLst>
                  <a:lin ang="5400000" scaled="0"/>
                </a:gradFill>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Slide Number Placeholder 2"/>
          <p:cNvSpPr>
            <a:spLocks noGrp="1"/>
          </p:cNvSpPr>
          <p:nvPr>
            <p:ph type="sldNum" sz="quarter" idx="12"/>
          </p:nvPr>
        </p:nvSpPr>
        <p:spPr>
          <a:xfrm>
            <a:off x="11367165" y="6437742"/>
            <a:ext cx="555597" cy="133860"/>
          </a:xfrm>
        </p:spPr>
        <p:txBody>
          <a:bodyPr/>
          <a:lstStyle>
            <a:lvl1pPr defTabSz="913505" fontAlgn="base">
              <a:spcBef>
                <a:spcPct val="0"/>
              </a:spcBef>
              <a:spcAft>
                <a:spcPct val="0"/>
              </a:spcAft>
              <a:defRPr smtClean="0">
                <a:solidFill>
                  <a:srgbClr val="000000"/>
                </a:solidFill>
              </a:defRPr>
            </a:lvl1pPr>
          </a:lstStyle>
          <a:p>
            <a:pPr>
              <a:defRPr/>
            </a:pPr>
            <a:fld id="{F8A0AC42-AA1D-4944-8D96-660DE70C7E1B}" type="slidenum">
              <a:rPr/>
              <a:pPr>
                <a:defRPr/>
              </a:pPr>
              <a:t>‹#›</a:t>
            </a:fld>
            <a:endParaRPr dirty="0"/>
          </a:p>
        </p:txBody>
      </p:sp>
    </p:spTree>
    <p:extLst>
      <p:ext uri="{BB962C8B-B14F-4D97-AF65-F5344CB8AC3E}">
        <p14:creationId xmlns:p14="http://schemas.microsoft.com/office/powerpoint/2010/main" val="1338057108"/>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ags" Target="../tags/tag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vmlDrawing" Target="../drawings/vmlDrawing1.vml"/><Relationship Id="rId10" Type="http://schemas.openxmlformats.org/officeDocument/2006/relationships/slideLayout" Target="../slideLayouts/slideLayout10.xml"/><Relationship Id="rId19"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6"/>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93" name="think-cell Slide" r:id="rId17" imgW="377" imgH="377" progId="TCLayout.ActiveDocument.1">
                  <p:embed/>
                </p:oleObj>
              </mc:Choice>
              <mc:Fallback>
                <p:oleObj name="think-cell Slide" r:id="rId17" imgW="377" imgH="377" progId="TCLayout.ActiveDocument.1">
                  <p:embed/>
                  <p:pic>
                    <p:nvPicPr>
                      <p:cNvPr id="0" name=""/>
                      <p:cNvPicPr/>
                      <p:nvPr/>
                    </p:nvPicPr>
                    <p:blipFill>
                      <a:blip r:embed="rId18"/>
                      <a:stretch>
                        <a:fillRect/>
                      </a:stretch>
                    </p:blipFill>
                    <p:spPr>
                      <a:xfrm>
                        <a:off x="1557" y="1558"/>
                        <a:ext cx="1556" cy="1556"/>
                      </a:xfrm>
                      <a:prstGeom prst="rect">
                        <a:avLst/>
                      </a:prstGeom>
                    </p:spPr>
                  </p:pic>
                </p:oleObj>
              </mc:Fallback>
            </mc:AlternateContent>
          </a:graphicData>
        </a:graphic>
      </p:graphicFrame>
      <p:sp>
        <p:nvSpPr>
          <p:cNvPr id="2" name="Title Placeholder 1"/>
          <p:cNvSpPr>
            <a:spLocks noGrp="1"/>
          </p:cNvSpPr>
          <p:nvPr>
            <p:ph type="title"/>
          </p:nvPr>
        </p:nvSpPr>
        <p:spPr>
          <a:xfrm>
            <a:off x="269240" y="289512"/>
            <a:ext cx="11655078"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2051" name="Text Placeholder 3"/>
          <p:cNvSpPr>
            <a:spLocks noGrp="1"/>
          </p:cNvSpPr>
          <p:nvPr>
            <p:ph type="body" idx="1"/>
          </p:nvPr>
        </p:nvSpPr>
        <p:spPr bwMode="auto">
          <a:xfrm>
            <a:off x="269239" y="1279455"/>
            <a:ext cx="11653523" cy="20514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182880" tIns="146304" rIns="182880" bIns="146304"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3" name="Footer Placeholder 2"/>
          <p:cNvSpPr>
            <a:spLocks noGrp="1"/>
          </p:cNvSpPr>
          <p:nvPr>
            <p:ph type="ftr" sz="quarter" idx="3"/>
          </p:nvPr>
        </p:nvSpPr>
        <p:spPr>
          <a:xfrm>
            <a:off x="448212" y="6437742"/>
            <a:ext cx="3859607" cy="133860"/>
          </a:xfrm>
          <a:prstGeom prst="rect">
            <a:avLst/>
          </a:prstGeom>
        </p:spPr>
        <p:txBody>
          <a:bodyPr vert="horz" lIns="0" tIns="0" rIns="91440" bIns="0" rtlCol="0" anchor="ctr"/>
          <a:lstStyle>
            <a:lvl1pPr marL="0" algn="l" defTabSz="914367" rtl="0" eaLnBrk="1" fontAlgn="auto" latinLnBrk="0" hangingPunct="1">
              <a:spcBef>
                <a:spcPts val="0"/>
              </a:spcBef>
              <a:spcAft>
                <a:spcPts val="0"/>
              </a:spcAft>
              <a:defRPr lang="en-US" sz="882" kern="1200" dirty="0" smtClean="0">
                <a:solidFill>
                  <a:srgbClr val="505050"/>
                </a:solidFill>
                <a:latin typeface="+mn-lt"/>
                <a:ea typeface="+mn-ea"/>
                <a:cs typeface="+mn-cs"/>
              </a:defRPr>
            </a:lvl1pPr>
          </a:lstStyle>
          <a:p>
            <a:pPr>
              <a:defRPr/>
            </a:pPr>
            <a:endParaRPr dirty="0"/>
          </a:p>
        </p:txBody>
      </p:sp>
      <p:sp>
        <p:nvSpPr>
          <p:cNvPr id="5" name="Slide Number Placeholder 4"/>
          <p:cNvSpPr>
            <a:spLocks noGrp="1"/>
          </p:cNvSpPr>
          <p:nvPr>
            <p:ph type="sldNum" sz="quarter" idx="4"/>
          </p:nvPr>
        </p:nvSpPr>
        <p:spPr>
          <a:xfrm>
            <a:off x="11367165" y="6437742"/>
            <a:ext cx="555597" cy="133860"/>
          </a:xfrm>
          <a:prstGeom prst="rect">
            <a:avLst/>
          </a:prstGeom>
        </p:spPr>
        <p:txBody>
          <a:bodyPr vert="horz" lIns="91440" tIns="0" rIns="0" bIns="0" rtlCol="0" anchor="ctr"/>
          <a:lstStyle>
            <a:lvl1pPr algn="r" defTabSz="914367" fontAlgn="auto">
              <a:spcBef>
                <a:spcPts val="0"/>
              </a:spcBef>
              <a:spcAft>
                <a:spcPts val="0"/>
              </a:spcAft>
              <a:defRPr lang="en-US" sz="882" b="0" kern="1200">
                <a:solidFill>
                  <a:srgbClr val="505050"/>
                </a:solidFill>
                <a:latin typeface="+mn-lt"/>
                <a:ea typeface="+mn-ea"/>
                <a:cs typeface="+mn-cs"/>
              </a:defRPr>
            </a:lvl1pPr>
          </a:lstStyle>
          <a:p>
            <a:pPr>
              <a:defRPr/>
            </a:pPr>
            <a:fld id="{75FAD755-3BD0-2447-A9DF-109DAABEFD99}" type="slidenum">
              <a:rPr/>
              <a:pPr>
                <a:defRPr/>
              </a:pPr>
              <a:t>‹#›</a:t>
            </a:fld>
            <a:endParaRPr dirty="0"/>
          </a:p>
        </p:txBody>
      </p:sp>
      <p:pic>
        <p:nvPicPr>
          <p:cNvPr id="6" name="Picture 5"/>
          <p:cNvPicPr>
            <a:picLocks noChangeAspect="1"/>
          </p:cNvPicPr>
          <p:nvPr userDrawn="1"/>
        </p:nvPicPr>
        <p:blipFill>
          <a:blip r:embed="rId19" cstate="print">
            <a:extLst>
              <a:ext uri="{28A0092B-C50C-407E-A947-70E740481C1C}">
                <a14:useLocalDpi xmlns:a14="http://schemas.microsoft.com/office/drawing/2010/main" val="0"/>
              </a:ext>
            </a:extLst>
          </a:blip>
          <a:stretch>
            <a:fillRect/>
          </a:stretch>
        </p:blipFill>
        <p:spPr>
          <a:xfrm rot="5400000">
            <a:off x="10325051" y="1906413"/>
            <a:ext cx="4214127" cy="401304"/>
          </a:xfrm>
          <a:prstGeom prst="rect">
            <a:avLst/>
          </a:prstGeom>
        </p:spPr>
      </p:pic>
    </p:spTree>
    <p:extLst>
      <p:ext uri="{BB962C8B-B14F-4D97-AF65-F5344CB8AC3E}">
        <p14:creationId xmlns:p14="http://schemas.microsoft.com/office/powerpoint/2010/main" val="207045814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Lst>
  <p:transition>
    <p:fade/>
  </p:transition>
  <p:timing>
    <p:tnLst>
      <p:par>
        <p:cTn id="1" dur="indefinite" restart="never" nodeType="tmRoot"/>
      </p:par>
    </p:tnLst>
  </p:timing>
  <p:hf hdr="0" ftr="0" dt="0"/>
  <p:txStyles>
    <p:titleStyle>
      <a:lvl1pPr algn="l" defTabSz="913505" rtl="0" eaLnBrk="1" fontAlgn="base" hangingPunct="1">
        <a:lnSpc>
          <a:spcPct val="90000"/>
        </a:lnSpc>
        <a:spcBef>
          <a:spcPct val="0"/>
        </a:spcBef>
        <a:spcAft>
          <a:spcPct val="0"/>
        </a:spcAft>
        <a:defRPr lang="en-US" sz="5294" kern="1200" spc="-100" dirty="0">
          <a:ln w="3175">
            <a:noFill/>
          </a:ln>
          <a:solidFill>
            <a:schemeClr val="tx2"/>
          </a:solidFill>
          <a:latin typeface="+mj-lt"/>
          <a:ea typeface="ＭＳ Ｐゴシック" charset="0"/>
          <a:cs typeface="Segoe UI" pitchFamily="34" charset="0"/>
        </a:defRPr>
      </a:lvl1pPr>
      <a:lvl2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2pPr>
      <a:lvl3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3pPr>
      <a:lvl4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4pPr>
      <a:lvl5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5pPr>
      <a:lvl6pPr marL="448193"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6pPr>
      <a:lvl7pPr marL="896386"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7pPr>
      <a:lvl8pPr marL="1344579"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8pPr>
      <a:lvl9pPr marL="1792773"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9pPr>
    </p:titleStyle>
    <p:bodyStyle>
      <a:lvl1pPr marL="336145" indent="-336145" algn="l" defTabSz="913505" rtl="0" eaLnBrk="1" fontAlgn="base" hangingPunct="1">
        <a:lnSpc>
          <a:spcPct val="90000"/>
        </a:lnSpc>
        <a:spcBef>
          <a:spcPct val="20000"/>
        </a:spcBef>
        <a:spcAft>
          <a:spcPct val="0"/>
        </a:spcAft>
        <a:buSzPct val="90000"/>
        <a:buFont typeface="Arial" charset="0"/>
        <a:buChar char="•"/>
        <a:defRPr sz="3921" kern="1200">
          <a:solidFill>
            <a:schemeClr val="tx2"/>
          </a:solidFill>
          <a:latin typeface="+mj-lt"/>
          <a:ea typeface="ＭＳ Ｐゴシック" charset="0"/>
          <a:cs typeface="ＭＳ Ｐゴシック" charset="0"/>
        </a:defRPr>
      </a:lvl1pPr>
      <a:lvl2pPr marL="572691" indent="-236546" algn="l" defTabSz="913505" rtl="0" eaLnBrk="1" fontAlgn="base" hangingPunct="1">
        <a:lnSpc>
          <a:spcPct val="90000"/>
        </a:lnSpc>
        <a:spcBef>
          <a:spcPct val="20000"/>
        </a:spcBef>
        <a:spcAft>
          <a:spcPct val="0"/>
        </a:spcAft>
        <a:buSzPct val="90000"/>
        <a:buFont typeface="Arial" charset="0"/>
        <a:buChar char="•"/>
        <a:defRPr sz="2353" kern="1200">
          <a:solidFill>
            <a:schemeClr val="tx2"/>
          </a:solidFill>
          <a:latin typeface="+mn-lt"/>
          <a:ea typeface="ＭＳ Ｐゴシック" charset="0"/>
          <a:cs typeface="+mn-cs"/>
        </a:defRPr>
      </a:lvl2pPr>
      <a:lvl3pPr marL="784338" indent="-224097" algn="l" defTabSz="913505" rtl="0" eaLnBrk="1" fontAlgn="base" hangingPunct="1">
        <a:lnSpc>
          <a:spcPct val="90000"/>
        </a:lnSpc>
        <a:spcBef>
          <a:spcPct val="20000"/>
        </a:spcBef>
        <a:spcAft>
          <a:spcPct val="0"/>
        </a:spcAft>
        <a:buSzPct val="90000"/>
        <a:buFont typeface="Arial" charset="0"/>
        <a:buChar char="•"/>
        <a:defRPr sz="1961" kern="1200">
          <a:solidFill>
            <a:schemeClr val="tx2"/>
          </a:solidFill>
          <a:latin typeface="+mn-lt"/>
          <a:ea typeface="ＭＳ Ｐゴシック" charset="0"/>
          <a:cs typeface="+mn-cs"/>
        </a:defRPr>
      </a:lvl3pPr>
      <a:lvl4pPr marL="1008435" indent="-224097" algn="l" defTabSz="913505"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4pPr>
      <a:lvl5pPr marL="1232531" indent="-224097" algn="l" defTabSz="913505"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293">
          <p15:clr>
            <a:srgbClr val="C35EA4"/>
          </p15:clr>
        </p15:guide>
        <p15:guide id="2" pos="7565">
          <p15:clr>
            <a:srgbClr val="C35EA4"/>
          </p15:clr>
        </p15:guide>
        <p15:guide id="3" orient="horz" pos="302">
          <p15:clr>
            <a:srgbClr val="C35EA4"/>
          </p15:clr>
        </p15:guide>
        <p15:guide id="4" orient="horz" pos="815">
          <p15:clr>
            <a:srgbClr val="C35EA4"/>
          </p15:clr>
        </p15:guide>
        <p15:guide id="5" orient="horz" pos="4075">
          <p15:clr>
            <a:srgbClr val="C35EA4"/>
          </p15:clr>
        </p15:guide>
        <p15:guide id="6" orient="horz" pos="763">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3" Type="http://schemas.openxmlformats.org/officeDocument/2006/relationships/hyperlink" Target="http://www.scala-lang.org/" TargetMode="External"/><Relationship Id="rId2" Type="http://schemas.openxmlformats.org/officeDocument/2006/relationships/image" Target="../media/image10.png"/><Relationship Id="rId1" Type="http://schemas.openxmlformats.org/officeDocument/2006/relationships/slideLayout" Target="../slideLayouts/slideLayout5.xml"/><Relationship Id="rId4" Type="http://schemas.openxmlformats.org/officeDocument/2006/relationships/image" Target="../media/image12.jpeg"/></Relationships>
</file>

<file path=ppt/slides/_rels/slide1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5.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2.xml.rels><?xml version="1.0" encoding="UTF-8" standalone="yes"?>
<Relationships xmlns="http://schemas.openxmlformats.org/package/2006/relationships"><Relationship Id="rId2" Type="http://schemas.openxmlformats.org/officeDocument/2006/relationships/hyperlink" Target="https://spark.apache.org/docs/latest/tuning.html" TargetMode="External"/><Relationship Id="rId1" Type="http://schemas.openxmlformats.org/officeDocument/2006/relationships/slideLayout" Target="../slideLayouts/slideLayout5.xml"/></Relationships>
</file>

<file path=ppt/slides/_rels/slide2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5.xml"/></Relationships>
</file>

<file path=ppt/slides/_rels/slide2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5.xml"/></Relationships>
</file>

<file path=ppt/slides/_rels/slide2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0.png"/><Relationship Id="rId1" Type="http://schemas.openxmlformats.org/officeDocument/2006/relationships/slideLayout" Target="../slideLayouts/slideLayout5.xml"/><Relationship Id="rId5" Type="http://schemas.openxmlformats.org/officeDocument/2006/relationships/image" Target="../media/image15.png"/><Relationship Id="rId4" Type="http://schemas.openxmlformats.org/officeDocument/2006/relationships/image" Target="../media/image14.png"/></Relationships>
</file>

<file path=ppt/slides/_rels/slide2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5.xml"/></Relationships>
</file>

<file path=ppt/slides/_rels/slide2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6.png"/><Relationship Id="rId1" Type="http://schemas.openxmlformats.org/officeDocument/2006/relationships/slideLayout" Target="../slideLayouts/slideLayout5.xml"/></Relationships>
</file>

<file path=ppt/slides/_rels/slide28.xml.rels><?xml version="1.0" encoding="UTF-8" standalone="yes"?>
<Relationships xmlns="http://schemas.openxmlformats.org/package/2006/relationships"><Relationship Id="rId8" Type="http://schemas.openxmlformats.org/officeDocument/2006/relationships/hyperlink" Target="https://github.com/ipython/ipython/wiki/IPython-kernels-for-other-languages" TargetMode="External"/><Relationship Id="rId3" Type="http://schemas.openxmlformats.org/officeDocument/2006/relationships/hyperlink" Target="https://github.com/jupyter/notebook" TargetMode="External"/><Relationship Id="rId7" Type="http://schemas.openxmlformats.org/officeDocument/2006/relationships/image" Target="../media/image17.png"/><Relationship Id="rId2" Type="http://schemas.openxmlformats.org/officeDocument/2006/relationships/image" Target="../media/image10.png"/><Relationship Id="rId1" Type="http://schemas.openxmlformats.org/officeDocument/2006/relationships/slideLayout" Target="../slideLayouts/slideLayout5.xml"/><Relationship Id="rId6" Type="http://schemas.openxmlformats.org/officeDocument/2006/relationships/hyperlink" Target="https://nbviewer.jupyter.org/" TargetMode="External"/><Relationship Id="rId5" Type="http://schemas.openxmlformats.org/officeDocument/2006/relationships/hyperlink" Target="https://github.com/jupyter/jupyter_console" TargetMode="External"/><Relationship Id="rId4" Type="http://schemas.openxmlformats.org/officeDocument/2006/relationships/hyperlink" Target="https://github.com/jupyter/qtconsole" TargetMode="External"/></Relationships>
</file>

<file path=ppt/slides/_rels/slide2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5.xml"/></Relationships>
</file>

<file path=ppt/slides/_rels/slide30.xml.rels><?xml version="1.0" encoding="UTF-8" standalone="yes"?>
<Relationships xmlns="http://schemas.openxmlformats.org/package/2006/relationships"><Relationship Id="rId8" Type="http://schemas.openxmlformats.org/officeDocument/2006/relationships/image" Target="../media/image23.jpeg"/><Relationship Id="rId3" Type="http://schemas.openxmlformats.org/officeDocument/2006/relationships/image" Target="../media/image18.jpeg"/><Relationship Id="rId7" Type="http://schemas.openxmlformats.org/officeDocument/2006/relationships/image" Target="../media/image22.jpeg"/><Relationship Id="rId2" Type="http://schemas.openxmlformats.org/officeDocument/2006/relationships/image" Target="../media/image10.png"/><Relationship Id="rId1" Type="http://schemas.openxmlformats.org/officeDocument/2006/relationships/slideLayout" Target="../slideLayouts/slideLayout5.xml"/><Relationship Id="rId6" Type="http://schemas.openxmlformats.org/officeDocument/2006/relationships/image" Target="../media/image21.jpeg"/><Relationship Id="rId5" Type="http://schemas.openxmlformats.org/officeDocument/2006/relationships/image" Target="../media/image20.jpeg"/><Relationship Id="rId10" Type="http://schemas.openxmlformats.org/officeDocument/2006/relationships/image" Target="../media/image25.jpeg"/><Relationship Id="rId4" Type="http://schemas.openxmlformats.org/officeDocument/2006/relationships/image" Target="../media/image19.jpeg"/><Relationship Id="rId9" Type="http://schemas.openxmlformats.org/officeDocument/2006/relationships/image" Target="../media/image24.jpeg"/></Relationships>
</file>

<file path=ppt/slides/_rels/slide31.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10.png"/><Relationship Id="rId1" Type="http://schemas.openxmlformats.org/officeDocument/2006/relationships/slideLayout" Target="../slideLayouts/slideLayout5.xml"/></Relationships>
</file>

<file path=ppt/slides/_rels/slide32.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10.png"/><Relationship Id="rId1" Type="http://schemas.openxmlformats.org/officeDocument/2006/relationships/slideLayout" Target="../slideLayouts/slideLayout5.xml"/></Relationships>
</file>

<file path=ppt/slides/_rels/slide3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Layout" Target="../slideLayouts/slideLayout5.xml"/><Relationship Id="rId1" Type="http://schemas.openxmlformats.org/officeDocument/2006/relationships/themeOverride" Target="../theme/themeOverride2.xml"/></Relationships>
</file>

<file path=ppt/slides/_rels/slide3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5.xml"/></Relationships>
</file>

<file path=ppt/slides/_rels/slide3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5.xml"/></Relationships>
</file>

<file path=ppt/slides/_rels/slide3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3.xml"/><Relationship Id="rId1" Type="http://schemas.openxmlformats.org/officeDocument/2006/relationships/slideLayout" Target="../slideLayouts/slideLayout5.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8.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10.png"/><Relationship Id="rId1" Type="http://schemas.openxmlformats.org/officeDocument/2006/relationships/slideLayout" Target="../slideLayouts/slideLayout5.xml"/></Relationships>
</file>

<file path=ppt/slides/_rels/slide3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5.xml"/></Relationships>
</file>

<file path=ppt/slides/_rels/slide4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5.xml"/></Relationships>
</file>

<file path=ppt/slides/_rels/slide41.xml.rels><?xml version="1.0" encoding="UTF-8" standalone="yes"?>
<Relationships xmlns="http://schemas.openxmlformats.org/package/2006/relationships"><Relationship Id="rId3" Type="http://schemas.openxmlformats.org/officeDocument/2006/relationships/hyperlink" Target="http://spark-packages.org/" TargetMode="External"/><Relationship Id="rId7" Type="http://schemas.openxmlformats.org/officeDocument/2006/relationships/image" Target="../media/image32.png"/><Relationship Id="rId2" Type="http://schemas.openxmlformats.org/officeDocument/2006/relationships/image" Target="../media/image10.png"/><Relationship Id="rId1" Type="http://schemas.openxmlformats.org/officeDocument/2006/relationships/slideLayout" Target="../slideLayouts/slideLayout5.xml"/><Relationship Id="rId6" Type="http://schemas.openxmlformats.org/officeDocument/2006/relationships/image" Target="../media/image31.jpeg"/><Relationship Id="rId5" Type="http://schemas.openxmlformats.org/officeDocument/2006/relationships/image" Target="../media/image30.png"/><Relationship Id="rId4" Type="http://schemas.openxmlformats.org/officeDocument/2006/relationships/image" Target="../media/image29.png"/></Relationships>
</file>

<file path=ppt/slides/_rels/slide4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5.xml"/></Relationships>
</file>

<file path=ppt/slides/_rels/slide4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5.xml"/></Relationships>
</file>

<file path=ppt/slides/_rels/slide4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5.xml"/></Relationships>
</file>

<file path=ppt/slides/_rels/slide4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5.xml"/></Relationships>
</file>

<file path=ppt/slides/_rels/slide46.xml.rels><?xml version="1.0" encoding="UTF-8" standalone="yes"?>
<Relationships xmlns="http://schemas.openxmlformats.org/package/2006/relationships"><Relationship Id="rId3" Type="http://schemas.openxmlformats.org/officeDocument/2006/relationships/hyperlink" Target="https://spark.apache.org/docs/latest/api/scala/index.html#org.apache.spark.sql.DataFrame" TargetMode="External"/><Relationship Id="rId2" Type="http://schemas.openxmlformats.org/officeDocument/2006/relationships/image" Target="../media/image10.png"/><Relationship Id="rId1" Type="http://schemas.openxmlformats.org/officeDocument/2006/relationships/slideLayout" Target="../slideLayouts/slideLayout5.xml"/><Relationship Id="rId5" Type="http://schemas.openxmlformats.org/officeDocument/2006/relationships/hyperlink" Target="https://spark.apache.org/docs/latest/api/python/pyspark.sql.html#pyspark.sql.DataFrame" TargetMode="External"/><Relationship Id="rId4" Type="http://schemas.openxmlformats.org/officeDocument/2006/relationships/hyperlink" Target="https://spark.apache.org/docs/latest/api/java/index.html?org/apache/spark/sql/DataFrame.html" TargetMode="External"/></Relationships>
</file>

<file path=ppt/slides/_rels/slide47.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10.png"/><Relationship Id="rId1" Type="http://schemas.openxmlformats.org/officeDocument/2006/relationships/slideLayout" Target="../slideLayouts/slideLayout5.xml"/><Relationship Id="rId4" Type="http://schemas.openxmlformats.org/officeDocument/2006/relationships/image" Target="../media/image34.png"/></Relationships>
</file>

<file path=ppt/slides/_rels/slide4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hive.apache.org/" TargetMode="External"/><Relationship Id="rId1" Type="http://schemas.openxmlformats.org/officeDocument/2006/relationships/slideLayout" Target="../slideLayouts/slideLayout5.xml"/></Relationships>
</file>

<file path=ppt/slides/_rels/slide4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5.xml"/></Relationships>
</file>

<file path=ppt/slides/_rels/slide51.xml.rels><?xml version="1.0" encoding="UTF-8" standalone="yes"?>
<Relationships xmlns="http://schemas.openxmlformats.org/package/2006/relationships"><Relationship Id="rId3" Type="http://schemas.openxmlformats.org/officeDocument/2006/relationships/hyperlink" Target="http://files.grouplens.org/dataset" TargetMode="External"/><Relationship Id="rId2" Type="http://schemas.openxmlformats.org/officeDocument/2006/relationships/image" Target="../media/image10.png"/><Relationship Id="rId1" Type="http://schemas.openxmlformats.org/officeDocument/2006/relationships/slideLayout" Target="../slideLayouts/slideLayout5.xml"/></Relationships>
</file>

<file path=ppt/slides/_rels/slide52.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10.png"/><Relationship Id="rId1" Type="http://schemas.openxmlformats.org/officeDocument/2006/relationships/slideLayout" Target="../slideLayouts/slideLayout5.xml"/><Relationship Id="rId4" Type="http://schemas.openxmlformats.org/officeDocument/2006/relationships/image" Target="../media/image36.png"/></Relationships>
</file>

<file path=ppt/slides/_rels/slide53.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10.png"/><Relationship Id="rId1" Type="http://schemas.openxmlformats.org/officeDocument/2006/relationships/slideLayout" Target="../slideLayouts/slideLayout5.xml"/><Relationship Id="rId4" Type="http://schemas.openxmlformats.org/officeDocument/2006/relationships/image" Target="../media/image38.png"/></Relationships>
</file>

<file path=ppt/slides/_rels/slide5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5.xml"/></Relationships>
</file>

<file path=ppt/slides/_rels/slide5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5.xml"/></Relationships>
</file>

<file path=ppt/slides/_rels/slide56.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png"/><Relationship Id="rId1" Type="http://schemas.openxmlformats.org/officeDocument/2006/relationships/slideLayout" Target="../slideLayouts/slideLayout5.xml"/><Relationship Id="rId4" Type="http://schemas.openxmlformats.org/officeDocument/2006/relationships/image" Target="../media/image10.png"/></Relationships>
</file>

<file path=ppt/slides/_rels/slide57.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10.png"/><Relationship Id="rId1" Type="http://schemas.openxmlformats.org/officeDocument/2006/relationships/slideLayout" Target="../slideLayouts/slideLayout5.xml"/></Relationships>
</file>

<file path=ppt/slides/_rels/slide5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42.png"/><Relationship Id="rId1" Type="http://schemas.openxmlformats.org/officeDocument/2006/relationships/slideLayout" Target="../slideLayouts/slideLayout5.xml"/></Relationships>
</file>

<file path=ppt/slides/_rels/slide5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43.png"/><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5.xml"/></Relationships>
</file>

<file path=ppt/slides/_rels/slide60.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png"/><Relationship Id="rId1" Type="http://schemas.openxmlformats.org/officeDocument/2006/relationships/slideLayout" Target="../slideLayouts/slideLayout5.xml"/><Relationship Id="rId4" Type="http://schemas.openxmlformats.org/officeDocument/2006/relationships/image" Target="../media/image10.png"/></Relationships>
</file>

<file path=ppt/slides/_rels/slide6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46.png"/><Relationship Id="rId1" Type="http://schemas.openxmlformats.org/officeDocument/2006/relationships/slideLayout" Target="../slideLayouts/slideLayout5.xml"/><Relationship Id="rId5" Type="http://schemas.openxmlformats.org/officeDocument/2006/relationships/image" Target="../media/image48.png"/><Relationship Id="rId4" Type="http://schemas.openxmlformats.org/officeDocument/2006/relationships/image" Target="../media/image47.png"/></Relationships>
</file>

<file path=ppt/slides/_rels/slide6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49.png"/><Relationship Id="rId1" Type="http://schemas.openxmlformats.org/officeDocument/2006/relationships/slideLayout" Target="../slideLayouts/slideLayout5.xml"/></Relationships>
</file>

<file path=ppt/slides/_rels/slide63.xml.rels><?xml version="1.0" encoding="UTF-8" standalone="yes"?>
<Relationships xmlns="http://schemas.openxmlformats.org/package/2006/relationships"><Relationship Id="rId3" Type="http://schemas.openxmlformats.org/officeDocument/2006/relationships/hyperlink" Target="http://docs.continuum.io/anaconda/pkg-docs.html" TargetMode="External"/><Relationship Id="rId2" Type="http://schemas.openxmlformats.org/officeDocument/2006/relationships/image" Target="../media/image10.png"/><Relationship Id="rId1" Type="http://schemas.openxmlformats.org/officeDocument/2006/relationships/slideLayout" Target="../slideLayouts/slideLayout5.xml"/><Relationship Id="rId4" Type="http://schemas.openxmlformats.org/officeDocument/2006/relationships/image" Target="../media/image50.png"/></Relationships>
</file>

<file path=ppt/slides/_rels/slide64.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10.png"/><Relationship Id="rId1" Type="http://schemas.openxmlformats.org/officeDocument/2006/relationships/slideLayout" Target="../slideLayouts/slideLayout5.xml"/><Relationship Id="rId6" Type="http://schemas.openxmlformats.org/officeDocument/2006/relationships/image" Target="../media/image54.jpeg"/><Relationship Id="rId5" Type="http://schemas.openxmlformats.org/officeDocument/2006/relationships/image" Target="../media/image53.png"/><Relationship Id="rId4" Type="http://schemas.openxmlformats.org/officeDocument/2006/relationships/image" Target="../media/image52.png"/></Relationships>
</file>

<file path=ppt/slides/_rels/slide65.xml.rels><?xml version="1.0" encoding="UTF-8" standalone="yes"?>
<Relationships xmlns="http://schemas.openxmlformats.org/package/2006/relationships"><Relationship Id="rId3" Type="http://schemas.openxmlformats.org/officeDocument/2006/relationships/hyperlink" Target="https://hdiconfigactions.blob.core.windows.net/sparkconfigactionv03/spark-installer-v03.ps1" TargetMode="External"/><Relationship Id="rId2" Type="http://schemas.openxmlformats.org/officeDocument/2006/relationships/image" Target="../media/image10.png"/><Relationship Id="rId1" Type="http://schemas.openxmlformats.org/officeDocument/2006/relationships/slideLayout" Target="../slideLayouts/slideLayout5.xml"/><Relationship Id="rId4" Type="http://schemas.openxmlformats.org/officeDocument/2006/relationships/image" Target="../media/image55.png"/></Relationships>
</file>

<file path=ppt/slides/_rels/slide6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5.xml"/></Relationships>
</file>

<file path=ppt/slides/_rels/slide67.xml.rels><?xml version="1.0" encoding="UTF-8" standalone="yes"?>
<Relationships xmlns="http://schemas.openxmlformats.org/package/2006/relationships"><Relationship Id="rId3" Type="http://schemas.openxmlformats.org/officeDocument/2006/relationships/hyperlink" Target="http://www.scala-sbt.org/0.13/docs/index.html" TargetMode="External"/><Relationship Id="rId2" Type="http://schemas.openxmlformats.org/officeDocument/2006/relationships/image" Target="../media/image10.png"/><Relationship Id="rId1" Type="http://schemas.openxmlformats.org/officeDocument/2006/relationships/slideLayout" Target="../slideLayouts/slideLayout5.xml"/><Relationship Id="rId4" Type="http://schemas.openxmlformats.org/officeDocument/2006/relationships/hyperlink" Target="http://www.scala-sbt.org/0.13/tutorial/Installing-sbt-on-Windows.htm" TargetMode="External"/></Relationships>
</file>

<file path=ppt/slides/_rels/slide6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5.xml"/></Relationships>
</file>

<file path=ppt/slides/_rels/slide69.xml.rels><?xml version="1.0" encoding="UTF-8" standalone="yes"?>
<Relationships xmlns="http://schemas.openxmlformats.org/package/2006/relationships"><Relationship Id="rId3" Type="http://schemas.openxmlformats.org/officeDocument/2006/relationships/image" Target="../media/image57.jpeg"/><Relationship Id="rId2" Type="http://schemas.openxmlformats.org/officeDocument/2006/relationships/image" Target="../media/image56.jpeg"/><Relationship Id="rId1" Type="http://schemas.openxmlformats.org/officeDocument/2006/relationships/slideLayout" Target="../slideLayouts/slideLayout5.xml"/><Relationship Id="rId6" Type="http://schemas.openxmlformats.org/officeDocument/2006/relationships/image" Target="../media/image10.png"/><Relationship Id="rId5" Type="http://schemas.openxmlformats.org/officeDocument/2006/relationships/image" Target="../media/image59.jpeg"/><Relationship Id="rId4" Type="http://schemas.openxmlformats.org/officeDocument/2006/relationships/image" Target="../media/image58.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70.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Layout" Target="../slideLayouts/slideLayout5.xml"/><Relationship Id="rId1" Type="http://schemas.openxmlformats.org/officeDocument/2006/relationships/themeOverride" Target="../theme/themeOverride1.xml"/></Relationships>
</file>

<file path=ppt/slides/_rels/slide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5.xml"/><Relationship Id="rId4" Type="http://schemas.openxmlformats.org/officeDocument/2006/relationships/hyperlink" Target="http://databricks.com/blog/2014/10/10/spark-petabyte-sort.html"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865" y="1138403"/>
            <a:ext cx="8884550" cy="4581196"/>
          </a:xfrm>
          <a:solidFill>
            <a:schemeClr val="accent3">
              <a:alpha val="78000"/>
            </a:schemeClr>
          </a:solidFill>
          <a:ln>
            <a:solidFill>
              <a:schemeClr val="accent3"/>
            </a:solidFill>
          </a:ln>
        </p:spPr>
        <p:txBody>
          <a:bodyPr vert="horz" wrap="square" lIns="268889" tIns="268889" rIns="146284" bIns="91427" rtlCol="0" anchor="t">
            <a:noAutofit/>
          </a:bodyPr>
          <a:lstStyle/>
          <a:p>
            <a:r>
              <a:rPr lang="en-US" sz="5881" dirty="0" smtClean="0">
                <a:solidFill>
                  <a:schemeClr val="bg1"/>
                </a:solidFill>
              </a:rPr>
              <a:t>Apache Spark on Azure HDInsight</a:t>
            </a:r>
            <a:r>
              <a:rPr lang="en-US" sz="4312" dirty="0">
                <a:solidFill>
                  <a:schemeClr val="bg1"/>
                </a:solidFill>
              </a:rPr>
              <a:t/>
            </a:r>
            <a:br>
              <a:rPr lang="en-US" sz="4312" dirty="0">
                <a:solidFill>
                  <a:schemeClr val="bg1"/>
                </a:solidFill>
              </a:rPr>
            </a:br>
            <a:r>
              <a:rPr lang="en-US" sz="3920" dirty="0" smtClean="0">
                <a:solidFill>
                  <a:srgbClr val="FFFF00"/>
                </a:solidFill>
              </a:rPr>
              <a:t>A technical overview</a:t>
            </a:r>
            <a:r>
              <a:rPr lang="en-US" sz="4312" dirty="0">
                <a:solidFill>
                  <a:schemeClr val="bg1"/>
                </a:solidFill>
              </a:rPr>
              <a:t/>
            </a:r>
            <a:br>
              <a:rPr lang="en-US" sz="4312" dirty="0">
                <a:solidFill>
                  <a:schemeClr val="bg1"/>
                </a:solidFill>
              </a:rPr>
            </a:br>
            <a:r>
              <a:rPr lang="en-US" sz="4312" dirty="0">
                <a:solidFill>
                  <a:schemeClr val="bg1"/>
                </a:solidFill>
              </a:rPr>
              <a:t/>
            </a:r>
            <a:br>
              <a:rPr lang="en-US" sz="4312" dirty="0">
                <a:solidFill>
                  <a:schemeClr val="bg1"/>
                </a:solidFill>
              </a:rPr>
            </a:br>
            <a:r>
              <a:rPr lang="en-US" sz="3200" dirty="0" smtClean="0">
                <a:solidFill>
                  <a:schemeClr val="bg1"/>
                </a:solidFill>
              </a:rPr>
              <a:t>Nishant Thacker</a:t>
            </a:r>
            <a:r>
              <a:rPr lang="en-US" sz="1800" dirty="0" smtClean="0">
                <a:solidFill>
                  <a:schemeClr val="bg1"/>
                </a:solidFill>
              </a:rPr>
              <a:t/>
            </a:r>
            <a:br>
              <a:rPr lang="en-US" sz="1800" dirty="0" smtClean="0">
                <a:solidFill>
                  <a:schemeClr val="bg1"/>
                </a:solidFill>
              </a:rPr>
            </a:br>
            <a:r>
              <a:rPr lang="en-US" sz="2745" dirty="0" smtClean="0">
                <a:solidFill>
                  <a:schemeClr val="bg1"/>
                </a:solidFill>
              </a:rPr>
              <a:t>Microsoft</a:t>
            </a:r>
            <a:r>
              <a:rPr lang="en-US" sz="2745" dirty="0">
                <a:solidFill>
                  <a:schemeClr val="bg1"/>
                </a:solidFill>
                <a:latin typeface="+mn-lt"/>
              </a:rPr>
              <a:t/>
            </a:r>
            <a:br>
              <a:rPr lang="en-US" sz="2745" dirty="0">
                <a:solidFill>
                  <a:schemeClr val="bg1"/>
                </a:solidFill>
                <a:latin typeface="+mn-lt"/>
              </a:rPr>
            </a:br>
            <a:endParaRPr lang="en-US" sz="4312" dirty="0">
              <a:solidFill>
                <a:schemeClr val="bg1"/>
              </a:solidFill>
              <a:latin typeface="+mn-lt"/>
            </a:endParaRPr>
          </a:p>
        </p:txBody>
      </p:sp>
    </p:spTree>
    <p:extLst>
      <p:ext uri="{BB962C8B-B14F-4D97-AF65-F5344CB8AC3E}">
        <p14:creationId xmlns:p14="http://schemas.microsoft.com/office/powerpoint/2010/main" val="1472884230"/>
      </p:ext>
    </p:extLst>
  </p:cSld>
  <p:clrMapOvr>
    <a:masterClrMapping/>
  </p:clrMapOvr>
  <p:transition spd="med">
    <p:wipe dir="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 especially for iterative applications</a:t>
            </a:r>
            <a:endParaRPr lang="en-US" dirty="0"/>
          </a:p>
        </p:txBody>
      </p:sp>
      <p:sp>
        <p:nvSpPr>
          <p:cNvPr id="3" name="Slide Number Placeholder 2"/>
          <p:cNvSpPr>
            <a:spLocks noGrp="1"/>
          </p:cNvSpPr>
          <p:nvPr>
            <p:ph type="sldNum" sz="quarter" idx="11"/>
          </p:nvPr>
        </p:nvSpPr>
        <p:spPr/>
        <p:txBody>
          <a:bodyPr/>
          <a:lstStyle/>
          <a:p>
            <a:pPr>
              <a:defRPr/>
            </a:pPr>
            <a:fld id="{F8A0AC42-AA1D-4944-8D96-660DE70C7E1B}" type="slidenum">
              <a:rPr lang="en-US" smtClean="0"/>
              <a:pPr>
                <a:defRPr/>
              </a:pPr>
              <a:t>10</a:t>
            </a:fld>
            <a:endParaRPr lang="en-US" dirty="0"/>
          </a:p>
        </p:txBody>
      </p:sp>
      <p:sp>
        <p:nvSpPr>
          <p:cNvPr id="40" name="TextBox 39"/>
          <p:cNvSpPr txBox="1"/>
          <p:nvPr/>
        </p:nvSpPr>
        <p:spPr>
          <a:xfrm>
            <a:off x="414492" y="1690479"/>
            <a:ext cx="4368661" cy="3736407"/>
          </a:xfrm>
          <a:prstGeom prst="rect">
            <a:avLst/>
          </a:prstGeom>
        </p:spPr>
        <p:txBody>
          <a:bodyPr wrap="square">
            <a:spAutoFit/>
          </a:bodyPr>
          <a:lstStyle>
            <a:defPPr>
              <a:defRPr lang="en-US"/>
            </a:defPPr>
            <a:lvl2pPr marL="52912" lvl="1" defTabSz="913770" fontAlgn="base">
              <a:spcBef>
                <a:spcPts val="588"/>
              </a:spcBef>
              <a:spcAft>
                <a:spcPts val="588"/>
              </a:spcAft>
              <a:buClr>
                <a:srgbClr val="68217A">
                  <a:lumMod val="50000"/>
                </a:srgbClr>
              </a:buClr>
              <a:tabLst>
                <a:tab pos="645523" algn="l"/>
              </a:tabLst>
              <a:defRPr sz="2353">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93" lvl="1">
              <a:lnSpc>
                <a:spcPct val="90000"/>
              </a:lnSpc>
              <a:spcAft>
                <a:spcPts val="600"/>
              </a:spcAft>
            </a:pPr>
            <a:r>
              <a:rPr lang="en-US" sz="2800" dirty="0" smtClean="0"/>
              <a:t>In iterative applications the same data is accessed repeatedly often in a sequence.</a:t>
            </a:r>
            <a:endParaRPr lang="en-US" sz="2800" dirty="0"/>
          </a:p>
          <a:p>
            <a:pPr marL="110493" lvl="1">
              <a:lnSpc>
                <a:spcPct val="90000"/>
              </a:lnSpc>
              <a:spcAft>
                <a:spcPts val="600"/>
              </a:spcAft>
            </a:pPr>
            <a:r>
              <a:rPr lang="en-US" sz="2800" dirty="0" smtClean="0"/>
              <a:t>Most machine learning algorithms and streaming applications (that maintain aggregate) state are iterative in nature.</a:t>
            </a:r>
          </a:p>
        </p:txBody>
      </p:sp>
      <p:sp>
        <p:nvSpPr>
          <p:cNvPr id="44" name="TextBox 43"/>
          <p:cNvSpPr txBox="1"/>
          <p:nvPr/>
        </p:nvSpPr>
        <p:spPr>
          <a:xfrm>
            <a:off x="4783153" y="6339711"/>
            <a:ext cx="6571234" cy="369332"/>
          </a:xfrm>
          <a:prstGeom prst="rect">
            <a:avLst/>
          </a:prstGeom>
          <a:ln>
            <a:solidFill>
              <a:schemeClr val="bg2">
                <a:lumMod val="90000"/>
              </a:schemeClr>
            </a:solidFill>
          </a:ln>
        </p:spPr>
        <p:txBody>
          <a:bodyPr wrap="square">
            <a:spAutoFit/>
          </a:bodyPr>
          <a:lstStyle>
            <a:defPPr>
              <a:defRPr lang="en-US"/>
            </a:defPPr>
            <a:lvl2pPr marL="110493" lvl="1" defTabSz="913770" fontAlgn="base">
              <a:lnSpc>
                <a:spcPct val="90000"/>
              </a:lnSpc>
              <a:spcBef>
                <a:spcPts val="588"/>
              </a:spcBef>
              <a:spcAft>
                <a:spcPts val="600"/>
              </a:spcAft>
              <a:buClr>
                <a:srgbClr val="68217A">
                  <a:lumMod val="50000"/>
                </a:srgbClr>
              </a:buClr>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r>
              <a:rPr lang="en-US" dirty="0" smtClean="0">
                <a:solidFill>
                  <a:schemeClr val="tx1">
                    <a:lumMod val="75000"/>
                    <a:lumOff val="25000"/>
                  </a:schemeClr>
                </a:solidFill>
              </a:rPr>
              <a:t>Logistic </a:t>
            </a:r>
            <a:r>
              <a:rPr lang="en-US" dirty="0">
                <a:solidFill>
                  <a:schemeClr val="tx1">
                    <a:lumMod val="75000"/>
                    <a:lumOff val="25000"/>
                  </a:schemeClr>
                </a:solidFill>
              </a:rPr>
              <a:t>regression on </a:t>
            </a:r>
            <a:r>
              <a:rPr lang="en-US" dirty="0" smtClean="0">
                <a:solidFill>
                  <a:schemeClr val="tx1">
                    <a:lumMod val="75000"/>
                    <a:lumOff val="25000"/>
                  </a:schemeClr>
                </a:solidFill>
              </a:rPr>
              <a:t>a 100-node cluster with 100 </a:t>
            </a:r>
            <a:r>
              <a:rPr lang="en-US" dirty="0">
                <a:solidFill>
                  <a:schemeClr val="tx1">
                    <a:lumMod val="75000"/>
                    <a:lumOff val="25000"/>
                  </a:schemeClr>
                </a:solidFill>
              </a:rPr>
              <a:t>GB of data</a:t>
            </a:r>
          </a:p>
        </p:txBody>
      </p:sp>
      <p:grpSp>
        <p:nvGrpSpPr>
          <p:cNvPr id="46" name="Group 45"/>
          <p:cNvGrpSpPr/>
          <p:nvPr/>
        </p:nvGrpSpPr>
        <p:grpSpPr>
          <a:xfrm>
            <a:off x="5775318" y="1418993"/>
            <a:ext cx="4595235" cy="4814077"/>
            <a:chOff x="3681892" y="1347762"/>
            <a:chExt cx="4595235" cy="4814077"/>
          </a:xfrm>
        </p:grpSpPr>
        <p:grpSp>
          <p:nvGrpSpPr>
            <p:cNvPr id="43" name="Group 42"/>
            <p:cNvGrpSpPr/>
            <p:nvPr/>
          </p:nvGrpSpPr>
          <p:grpSpPr>
            <a:xfrm>
              <a:off x="3927148" y="1347762"/>
              <a:ext cx="4349979" cy="4814077"/>
              <a:chOff x="1688908" y="1730229"/>
              <a:chExt cx="4349979" cy="4814077"/>
            </a:xfrm>
          </p:grpSpPr>
          <p:grpSp>
            <p:nvGrpSpPr>
              <p:cNvPr id="41" name="Group 40"/>
              <p:cNvGrpSpPr/>
              <p:nvPr/>
            </p:nvGrpSpPr>
            <p:grpSpPr>
              <a:xfrm>
                <a:off x="1688908" y="1730229"/>
                <a:ext cx="4111391" cy="4814077"/>
                <a:chOff x="1688908" y="1839413"/>
                <a:chExt cx="4111391" cy="4814077"/>
              </a:xfrm>
            </p:grpSpPr>
            <p:sp>
              <p:nvSpPr>
                <p:cNvPr id="34" name="TextBox 33"/>
                <p:cNvSpPr txBox="1"/>
                <p:nvPr/>
              </p:nvSpPr>
              <p:spPr>
                <a:xfrm>
                  <a:off x="2504368" y="6147558"/>
                  <a:ext cx="3118509" cy="505932"/>
                </a:xfrm>
                <a:prstGeom prst="rect">
                  <a:avLst/>
                </a:prstGeom>
                <a:noFill/>
              </p:spPr>
              <p:txBody>
                <a:bodyPr wrap="none" lIns="182880" tIns="146304" rIns="182880" bIns="146304" rtlCol="0">
                  <a:noAutofit/>
                </a:bodyPr>
                <a:lstStyle/>
                <a:p>
                  <a:pPr>
                    <a:lnSpc>
                      <a:spcPct val="90000"/>
                    </a:lnSpc>
                    <a:spcAft>
                      <a:spcPts val="600"/>
                    </a:spcAft>
                  </a:pPr>
                  <a:r>
                    <a:rPr lang="en-US" sz="2400" dirty="0" smtClean="0">
                      <a:solidFill>
                        <a:schemeClr val="tx1">
                          <a:lumMod val="75000"/>
                          <a:lumOff val="25000"/>
                        </a:schemeClr>
                      </a:solidFill>
                    </a:rPr>
                    <a:t>Logistic Regression</a:t>
                  </a:r>
                </a:p>
              </p:txBody>
            </p:sp>
            <p:grpSp>
              <p:nvGrpSpPr>
                <p:cNvPr id="39" name="Group 38"/>
                <p:cNvGrpSpPr/>
                <p:nvPr/>
              </p:nvGrpSpPr>
              <p:grpSpPr>
                <a:xfrm>
                  <a:off x="1688908" y="1839413"/>
                  <a:ext cx="4111391" cy="4637963"/>
                  <a:chOff x="3258400" y="1719618"/>
                  <a:chExt cx="4111391" cy="4637963"/>
                </a:xfrm>
              </p:grpSpPr>
              <p:cxnSp>
                <p:nvCxnSpPr>
                  <p:cNvPr id="10" name="Straight Connector 9"/>
                  <p:cNvCxnSpPr/>
                  <p:nvPr/>
                </p:nvCxnSpPr>
                <p:spPr>
                  <a:xfrm>
                    <a:off x="3944203" y="1719618"/>
                    <a:ext cx="0" cy="4285397"/>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a:off x="3944203" y="6005015"/>
                    <a:ext cx="3425588"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3944203" y="3687170"/>
                    <a:ext cx="3425588"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3944203" y="3129887"/>
                    <a:ext cx="3425588"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a:off x="3944203" y="4292221"/>
                    <a:ext cx="3425588"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a:off x="3944203" y="4881350"/>
                    <a:ext cx="3425588"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a:off x="3944203" y="5470477"/>
                    <a:ext cx="3425588"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a:off x="3944203" y="1965278"/>
                    <a:ext cx="3425588"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3944203" y="2577153"/>
                    <a:ext cx="3425588"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6" name="TextBox 25"/>
                  <p:cNvSpPr txBox="1"/>
                  <p:nvPr/>
                </p:nvSpPr>
                <p:spPr>
                  <a:xfrm>
                    <a:off x="3258400" y="1719618"/>
                    <a:ext cx="696036" cy="491319"/>
                  </a:xfrm>
                  <a:prstGeom prst="rect">
                    <a:avLst/>
                  </a:prstGeom>
                  <a:noFill/>
                </p:spPr>
                <p:txBody>
                  <a:bodyPr wrap="none" lIns="182880" tIns="146304" rIns="182880" bIns="146304" rtlCol="0">
                    <a:noAutofit/>
                  </a:bodyPr>
                  <a:lstStyle/>
                  <a:p>
                    <a:pPr>
                      <a:lnSpc>
                        <a:spcPct val="90000"/>
                      </a:lnSpc>
                      <a:spcAft>
                        <a:spcPts val="600"/>
                      </a:spcAft>
                    </a:pPr>
                    <a:r>
                      <a:rPr lang="en-US" dirty="0" smtClean="0">
                        <a:solidFill>
                          <a:schemeClr val="tx1">
                            <a:lumMod val="75000"/>
                            <a:lumOff val="25000"/>
                          </a:schemeClr>
                        </a:solidFill>
                      </a:rPr>
                      <a:t>140</a:t>
                    </a:r>
                  </a:p>
                </p:txBody>
              </p:sp>
              <p:sp>
                <p:nvSpPr>
                  <p:cNvPr id="27" name="TextBox 26"/>
                  <p:cNvSpPr txBox="1"/>
                  <p:nvPr/>
                </p:nvSpPr>
                <p:spPr>
                  <a:xfrm>
                    <a:off x="3258400" y="2349690"/>
                    <a:ext cx="696036" cy="491319"/>
                  </a:xfrm>
                  <a:prstGeom prst="rect">
                    <a:avLst/>
                  </a:prstGeom>
                  <a:noFill/>
                </p:spPr>
                <p:txBody>
                  <a:bodyPr wrap="none" lIns="182880" tIns="146304" rIns="182880" bIns="146304" rtlCol="0">
                    <a:noAutofit/>
                  </a:bodyPr>
                  <a:lstStyle/>
                  <a:p>
                    <a:pPr>
                      <a:lnSpc>
                        <a:spcPct val="90000"/>
                      </a:lnSpc>
                      <a:spcAft>
                        <a:spcPts val="600"/>
                      </a:spcAft>
                    </a:pPr>
                    <a:r>
                      <a:rPr lang="en-US" dirty="0" smtClean="0">
                        <a:solidFill>
                          <a:schemeClr val="tx1">
                            <a:lumMod val="75000"/>
                            <a:lumOff val="25000"/>
                          </a:schemeClr>
                        </a:solidFill>
                      </a:rPr>
                      <a:t>120</a:t>
                    </a:r>
                  </a:p>
                </p:txBody>
              </p:sp>
              <p:sp>
                <p:nvSpPr>
                  <p:cNvPr id="28" name="TextBox 27"/>
                  <p:cNvSpPr txBox="1"/>
                  <p:nvPr/>
                </p:nvSpPr>
                <p:spPr>
                  <a:xfrm>
                    <a:off x="3258400" y="2881952"/>
                    <a:ext cx="696036" cy="491319"/>
                  </a:xfrm>
                  <a:prstGeom prst="rect">
                    <a:avLst/>
                  </a:prstGeom>
                  <a:noFill/>
                </p:spPr>
                <p:txBody>
                  <a:bodyPr wrap="none" lIns="182880" tIns="146304" rIns="182880" bIns="146304" rtlCol="0">
                    <a:noAutofit/>
                  </a:bodyPr>
                  <a:lstStyle/>
                  <a:p>
                    <a:pPr>
                      <a:lnSpc>
                        <a:spcPct val="90000"/>
                      </a:lnSpc>
                      <a:spcAft>
                        <a:spcPts val="600"/>
                      </a:spcAft>
                    </a:pPr>
                    <a:r>
                      <a:rPr lang="en-US" dirty="0" smtClean="0">
                        <a:solidFill>
                          <a:schemeClr val="tx1">
                            <a:lumMod val="75000"/>
                            <a:lumOff val="25000"/>
                          </a:schemeClr>
                        </a:solidFill>
                      </a:rPr>
                      <a:t>100</a:t>
                    </a:r>
                  </a:p>
                </p:txBody>
              </p:sp>
              <p:sp>
                <p:nvSpPr>
                  <p:cNvPr id="29" name="TextBox 28"/>
                  <p:cNvSpPr txBox="1"/>
                  <p:nvPr/>
                </p:nvSpPr>
                <p:spPr>
                  <a:xfrm>
                    <a:off x="3357346" y="3402842"/>
                    <a:ext cx="696036" cy="491319"/>
                  </a:xfrm>
                  <a:prstGeom prst="rect">
                    <a:avLst/>
                  </a:prstGeom>
                  <a:noFill/>
                </p:spPr>
                <p:txBody>
                  <a:bodyPr wrap="none" lIns="182880" tIns="146304" rIns="182880" bIns="146304" rtlCol="0">
                    <a:noAutofit/>
                  </a:bodyPr>
                  <a:lstStyle/>
                  <a:p>
                    <a:pPr>
                      <a:lnSpc>
                        <a:spcPct val="90000"/>
                      </a:lnSpc>
                      <a:spcAft>
                        <a:spcPts val="600"/>
                      </a:spcAft>
                    </a:pPr>
                    <a:r>
                      <a:rPr lang="en-US" dirty="0">
                        <a:solidFill>
                          <a:schemeClr val="tx1">
                            <a:lumMod val="75000"/>
                            <a:lumOff val="25000"/>
                          </a:schemeClr>
                        </a:solidFill>
                      </a:rPr>
                      <a:t>8</a:t>
                    </a:r>
                    <a:r>
                      <a:rPr lang="en-US" dirty="0" smtClean="0">
                        <a:solidFill>
                          <a:schemeClr val="tx1">
                            <a:lumMod val="75000"/>
                            <a:lumOff val="25000"/>
                          </a:schemeClr>
                        </a:solidFill>
                      </a:rPr>
                      <a:t>0</a:t>
                    </a:r>
                  </a:p>
                </p:txBody>
              </p:sp>
              <p:sp>
                <p:nvSpPr>
                  <p:cNvPr id="30" name="TextBox 29"/>
                  <p:cNvSpPr txBox="1"/>
                  <p:nvPr/>
                </p:nvSpPr>
                <p:spPr>
                  <a:xfrm>
                    <a:off x="3357346" y="4651612"/>
                    <a:ext cx="696036" cy="491319"/>
                  </a:xfrm>
                  <a:prstGeom prst="rect">
                    <a:avLst/>
                  </a:prstGeom>
                  <a:noFill/>
                </p:spPr>
                <p:txBody>
                  <a:bodyPr wrap="none" lIns="182880" tIns="146304" rIns="182880" bIns="146304" rtlCol="0">
                    <a:noAutofit/>
                  </a:bodyPr>
                  <a:lstStyle/>
                  <a:p>
                    <a:pPr>
                      <a:lnSpc>
                        <a:spcPct val="90000"/>
                      </a:lnSpc>
                      <a:spcAft>
                        <a:spcPts val="600"/>
                      </a:spcAft>
                    </a:pPr>
                    <a:r>
                      <a:rPr lang="en-US" dirty="0">
                        <a:solidFill>
                          <a:schemeClr val="tx1">
                            <a:lumMod val="75000"/>
                            <a:lumOff val="25000"/>
                          </a:schemeClr>
                        </a:solidFill>
                      </a:rPr>
                      <a:t>4</a:t>
                    </a:r>
                    <a:r>
                      <a:rPr lang="en-US" dirty="0" smtClean="0">
                        <a:solidFill>
                          <a:schemeClr val="tx1">
                            <a:lumMod val="75000"/>
                            <a:lumOff val="25000"/>
                          </a:schemeClr>
                        </a:solidFill>
                      </a:rPr>
                      <a:t>0</a:t>
                    </a:r>
                  </a:p>
                </p:txBody>
              </p:sp>
              <p:sp>
                <p:nvSpPr>
                  <p:cNvPr id="31" name="TextBox 30"/>
                  <p:cNvSpPr txBox="1"/>
                  <p:nvPr/>
                </p:nvSpPr>
                <p:spPr>
                  <a:xfrm>
                    <a:off x="3357346" y="5186149"/>
                    <a:ext cx="696036" cy="491319"/>
                  </a:xfrm>
                  <a:prstGeom prst="rect">
                    <a:avLst/>
                  </a:prstGeom>
                  <a:noFill/>
                </p:spPr>
                <p:txBody>
                  <a:bodyPr wrap="none" lIns="182880" tIns="146304" rIns="182880" bIns="146304" rtlCol="0">
                    <a:noAutofit/>
                  </a:bodyPr>
                  <a:lstStyle/>
                  <a:p>
                    <a:pPr>
                      <a:lnSpc>
                        <a:spcPct val="90000"/>
                      </a:lnSpc>
                      <a:spcAft>
                        <a:spcPts val="600"/>
                      </a:spcAft>
                    </a:pPr>
                    <a:r>
                      <a:rPr lang="en-US" dirty="0">
                        <a:solidFill>
                          <a:schemeClr val="tx1">
                            <a:lumMod val="75000"/>
                            <a:lumOff val="25000"/>
                          </a:schemeClr>
                        </a:solidFill>
                      </a:rPr>
                      <a:t>2</a:t>
                    </a:r>
                    <a:r>
                      <a:rPr lang="en-US" dirty="0" smtClean="0">
                        <a:solidFill>
                          <a:schemeClr val="tx1">
                            <a:lumMod val="75000"/>
                            <a:lumOff val="25000"/>
                          </a:schemeClr>
                        </a:solidFill>
                      </a:rPr>
                      <a:t>0</a:t>
                    </a:r>
                  </a:p>
                </p:txBody>
              </p:sp>
              <p:sp>
                <p:nvSpPr>
                  <p:cNvPr id="32" name="TextBox 31"/>
                  <p:cNvSpPr txBox="1"/>
                  <p:nvPr/>
                </p:nvSpPr>
                <p:spPr>
                  <a:xfrm>
                    <a:off x="3500643" y="5727511"/>
                    <a:ext cx="498143" cy="491319"/>
                  </a:xfrm>
                  <a:prstGeom prst="rect">
                    <a:avLst/>
                  </a:prstGeom>
                  <a:noFill/>
                </p:spPr>
                <p:txBody>
                  <a:bodyPr wrap="none" lIns="182880" tIns="146304" rIns="182880" bIns="146304" rtlCol="0">
                    <a:noAutofit/>
                  </a:bodyPr>
                  <a:lstStyle/>
                  <a:p>
                    <a:pPr>
                      <a:lnSpc>
                        <a:spcPct val="90000"/>
                      </a:lnSpc>
                      <a:spcAft>
                        <a:spcPts val="600"/>
                      </a:spcAft>
                    </a:pPr>
                    <a:r>
                      <a:rPr lang="en-US" dirty="0" smtClean="0">
                        <a:solidFill>
                          <a:schemeClr val="tx1">
                            <a:lumMod val="75000"/>
                            <a:lumOff val="25000"/>
                          </a:schemeClr>
                        </a:solidFill>
                      </a:rPr>
                      <a:t>0</a:t>
                    </a:r>
                  </a:p>
                </p:txBody>
              </p:sp>
              <p:sp>
                <p:nvSpPr>
                  <p:cNvPr id="33" name="TextBox 32"/>
                  <p:cNvSpPr txBox="1"/>
                  <p:nvPr/>
                </p:nvSpPr>
                <p:spPr>
                  <a:xfrm>
                    <a:off x="3357346" y="4046564"/>
                    <a:ext cx="696036" cy="491319"/>
                  </a:xfrm>
                  <a:prstGeom prst="rect">
                    <a:avLst/>
                  </a:prstGeom>
                  <a:noFill/>
                </p:spPr>
                <p:txBody>
                  <a:bodyPr wrap="none" lIns="182880" tIns="146304" rIns="182880" bIns="146304" rtlCol="0">
                    <a:noAutofit/>
                  </a:bodyPr>
                  <a:lstStyle/>
                  <a:p>
                    <a:pPr>
                      <a:lnSpc>
                        <a:spcPct val="90000"/>
                      </a:lnSpc>
                      <a:spcAft>
                        <a:spcPts val="600"/>
                      </a:spcAft>
                    </a:pPr>
                    <a:r>
                      <a:rPr lang="en-US" dirty="0" smtClean="0">
                        <a:solidFill>
                          <a:schemeClr val="tx1">
                            <a:lumMod val="75000"/>
                            <a:lumOff val="25000"/>
                          </a:schemeClr>
                        </a:solidFill>
                      </a:rPr>
                      <a:t>60</a:t>
                    </a:r>
                  </a:p>
                </p:txBody>
              </p:sp>
              <p:sp>
                <p:nvSpPr>
                  <p:cNvPr id="35" name="Rectangle 34"/>
                  <p:cNvSpPr/>
                  <p:nvPr/>
                </p:nvSpPr>
                <p:spPr bwMode="auto">
                  <a:xfrm>
                    <a:off x="4544704" y="2804617"/>
                    <a:ext cx="818866" cy="320039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smtClean="0">
                      <a:solidFill>
                        <a:schemeClr val="bg1"/>
                      </a:solidFill>
                      <a:latin typeface="+mj-lt"/>
                      <a:ea typeface="Segoe UI" pitchFamily="34" charset="0"/>
                      <a:cs typeface="Segoe UI" pitchFamily="34" charset="0"/>
                    </a:endParaRPr>
                  </a:p>
                </p:txBody>
              </p:sp>
              <p:sp>
                <p:nvSpPr>
                  <p:cNvPr id="36" name="Rectangle 35"/>
                  <p:cNvSpPr/>
                  <p:nvPr/>
                </p:nvSpPr>
                <p:spPr bwMode="auto">
                  <a:xfrm>
                    <a:off x="6114197" y="5945875"/>
                    <a:ext cx="941696" cy="5914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smtClean="0">
                      <a:solidFill>
                        <a:schemeClr val="bg1"/>
                      </a:solidFill>
                      <a:latin typeface="+mj-lt"/>
                      <a:ea typeface="Segoe UI" pitchFamily="34" charset="0"/>
                      <a:cs typeface="Segoe UI" pitchFamily="34" charset="0"/>
                    </a:endParaRPr>
                  </a:p>
                </p:txBody>
              </p:sp>
              <p:sp>
                <p:nvSpPr>
                  <p:cNvPr id="37" name="TextBox 36"/>
                  <p:cNvSpPr txBox="1"/>
                  <p:nvPr/>
                </p:nvSpPr>
                <p:spPr>
                  <a:xfrm>
                    <a:off x="4258108" y="2292650"/>
                    <a:ext cx="1375006" cy="485985"/>
                  </a:xfrm>
                  <a:prstGeom prst="rect">
                    <a:avLst/>
                  </a:prstGeom>
                  <a:solidFill>
                    <a:schemeClr val="bg1"/>
                  </a:solidFill>
                </p:spPr>
                <p:txBody>
                  <a:bodyPr wrap="none" lIns="182880" tIns="146304" rIns="182880" bIns="146304" rtlCol="0">
                    <a:noAutofit/>
                  </a:bodyPr>
                  <a:lstStyle/>
                  <a:p>
                    <a:pPr>
                      <a:lnSpc>
                        <a:spcPct val="90000"/>
                      </a:lnSpc>
                      <a:spcAft>
                        <a:spcPts val="600"/>
                      </a:spcAft>
                    </a:pPr>
                    <a:r>
                      <a:rPr lang="en-US" sz="2400" dirty="0" smtClean="0">
                        <a:solidFill>
                          <a:schemeClr val="tx1">
                            <a:lumMod val="75000"/>
                            <a:lumOff val="25000"/>
                          </a:schemeClr>
                        </a:solidFill>
                      </a:rPr>
                      <a:t>Hadoop</a:t>
                    </a:r>
                  </a:p>
                </p:txBody>
              </p:sp>
              <p:sp>
                <p:nvSpPr>
                  <p:cNvPr id="38" name="TextBox 37"/>
                  <p:cNvSpPr txBox="1"/>
                  <p:nvPr/>
                </p:nvSpPr>
                <p:spPr>
                  <a:xfrm>
                    <a:off x="6059605" y="5443181"/>
                    <a:ext cx="914400" cy="914400"/>
                  </a:xfrm>
                  <a:prstGeom prst="rect">
                    <a:avLst/>
                  </a:prstGeom>
                  <a:noFill/>
                </p:spPr>
                <p:txBody>
                  <a:bodyPr wrap="none" lIns="182880" tIns="146304" rIns="182880" bIns="146304" rtlCol="0">
                    <a:noAutofit/>
                  </a:bodyPr>
                  <a:lstStyle/>
                  <a:p>
                    <a:pPr>
                      <a:lnSpc>
                        <a:spcPct val="90000"/>
                      </a:lnSpc>
                      <a:spcAft>
                        <a:spcPts val="600"/>
                      </a:spcAft>
                    </a:pPr>
                    <a:r>
                      <a:rPr lang="en-US" sz="2400" dirty="0" smtClean="0">
                        <a:solidFill>
                          <a:schemeClr val="tx1">
                            <a:lumMod val="75000"/>
                            <a:lumOff val="25000"/>
                          </a:schemeClr>
                        </a:solidFill>
                      </a:rPr>
                      <a:t>Spark </a:t>
                    </a:r>
                  </a:p>
                </p:txBody>
              </p:sp>
            </p:grpSp>
          </p:grpSp>
          <p:sp>
            <p:nvSpPr>
              <p:cNvPr id="42" name="TextBox 41"/>
              <p:cNvSpPr txBox="1"/>
              <p:nvPr/>
            </p:nvSpPr>
            <p:spPr>
              <a:xfrm>
                <a:off x="5357014" y="5635033"/>
                <a:ext cx="681873" cy="481256"/>
              </a:xfrm>
              <a:prstGeom prst="rect">
                <a:avLst/>
              </a:prstGeom>
              <a:noFill/>
            </p:spPr>
            <p:txBody>
              <a:bodyPr wrap="none" lIns="182880" tIns="146304" rIns="182880" bIns="146304" rtlCol="0">
                <a:noAutofit/>
              </a:bodyPr>
              <a:lstStyle/>
              <a:p>
                <a:pPr>
                  <a:lnSpc>
                    <a:spcPct val="90000"/>
                  </a:lnSpc>
                  <a:spcAft>
                    <a:spcPts val="600"/>
                  </a:spcAft>
                </a:pPr>
                <a:r>
                  <a:rPr lang="en-US" sz="2000" dirty="0" smtClean="0">
                    <a:solidFill>
                      <a:schemeClr val="tx1">
                        <a:lumMod val="75000"/>
                        <a:lumOff val="25000"/>
                      </a:schemeClr>
                    </a:solidFill>
                  </a:rPr>
                  <a:t>0.9</a:t>
                </a:r>
              </a:p>
            </p:txBody>
          </p:sp>
        </p:grpSp>
        <p:sp>
          <p:nvSpPr>
            <p:cNvPr id="45" name="TextBox 44"/>
            <p:cNvSpPr txBox="1"/>
            <p:nvPr/>
          </p:nvSpPr>
          <p:spPr>
            <a:xfrm rot="16200000">
              <a:off x="2398118" y="3309938"/>
              <a:ext cx="2992280" cy="424732"/>
            </a:xfrm>
            <a:prstGeom prst="rect">
              <a:avLst/>
            </a:prstGeom>
          </p:spPr>
          <p:txBody>
            <a:bodyPr wrap="square">
              <a:spAutoFit/>
            </a:bodyPr>
            <a:lstStyle>
              <a:defPPr>
                <a:defRPr lang="en-US"/>
              </a:defPPr>
              <a:lvl2pPr marL="52912" lvl="1" defTabSz="913770" fontAlgn="base">
                <a:spcBef>
                  <a:spcPts val="588"/>
                </a:spcBef>
                <a:spcAft>
                  <a:spcPts val="588"/>
                </a:spcAft>
                <a:buClr>
                  <a:srgbClr val="68217A">
                    <a:lumMod val="50000"/>
                  </a:srgbClr>
                </a:buClr>
                <a:tabLst>
                  <a:tab pos="645523" algn="l"/>
                </a:tabLst>
                <a:defRPr sz="2353">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93" lvl="1">
                <a:lnSpc>
                  <a:spcPct val="90000"/>
                </a:lnSpc>
                <a:spcAft>
                  <a:spcPts val="600"/>
                </a:spcAft>
              </a:pPr>
              <a:r>
                <a:rPr lang="en-US" sz="2400" dirty="0" smtClean="0"/>
                <a:t>Running Time(s)</a:t>
              </a:r>
            </a:p>
          </p:txBody>
        </p:sp>
      </p:grpSp>
    </p:spTree>
    <p:extLst>
      <p:ext uri="{BB962C8B-B14F-4D97-AF65-F5344CB8AC3E}">
        <p14:creationId xmlns:p14="http://schemas.microsoft.com/office/powerpoint/2010/main" val="1164925155"/>
      </p:ext>
    </p:extLst>
  </p:cSld>
  <p:clrMapOvr>
    <a:masterClrMapping/>
  </p:clrMapOvr>
  <p:transition spd="med">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at makes Spark fast?</a:t>
            </a:r>
            <a:endParaRPr lang="en-US" dirty="0"/>
          </a:p>
        </p:txBody>
      </p:sp>
      <p:sp>
        <p:nvSpPr>
          <p:cNvPr id="3" name="Slide Number Placeholder 2"/>
          <p:cNvSpPr>
            <a:spLocks noGrp="1"/>
          </p:cNvSpPr>
          <p:nvPr>
            <p:ph type="sldNum" sz="quarter" idx="11"/>
          </p:nvPr>
        </p:nvSpPr>
        <p:spPr/>
        <p:txBody>
          <a:bodyPr/>
          <a:lstStyle/>
          <a:p>
            <a:pPr>
              <a:defRPr/>
            </a:pPr>
            <a:fld id="{F8A0AC42-AA1D-4944-8D96-660DE70C7E1B}" type="slidenum">
              <a:rPr lang="en-US" smtClean="0"/>
              <a:pPr>
                <a:defRPr/>
              </a:pPr>
              <a:t>11</a:t>
            </a:fld>
            <a:endParaRPr lang="en-US" dirty="0"/>
          </a:p>
        </p:txBody>
      </p:sp>
      <p:sp>
        <p:nvSpPr>
          <p:cNvPr id="4" name="TextBox 3"/>
          <p:cNvSpPr txBox="1"/>
          <p:nvPr/>
        </p:nvSpPr>
        <p:spPr>
          <a:xfrm>
            <a:off x="417300" y="1214321"/>
            <a:ext cx="11227663" cy="2339102"/>
          </a:xfrm>
          <a:prstGeom prst="rect">
            <a:avLst/>
          </a:prstGeom>
        </p:spPr>
        <p:txBody>
          <a:bodyPr wrap="square">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2"/>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lvl="1"/>
            <a:r>
              <a:rPr lang="en-US" sz="2000" dirty="0" smtClean="0"/>
              <a:t>Spark provides </a:t>
            </a:r>
            <a:r>
              <a:rPr lang="en-US" sz="2000" dirty="0"/>
              <a:t>primitives for </a:t>
            </a:r>
            <a:r>
              <a:rPr lang="en-US" sz="2000" i="1" dirty="0"/>
              <a:t>in-memory</a:t>
            </a:r>
            <a:r>
              <a:rPr lang="en-US" sz="2000" dirty="0"/>
              <a:t> cluster </a:t>
            </a:r>
            <a:r>
              <a:rPr lang="en-US" sz="2000" dirty="0" smtClean="0"/>
              <a:t>computing. A Spark </a:t>
            </a:r>
            <a:r>
              <a:rPr lang="en-US" sz="2000" dirty="0"/>
              <a:t>job can </a:t>
            </a:r>
            <a:r>
              <a:rPr lang="en-US" sz="2000" i="1" dirty="0"/>
              <a:t>load </a:t>
            </a:r>
            <a:r>
              <a:rPr lang="en-US" sz="2000" i="1" dirty="0" smtClean="0"/>
              <a:t>and cache </a:t>
            </a:r>
            <a:r>
              <a:rPr lang="en-US" sz="2000" dirty="0" smtClean="0"/>
              <a:t>data </a:t>
            </a:r>
            <a:r>
              <a:rPr lang="en-US" sz="2000" dirty="0"/>
              <a:t>into memory and query it </a:t>
            </a:r>
            <a:r>
              <a:rPr lang="en-US" sz="2000" dirty="0" smtClean="0"/>
              <a:t>repeatedly (iteratively) much quicker than disk-based systems.</a:t>
            </a:r>
          </a:p>
          <a:p>
            <a:pPr lvl="1"/>
            <a:r>
              <a:rPr lang="en-US" sz="2000" dirty="0"/>
              <a:t>Spark integrates into the </a:t>
            </a:r>
            <a:r>
              <a:rPr lang="en-US" sz="2000" dirty="0">
                <a:hlinkClick r:id="rId3"/>
              </a:rPr>
              <a:t>Scala</a:t>
            </a:r>
            <a:r>
              <a:rPr lang="en-US" sz="2000" dirty="0"/>
              <a:t> programming language, letting you manipulate distributed datasets like local collections</a:t>
            </a:r>
            <a:r>
              <a:rPr lang="en-US" sz="2000" dirty="0" smtClean="0"/>
              <a:t>. No need to structure everything as map and reduce operations</a:t>
            </a:r>
            <a:endParaRPr lang="en-US" sz="2000" dirty="0"/>
          </a:p>
          <a:p>
            <a:pPr lvl="1">
              <a:spcAft>
                <a:spcPts val="0"/>
              </a:spcAft>
            </a:pPr>
            <a:r>
              <a:rPr lang="en-US" sz="2000" i="1" dirty="0" smtClean="0">
                <a:solidFill>
                  <a:schemeClr val="tx1">
                    <a:lumMod val="75000"/>
                    <a:lumOff val="25000"/>
                  </a:schemeClr>
                </a:solidFill>
              </a:rPr>
              <a:t>Data-sharing</a:t>
            </a:r>
            <a:r>
              <a:rPr lang="en-US" sz="2000" dirty="0" smtClean="0">
                <a:solidFill>
                  <a:schemeClr val="tx1">
                    <a:lumMod val="75000"/>
                    <a:lumOff val="25000"/>
                  </a:schemeClr>
                </a:solidFill>
              </a:rPr>
              <a:t> between operations is faster as data is in-memory:</a:t>
            </a:r>
          </a:p>
          <a:p>
            <a:pPr marL="1085850" lvl="2" indent="-171450">
              <a:buFont typeface="Arial" panose="020B0604020202020204" pitchFamily="34" charset="0"/>
              <a:buChar char="•"/>
            </a:pPr>
            <a:r>
              <a:rPr lang="en-US" dirty="0">
                <a:ln>
                  <a:solidFill>
                    <a:srgbClr val="FFFFFF">
                      <a:alpha val="0"/>
                    </a:srgbClr>
                  </a:solidFill>
                </a:ln>
                <a:gradFill>
                  <a:gsLst>
                    <a:gs pos="85321">
                      <a:srgbClr val="505050"/>
                    </a:gs>
                    <a:gs pos="57000">
                      <a:srgbClr val="505050"/>
                    </a:gs>
                  </a:gsLst>
                </a:gradFill>
                <a:ea typeface="Segoe UI" pitchFamily="34" charset="0"/>
                <a:cs typeface="Segoe UI" pitchFamily="34" charset="0"/>
              </a:rPr>
              <a:t>In Hadoop data is shared through HDFS which is expensive. HDFS maintains three replicas. </a:t>
            </a:r>
          </a:p>
          <a:p>
            <a:pPr marL="1085850" lvl="2" indent="-171450">
              <a:buFont typeface="Arial" panose="020B0604020202020204" pitchFamily="34" charset="0"/>
              <a:buChar char="•"/>
            </a:pPr>
            <a:r>
              <a:rPr lang="en-US" dirty="0">
                <a:ln>
                  <a:solidFill>
                    <a:srgbClr val="FFFFFF">
                      <a:alpha val="0"/>
                    </a:srgbClr>
                  </a:solidFill>
                </a:ln>
                <a:gradFill>
                  <a:gsLst>
                    <a:gs pos="85321">
                      <a:srgbClr val="505050"/>
                    </a:gs>
                    <a:gs pos="57000">
                      <a:srgbClr val="505050"/>
                    </a:gs>
                  </a:gsLst>
                </a:gradFill>
                <a:ea typeface="Segoe UI" pitchFamily="34" charset="0"/>
                <a:cs typeface="Segoe UI" pitchFamily="34" charset="0"/>
              </a:rPr>
              <a:t>Spark stores data in-memory </a:t>
            </a:r>
            <a:r>
              <a:rPr lang="en-US" i="1" dirty="0">
                <a:ln>
                  <a:solidFill>
                    <a:srgbClr val="FFFFFF">
                      <a:alpha val="0"/>
                    </a:srgbClr>
                  </a:solidFill>
                </a:ln>
                <a:gradFill>
                  <a:gsLst>
                    <a:gs pos="85321">
                      <a:srgbClr val="505050"/>
                    </a:gs>
                    <a:gs pos="57000">
                      <a:srgbClr val="505050"/>
                    </a:gs>
                  </a:gsLst>
                </a:gradFill>
                <a:ea typeface="Segoe UI" pitchFamily="34" charset="0"/>
                <a:cs typeface="Segoe UI" pitchFamily="34" charset="0"/>
              </a:rPr>
              <a:t>without any replication</a:t>
            </a:r>
            <a:r>
              <a:rPr lang="en-US" dirty="0">
                <a:ln>
                  <a:solidFill>
                    <a:srgbClr val="FFFFFF">
                      <a:alpha val="0"/>
                    </a:srgbClr>
                  </a:solidFill>
                </a:ln>
                <a:gradFill>
                  <a:gsLst>
                    <a:gs pos="85321">
                      <a:srgbClr val="505050"/>
                    </a:gs>
                    <a:gs pos="57000">
                      <a:srgbClr val="505050"/>
                    </a:gs>
                  </a:gsLst>
                </a:gradFill>
                <a:ea typeface="Segoe UI" pitchFamily="34" charset="0"/>
                <a:cs typeface="Segoe UI" pitchFamily="34" charset="0"/>
              </a:rPr>
              <a:t>. </a:t>
            </a:r>
          </a:p>
        </p:txBody>
      </p:sp>
      <p:grpSp>
        <p:nvGrpSpPr>
          <p:cNvPr id="75" name="Group 74"/>
          <p:cNvGrpSpPr/>
          <p:nvPr/>
        </p:nvGrpSpPr>
        <p:grpSpPr>
          <a:xfrm>
            <a:off x="926290" y="3613063"/>
            <a:ext cx="10445548" cy="2682180"/>
            <a:chOff x="1199415" y="3684313"/>
            <a:chExt cx="10445548" cy="2682180"/>
          </a:xfrm>
        </p:grpSpPr>
        <p:sp>
          <p:nvSpPr>
            <p:cNvPr id="74" name="Rectangle 73"/>
            <p:cNvSpPr/>
            <p:nvPr/>
          </p:nvSpPr>
          <p:spPr bwMode="auto">
            <a:xfrm>
              <a:off x="1199415" y="4067211"/>
              <a:ext cx="10445548" cy="2299282"/>
            </a:xfrm>
            <a:prstGeom prst="rect">
              <a:avLst/>
            </a:prstGeom>
            <a:solidFill>
              <a:schemeClr val="bg1"/>
            </a:solidFill>
            <a:ln>
              <a:solidFill>
                <a:schemeClr val="tx2">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smtClean="0">
                <a:solidFill>
                  <a:schemeClr val="bg1"/>
                </a:solidFill>
                <a:latin typeface="+mj-lt"/>
                <a:ea typeface="Segoe UI" pitchFamily="34" charset="0"/>
                <a:cs typeface="Segoe UI" pitchFamily="34" charset="0"/>
              </a:endParaRPr>
            </a:p>
          </p:txBody>
        </p:sp>
        <p:sp>
          <p:nvSpPr>
            <p:cNvPr id="5" name="Flowchart: Magnetic Disk 4"/>
            <p:cNvSpPr/>
            <p:nvPr/>
          </p:nvSpPr>
          <p:spPr bwMode="auto">
            <a:xfrm>
              <a:off x="3518000" y="4390324"/>
              <a:ext cx="620961" cy="411271"/>
            </a:xfrm>
            <a:prstGeom prst="flowChartMagneticDisk">
              <a:avLst/>
            </a:prstGeom>
            <a:solidFill>
              <a:schemeClr val="accent1"/>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dirty="0" smtClean="0">
                <a:solidFill>
                  <a:schemeClr val="bg1"/>
                </a:solidFill>
                <a:ea typeface="Segoe UI" pitchFamily="34" charset="0"/>
                <a:cs typeface="Segoe UI" pitchFamily="34" charset="0"/>
              </a:endParaRPr>
            </a:p>
          </p:txBody>
        </p:sp>
        <p:sp>
          <p:nvSpPr>
            <p:cNvPr id="6" name="Flowchart: Magnetic Disk 5"/>
            <p:cNvSpPr/>
            <p:nvPr/>
          </p:nvSpPr>
          <p:spPr bwMode="auto">
            <a:xfrm>
              <a:off x="6571824" y="4390324"/>
              <a:ext cx="620961" cy="411271"/>
            </a:xfrm>
            <a:prstGeom prst="flowChartMagneticDisk">
              <a:avLst/>
            </a:prstGeom>
            <a:solidFill>
              <a:schemeClr val="accent1"/>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dirty="0" smtClean="0">
                <a:solidFill>
                  <a:schemeClr val="bg1"/>
                </a:solidFill>
                <a:ea typeface="Segoe UI" pitchFamily="34" charset="0"/>
                <a:cs typeface="Segoe UI" pitchFamily="34" charset="0"/>
              </a:endParaRPr>
            </a:p>
          </p:txBody>
        </p:sp>
        <p:sp>
          <p:nvSpPr>
            <p:cNvPr id="7" name="Flowchart: Magnetic Disk 6"/>
            <p:cNvSpPr/>
            <p:nvPr/>
          </p:nvSpPr>
          <p:spPr bwMode="auto">
            <a:xfrm>
              <a:off x="9906758" y="4421996"/>
              <a:ext cx="620961" cy="411271"/>
            </a:xfrm>
            <a:prstGeom prst="flowChartMagneticDisk">
              <a:avLst/>
            </a:prstGeom>
            <a:solidFill>
              <a:schemeClr val="accent1"/>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dirty="0" smtClean="0">
                <a:solidFill>
                  <a:schemeClr val="bg1"/>
                </a:solidFill>
                <a:ea typeface="Segoe UI" pitchFamily="34" charset="0"/>
                <a:cs typeface="Segoe UI" pitchFamily="34" charset="0"/>
              </a:endParaRPr>
            </a:p>
          </p:txBody>
        </p:sp>
        <p:sp>
          <p:nvSpPr>
            <p:cNvPr id="9" name="Rectangle 8"/>
            <p:cNvSpPr/>
            <p:nvPr/>
          </p:nvSpPr>
          <p:spPr bwMode="auto">
            <a:xfrm>
              <a:off x="4930623" y="4492836"/>
              <a:ext cx="819398" cy="30875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smtClean="0">
                <a:solidFill>
                  <a:schemeClr val="bg1"/>
                </a:solidFill>
                <a:latin typeface="+mj-lt"/>
                <a:ea typeface="Segoe UI" pitchFamily="34" charset="0"/>
                <a:cs typeface="Segoe UI" pitchFamily="34" charset="0"/>
              </a:endParaRPr>
            </a:p>
          </p:txBody>
        </p:sp>
        <p:sp>
          <p:nvSpPr>
            <p:cNvPr id="10" name="Rectangle 9"/>
            <p:cNvSpPr/>
            <p:nvPr/>
          </p:nvSpPr>
          <p:spPr bwMode="auto">
            <a:xfrm>
              <a:off x="8039358" y="4492836"/>
              <a:ext cx="819398" cy="30875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smtClean="0">
                <a:solidFill>
                  <a:schemeClr val="bg1"/>
                </a:solidFill>
                <a:latin typeface="+mj-lt"/>
                <a:ea typeface="Segoe UI" pitchFamily="34" charset="0"/>
                <a:cs typeface="Segoe UI" pitchFamily="34" charset="0"/>
              </a:endParaRPr>
            </a:p>
          </p:txBody>
        </p:sp>
        <p:cxnSp>
          <p:nvCxnSpPr>
            <p:cNvPr id="13" name="Straight Arrow Connector 12"/>
            <p:cNvCxnSpPr/>
            <p:nvPr/>
          </p:nvCxnSpPr>
          <p:spPr>
            <a:xfrm flipV="1">
              <a:off x="4284742" y="4621587"/>
              <a:ext cx="539911" cy="1"/>
            </a:xfrm>
            <a:prstGeom prst="straightConnector1">
              <a:avLst/>
            </a:prstGeom>
            <a:ln w="38100">
              <a:solidFill>
                <a:schemeClr val="tx1">
                  <a:lumMod val="65000"/>
                  <a:lumOff val="35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p:cNvCxnSpPr/>
            <p:nvPr/>
          </p:nvCxnSpPr>
          <p:spPr>
            <a:xfrm flipV="1">
              <a:off x="7392367" y="4621587"/>
              <a:ext cx="539911" cy="1"/>
            </a:xfrm>
            <a:prstGeom prst="straightConnector1">
              <a:avLst/>
            </a:prstGeom>
            <a:ln w="38100">
              <a:solidFill>
                <a:schemeClr val="tx1">
                  <a:lumMod val="65000"/>
                  <a:lumOff val="35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p:cNvCxnSpPr/>
            <p:nvPr/>
          </p:nvCxnSpPr>
          <p:spPr>
            <a:xfrm flipV="1">
              <a:off x="9085737" y="4617778"/>
              <a:ext cx="539911" cy="1"/>
            </a:xfrm>
            <a:prstGeom prst="straightConnector1">
              <a:avLst/>
            </a:prstGeom>
            <a:ln w="38100">
              <a:solidFill>
                <a:schemeClr val="tx1">
                  <a:lumMod val="65000"/>
                  <a:lumOff val="35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p:nvPr/>
          </p:nvCxnSpPr>
          <p:spPr>
            <a:xfrm flipV="1">
              <a:off x="10702775" y="4651179"/>
              <a:ext cx="539911" cy="1"/>
            </a:xfrm>
            <a:prstGeom prst="straightConnector1">
              <a:avLst/>
            </a:prstGeom>
            <a:ln w="38100">
              <a:solidFill>
                <a:schemeClr val="tx1">
                  <a:lumMod val="65000"/>
                  <a:lumOff val="35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p:cNvCxnSpPr/>
            <p:nvPr/>
          </p:nvCxnSpPr>
          <p:spPr>
            <a:xfrm flipV="1">
              <a:off x="5838138" y="4625551"/>
              <a:ext cx="539911" cy="1"/>
            </a:xfrm>
            <a:prstGeom prst="straightConnector1">
              <a:avLst/>
            </a:prstGeom>
            <a:ln w="38100">
              <a:solidFill>
                <a:schemeClr val="tx1">
                  <a:lumMod val="65000"/>
                  <a:lumOff val="35000"/>
                </a:schemeClr>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9" name="TextBox 18"/>
            <p:cNvSpPr txBox="1"/>
            <p:nvPr/>
          </p:nvSpPr>
          <p:spPr>
            <a:xfrm>
              <a:off x="3840672" y="4057310"/>
              <a:ext cx="1428050" cy="366661"/>
            </a:xfrm>
            <a:prstGeom prst="rect">
              <a:avLst/>
            </a:prstGeom>
            <a:noFill/>
          </p:spPr>
          <p:txBody>
            <a:bodyPr wrap="none" lIns="182880" tIns="146304" rIns="182880" bIns="146304" rtlCol="0">
              <a:noAutofit/>
            </a:bodyPr>
            <a:lstStyle/>
            <a:p>
              <a:pPr algn="ctr">
                <a:lnSpc>
                  <a:spcPct val="90000"/>
                </a:lnSpc>
                <a:spcAft>
                  <a:spcPts val="600"/>
                </a:spcAft>
              </a:pPr>
              <a:r>
                <a:rPr lang="en-US" sz="1200" dirty="0" smtClean="0">
                  <a:solidFill>
                    <a:schemeClr val="tx1">
                      <a:lumMod val="75000"/>
                      <a:lumOff val="25000"/>
                    </a:schemeClr>
                  </a:solidFill>
                </a:rPr>
                <a:t>Read from</a:t>
              </a:r>
              <a:br>
                <a:rPr lang="en-US" sz="1200" dirty="0" smtClean="0">
                  <a:solidFill>
                    <a:schemeClr val="tx1">
                      <a:lumMod val="75000"/>
                      <a:lumOff val="25000"/>
                    </a:schemeClr>
                  </a:solidFill>
                </a:rPr>
              </a:br>
              <a:r>
                <a:rPr lang="en-US" sz="1200" dirty="0" smtClean="0">
                  <a:solidFill>
                    <a:schemeClr val="tx1">
                      <a:lumMod val="75000"/>
                      <a:lumOff val="25000"/>
                    </a:schemeClr>
                  </a:solidFill>
                </a:rPr>
                <a:t>HDFS</a:t>
              </a:r>
            </a:p>
          </p:txBody>
        </p:sp>
        <p:sp>
          <p:nvSpPr>
            <p:cNvPr id="20" name="TextBox 19"/>
            <p:cNvSpPr txBox="1"/>
            <p:nvPr/>
          </p:nvSpPr>
          <p:spPr>
            <a:xfrm>
              <a:off x="5394068" y="4056576"/>
              <a:ext cx="1428050" cy="366661"/>
            </a:xfrm>
            <a:prstGeom prst="rect">
              <a:avLst/>
            </a:prstGeom>
            <a:noFill/>
          </p:spPr>
          <p:txBody>
            <a:bodyPr wrap="none" lIns="182880" tIns="146304" rIns="182880" bIns="146304" rtlCol="0">
              <a:noAutofit/>
            </a:bodyPr>
            <a:lstStyle/>
            <a:p>
              <a:pPr algn="ctr">
                <a:lnSpc>
                  <a:spcPct val="90000"/>
                </a:lnSpc>
                <a:spcAft>
                  <a:spcPts val="600"/>
                </a:spcAft>
              </a:pPr>
              <a:r>
                <a:rPr lang="en-US" sz="1200" dirty="0" smtClean="0">
                  <a:solidFill>
                    <a:schemeClr val="tx1">
                      <a:lumMod val="75000"/>
                      <a:lumOff val="25000"/>
                    </a:schemeClr>
                  </a:solidFill>
                </a:rPr>
                <a:t>Write to</a:t>
              </a:r>
              <a:r>
                <a:rPr lang="en-US" sz="1200" dirty="0">
                  <a:solidFill>
                    <a:schemeClr val="tx1">
                      <a:lumMod val="75000"/>
                      <a:lumOff val="25000"/>
                    </a:schemeClr>
                  </a:solidFill>
                </a:rPr>
                <a:t/>
              </a:r>
              <a:br>
                <a:rPr lang="en-US" sz="1200" dirty="0">
                  <a:solidFill>
                    <a:schemeClr val="tx1">
                      <a:lumMod val="75000"/>
                      <a:lumOff val="25000"/>
                    </a:schemeClr>
                  </a:solidFill>
                </a:rPr>
              </a:br>
              <a:r>
                <a:rPr lang="en-US" sz="1200" dirty="0" smtClean="0">
                  <a:solidFill>
                    <a:schemeClr val="tx1">
                      <a:lumMod val="75000"/>
                      <a:lumOff val="25000"/>
                    </a:schemeClr>
                  </a:solidFill>
                </a:rPr>
                <a:t>HDFS</a:t>
              </a:r>
            </a:p>
          </p:txBody>
        </p:sp>
        <p:sp>
          <p:nvSpPr>
            <p:cNvPr id="21" name="TextBox 20"/>
            <p:cNvSpPr txBox="1"/>
            <p:nvPr/>
          </p:nvSpPr>
          <p:spPr>
            <a:xfrm>
              <a:off x="6902285" y="4067210"/>
              <a:ext cx="1428050" cy="366661"/>
            </a:xfrm>
            <a:prstGeom prst="rect">
              <a:avLst/>
            </a:prstGeom>
            <a:noFill/>
          </p:spPr>
          <p:txBody>
            <a:bodyPr wrap="none" lIns="182880" tIns="146304" rIns="182880" bIns="146304" rtlCol="0">
              <a:noAutofit/>
            </a:bodyPr>
            <a:lstStyle/>
            <a:p>
              <a:pPr algn="ctr">
                <a:lnSpc>
                  <a:spcPct val="90000"/>
                </a:lnSpc>
                <a:spcAft>
                  <a:spcPts val="600"/>
                </a:spcAft>
              </a:pPr>
              <a:r>
                <a:rPr lang="en-US" sz="1200" dirty="0" smtClean="0">
                  <a:solidFill>
                    <a:schemeClr val="tx1">
                      <a:lumMod val="75000"/>
                      <a:lumOff val="25000"/>
                    </a:schemeClr>
                  </a:solidFill>
                </a:rPr>
                <a:t>Read from</a:t>
              </a:r>
              <a:br>
                <a:rPr lang="en-US" sz="1200" dirty="0" smtClean="0">
                  <a:solidFill>
                    <a:schemeClr val="tx1">
                      <a:lumMod val="75000"/>
                      <a:lumOff val="25000"/>
                    </a:schemeClr>
                  </a:solidFill>
                </a:rPr>
              </a:br>
              <a:r>
                <a:rPr lang="en-US" sz="1200" dirty="0" smtClean="0">
                  <a:solidFill>
                    <a:schemeClr val="tx1">
                      <a:lumMod val="75000"/>
                      <a:lumOff val="25000"/>
                    </a:schemeClr>
                  </a:solidFill>
                </a:rPr>
                <a:t>HDFS</a:t>
              </a:r>
            </a:p>
          </p:txBody>
        </p:sp>
        <p:sp>
          <p:nvSpPr>
            <p:cNvPr id="22" name="TextBox 21"/>
            <p:cNvSpPr txBox="1"/>
            <p:nvPr/>
          </p:nvSpPr>
          <p:spPr>
            <a:xfrm>
              <a:off x="8641667" y="4048770"/>
              <a:ext cx="1428050" cy="366661"/>
            </a:xfrm>
            <a:prstGeom prst="rect">
              <a:avLst/>
            </a:prstGeom>
            <a:noFill/>
          </p:spPr>
          <p:txBody>
            <a:bodyPr wrap="none" lIns="182880" tIns="146304" rIns="182880" bIns="146304" rtlCol="0">
              <a:noAutofit/>
            </a:bodyPr>
            <a:lstStyle/>
            <a:p>
              <a:pPr algn="ctr">
                <a:lnSpc>
                  <a:spcPct val="90000"/>
                </a:lnSpc>
                <a:spcAft>
                  <a:spcPts val="600"/>
                </a:spcAft>
              </a:pPr>
              <a:r>
                <a:rPr lang="en-US" sz="1200" dirty="0" smtClean="0">
                  <a:solidFill>
                    <a:schemeClr val="tx1">
                      <a:lumMod val="75000"/>
                      <a:lumOff val="25000"/>
                    </a:schemeClr>
                  </a:solidFill>
                </a:rPr>
                <a:t>Write to </a:t>
              </a:r>
              <a:br>
                <a:rPr lang="en-US" sz="1200" dirty="0" smtClean="0">
                  <a:solidFill>
                    <a:schemeClr val="tx1">
                      <a:lumMod val="75000"/>
                      <a:lumOff val="25000"/>
                    </a:schemeClr>
                  </a:solidFill>
                </a:rPr>
              </a:br>
              <a:r>
                <a:rPr lang="en-US" sz="1200" dirty="0" smtClean="0">
                  <a:solidFill>
                    <a:schemeClr val="tx1">
                      <a:lumMod val="75000"/>
                      <a:lumOff val="25000"/>
                    </a:schemeClr>
                  </a:solidFill>
                </a:rPr>
                <a:t>HDFS</a:t>
              </a:r>
            </a:p>
          </p:txBody>
        </p:sp>
        <p:sp>
          <p:nvSpPr>
            <p:cNvPr id="50" name="Flowchart: Magnetic Disk 49"/>
            <p:cNvSpPr/>
            <p:nvPr/>
          </p:nvSpPr>
          <p:spPr bwMode="auto">
            <a:xfrm>
              <a:off x="3539775" y="5649994"/>
              <a:ext cx="620961" cy="411271"/>
            </a:xfrm>
            <a:prstGeom prst="flowChartMagneticDisk">
              <a:avLst/>
            </a:prstGeom>
            <a:solidFill>
              <a:schemeClr val="accent1"/>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dirty="0" smtClean="0">
                <a:solidFill>
                  <a:schemeClr val="bg1"/>
                </a:solidFill>
                <a:ea typeface="Segoe UI" pitchFamily="34" charset="0"/>
                <a:cs typeface="Segoe UI" pitchFamily="34" charset="0"/>
              </a:endParaRPr>
            </a:p>
          </p:txBody>
        </p:sp>
        <p:pic>
          <p:nvPicPr>
            <p:cNvPr id="5122" name="Picture 2" descr="http://ps4daily.com/wp-content/uploads/2013/04/memory-chip-icon.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437195" y="5517613"/>
              <a:ext cx="961469" cy="676033"/>
            </a:xfrm>
            <a:prstGeom prst="rect">
              <a:avLst/>
            </a:prstGeom>
            <a:noFill/>
            <a:extLst>
              <a:ext uri="{909E8E84-426E-40DD-AFC4-6F175D3DCCD1}">
                <a14:hiddenFill xmlns:a14="http://schemas.microsoft.com/office/drawing/2010/main">
                  <a:solidFill>
                    <a:srgbClr val="FFFFFF"/>
                  </a:solidFill>
                </a14:hiddenFill>
              </a:ext>
            </a:extLst>
          </p:spPr>
        </p:pic>
        <p:pic>
          <p:nvPicPr>
            <p:cNvPr id="53" name="Picture 2" descr="http://ps4daily.com/wp-content/uploads/2013/04/memory-chip-icon.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9736504" y="5517613"/>
              <a:ext cx="961469" cy="676033"/>
            </a:xfrm>
            <a:prstGeom prst="rect">
              <a:avLst/>
            </a:prstGeom>
            <a:noFill/>
            <a:extLst>
              <a:ext uri="{909E8E84-426E-40DD-AFC4-6F175D3DCCD1}">
                <a14:hiddenFill xmlns:a14="http://schemas.microsoft.com/office/drawing/2010/main">
                  <a:solidFill>
                    <a:srgbClr val="FFFFFF"/>
                  </a:solidFill>
                </a14:hiddenFill>
              </a:ext>
            </a:extLst>
          </p:spPr>
        </p:pic>
        <p:sp>
          <p:nvSpPr>
            <p:cNvPr id="54" name="Rectangle 53"/>
            <p:cNvSpPr/>
            <p:nvPr/>
          </p:nvSpPr>
          <p:spPr bwMode="auto">
            <a:xfrm>
              <a:off x="4930623" y="5701250"/>
              <a:ext cx="819398" cy="30875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smtClean="0">
                <a:solidFill>
                  <a:schemeClr val="bg1"/>
                </a:solidFill>
                <a:latin typeface="+mj-lt"/>
                <a:ea typeface="Segoe UI" pitchFamily="34" charset="0"/>
                <a:cs typeface="Segoe UI" pitchFamily="34" charset="0"/>
              </a:endParaRPr>
            </a:p>
          </p:txBody>
        </p:sp>
        <p:cxnSp>
          <p:nvCxnSpPr>
            <p:cNvPr id="55" name="Straight Arrow Connector 54"/>
            <p:cNvCxnSpPr/>
            <p:nvPr/>
          </p:nvCxnSpPr>
          <p:spPr>
            <a:xfrm flipV="1">
              <a:off x="4284742" y="5855629"/>
              <a:ext cx="539911" cy="1"/>
            </a:xfrm>
            <a:prstGeom prst="straightConnector1">
              <a:avLst/>
            </a:prstGeom>
            <a:ln w="38100">
              <a:solidFill>
                <a:schemeClr val="tx1">
                  <a:lumMod val="65000"/>
                  <a:lumOff val="35000"/>
                </a:schemeClr>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56" name="TextBox 55"/>
            <p:cNvSpPr txBox="1"/>
            <p:nvPr/>
          </p:nvSpPr>
          <p:spPr>
            <a:xfrm>
              <a:off x="3840672" y="5317590"/>
              <a:ext cx="1428050" cy="366661"/>
            </a:xfrm>
            <a:prstGeom prst="rect">
              <a:avLst/>
            </a:prstGeom>
            <a:noFill/>
          </p:spPr>
          <p:txBody>
            <a:bodyPr wrap="none" lIns="182880" tIns="146304" rIns="182880" bIns="146304" rtlCol="0">
              <a:noAutofit/>
            </a:bodyPr>
            <a:lstStyle/>
            <a:p>
              <a:pPr algn="ctr">
                <a:lnSpc>
                  <a:spcPct val="90000"/>
                </a:lnSpc>
                <a:spcAft>
                  <a:spcPts val="600"/>
                </a:spcAft>
              </a:pPr>
              <a:r>
                <a:rPr lang="en-US" sz="1200" dirty="0" smtClean="0">
                  <a:solidFill>
                    <a:schemeClr val="tx1">
                      <a:lumMod val="75000"/>
                      <a:lumOff val="25000"/>
                    </a:schemeClr>
                  </a:solidFill>
                </a:rPr>
                <a:t>Read from</a:t>
              </a:r>
              <a:br>
                <a:rPr lang="en-US" sz="1200" dirty="0" smtClean="0">
                  <a:solidFill>
                    <a:schemeClr val="tx1">
                      <a:lumMod val="75000"/>
                      <a:lumOff val="25000"/>
                    </a:schemeClr>
                  </a:solidFill>
                </a:rPr>
              </a:br>
              <a:r>
                <a:rPr lang="en-US" sz="1200" dirty="0" smtClean="0">
                  <a:solidFill>
                    <a:schemeClr val="tx1">
                      <a:lumMod val="75000"/>
                      <a:lumOff val="25000"/>
                    </a:schemeClr>
                  </a:solidFill>
                </a:rPr>
                <a:t>HDFS</a:t>
              </a:r>
            </a:p>
          </p:txBody>
        </p:sp>
        <p:cxnSp>
          <p:nvCxnSpPr>
            <p:cNvPr id="57" name="Straight Arrow Connector 56"/>
            <p:cNvCxnSpPr/>
            <p:nvPr/>
          </p:nvCxnSpPr>
          <p:spPr>
            <a:xfrm flipV="1">
              <a:off x="5838138" y="5855629"/>
              <a:ext cx="539911" cy="1"/>
            </a:xfrm>
            <a:prstGeom prst="straightConnector1">
              <a:avLst/>
            </a:prstGeom>
            <a:ln w="38100">
              <a:solidFill>
                <a:schemeClr val="tx1">
                  <a:lumMod val="65000"/>
                  <a:lumOff val="35000"/>
                </a:schemeClr>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59" name="Rectangle 58"/>
            <p:cNvSpPr/>
            <p:nvPr/>
          </p:nvSpPr>
          <p:spPr bwMode="auto">
            <a:xfrm>
              <a:off x="8039358" y="5701250"/>
              <a:ext cx="819398" cy="30875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smtClean="0">
                <a:solidFill>
                  <a:schemeClr val="bg1"/>
                </a:solidFill>
                <a:latin typeface="+mj-lt"/>
                <a:ea typeface="Segoe UI" pitchFamily="34" charset="0"/>
                <a:cs typeface="Segoe UI" pitchFamily="34" charset="0"/>
              </a:endParaRPr>
            </a:p>
          </p:txBody>
        </p:sp>
        <p:cxnSp>
          <p:nvCxnSpPr>
            <p:cNvPr id="60" name="Straight Arrow Connector 59"/>
            <p:cNvCxnSpPr/>
            <p:nvPr/>
          </p:nvCxnSpPr>
          <p:spPr>
            <a:xfrm flipV="1">
              <a:off x="9085737" y="5855629"/>
              <a:ext cx="539911" cy="1"/>
            </a:xfrm>
            <a:prstGeom prst="straightConnector1">
              <a:avLst/>
            </a:prstGeom>
            <a:ln w="38100">
              <a:solidFill>
                <a:schemeClr val="tx1">
                  <a:lumMod val="65000"/>
                  <a:lumOff val="35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2" name="Straight Arrow Connector 61"/>
            <p:cNvCxnSpPr/>
            <p:nvPr/>
          </p:nvCxnSpPr>
          <p:spPr>
            <a:xfrm flipV="1">
              <a:off x="7402267" y="5855629"/>
              <a:ext cx="539911" cy="1"/>
            </a:xfrm>
            <a:prstGeom prst="straightConnector1">
              <a:avLst/>
            </a:prstGeom>
            <a:ln w="38100">
              <a:solidFill>
                <a:schemeClr val="tx1">
                  <a:lumMod val="65000"/>
                  <a:lumOff val="35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4" name="Straight Arrow Connector 63"/>
            <p:cNvCxnSpPr/>
            <p:nvPr/>
          </p:nvCxnSpPr>
          <p:spPr>
            <a:xfrm flipV="1">
              <a:off x="10809650" y="5842897"/>
              <a:ext cx="539911" cy="1"/>
            </a:xfrm>
            <a:prstGeom prst="straightConnector1">
              <a:avLst/>
            </a:prstGeom>
            <a:ln w="38100">
              <a:solidFill>
                <a:schemeClr val="tx1">
                  <a:lumMod val="65000"/>
                  <a:lumOff val="35000"/>
                </a:schemeClr>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66" name="TextBox 65"/>
            <p:cNvSpPr txBox="1"/>
            <p:nvPr/>
          </p:nvSpPr>
          <p:spPr>
            <a:xfrm>
              <a:off x="4928452" y="4501873"/>
              <a:ext cx="722730" cy="258532"/>
            </a:xfrm>
            <a:prstGeom prst="rect">
              <a:avLst/>
            </a:prstGeom>
          </p:spPr>
          <p:txBody>
            <a:bodyPr wrap="square">
              <a:spAutoFit/>
            </a:bodyPr>
            <a:lstStyle>
              <a:defPPr>
                <a:defRPr lang="en-US"/>
              </a:defPPr>
              <a:lvl2pPr marL="52912" lvl="1" defTabSz="913770" fontAlgn="base">
                <a:spcBef>
                  <a:spcPts val="588"/>
                </a:spcBef>
                <a:spcAft>
                  <a:spcPts val="588"/>
                </a:spcAft>
                <a:buClr>
                  <a:srgbClr val="68217A">
                    <a:lumMod val="50000"/>
                  </a:srgbClr>
                </a:buClr>
                <a:tabLst>
                  <a:tab pos="645523" algn="l"/>
                </a:tabLst>
                <a:defRPr sz="2353">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93" lvl="1">
                <a:lnSpc>
                  <a:spcPct val="90000"/>
                </a:lnSpc>
                <a:spcAft>
                  <a:spcPts val="600"/>
                </a:spcAft>
              </a:pPr>
              <a:r>
                <a:rPr lang="en-US" sz="1200" dirty="0" smtClean="0">
                  <a:solidFill>
                    <a:schemeClr val="tx1"/>
                  </a:solidFill>
                </a:rPr>
                <a:t>Step 1</a:t>
              </a:r>
            </a:p>
          </p:txBody>
        </p:sp>
        <p:sp>
          <p:nvSpPr>
            <p:cNvPr id="67" name="TextBox 66"/>
            <p:cNvSpPr txBox="1"/>
            <p:nvPr/>
          </p:nvSpPr>
          <p:spPr>
            <a:xfrm>
              <a:off x="8115677" y="4529612"/>
              <a:ext cx="722730" cy="258532"/>
            </a:xfrm>
            <a:prstGeom prst="rect">
              <a:avLst/>
            </a:prstGeom>
          </p:spPr>
          <p:txBody>
            <a:bodyPr wrap="square">
              <a:spAutoFit/>
            </a:bodyPr>
            <a:lstStyle>
              <a:defPPr>
                <a:defRPr lang="en-US"/>
              </a:defPPr>
              <a:lvl2pPr marL="52912" lvl="1" defTabSz="913770" fontAlgn="base">
                <a:spcBef>
                  <a:spcPts val="588"/>
                </a:spcBef>
                <a:spcAft>
                  <a:spcPts val="588"/>
                </a:spcAft>
                <a:buClr>
                  <a:srgbClr val="68217A">
                    <a:lumMod val="50000"/>
                  </a:srgbClr>
                </a:buClr>
                <a:tabLst>
                  <a:tab pos="645523" algn="l"/>
                </a:tabLst>
                <a:defRPr sz="2353">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93" lvl="1">
                <a:lnSpc>
                  <a:spcPct val="90000"/>
                </a:lnSpc>
                <a:spcAft>
                  <a:spcPts val="600"/>
                </a:spcAft>
              </a:pPr>
              <a:r>
                <a:rPr lang="en-US" sz="1200" dirty="0" smtClean="0">
                  <a:solidFill>
                    <a:schemeClr val="tx1"/>
                  </a:solidFill>
                </a:rPr>
                <a:t>Step</a:t>
              </a:r>
              <a:r>
                <a:rPr lang="en-US" sz="1200" dirty="0" smtClean="0">
                  <a:solidFill>
                    <a:schemeClr val="bg1"/>
                  </a:solidFill>
                </a:rPr>
                <a:t> </a:t>
              </a:r>
              <a:r>
                <a:rPr lang="en-US" sz="1200" dirty="0" smtClean="0">
                  <a:solidFill>
                    <a:schemeClr val="tx1"/>
                  </a:solidFill>
                </a:rPr>
                <a:t>2</a:t>
              </a:r>
            </a:p>
          </p:txBody>
        </p:sp>
        <p:sp>
          <p:nvSpPr>
            <p:cNvPr id="68" name="TextBox 67"/>
            <p:cNvSpPr txBox="1"/>
            <p:nvPr/>
          </p:nvSpPr>
          <p:spPr>
            <a:xfrm>
              <a:off x="5021477" y="5723052"/>
              <a:ext cx="722730" cy="258532"/>
            </a:xfrm>
            <a:prstGeom prst="rect">
              <a:avLst/>
            </a:prstGeom>
          </p:spPr>
          <p:txBody>
            <a:bodyPr wrap="square">
              <a:spAutoFit/>
            </a:bodyPr>
            <a:lstStyle>
              <a:defPPr>
                <a:defRPr lang="en-US"/>
              </a:defPPr>
              <a:lvl2pPr marL="52912" lvl="1" defTabSz="913770" fontAlgn="base">
                <a:spcBef>
                  <a:spcPts val="588"/>
                </a:spcBef>
                <a:spcAft>
                  <a:spcPts val="588"/>
                </a:spcAft>
                <a:buClr>
                  <a:srgbClr val="68217A">
                    <a:lumMod val="50000"/>
                  </a:srgbClr>
                </a:buClr>
                <a:tabLst>
                  <a:tab pos="645523" algn="l"/>
                </a:tabLst>
                <a:defRPr sz="2353">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93" lvl="1">
                <a:lnSpc>
                  <a:spcPct val="90000"/>
                </a:lnSpc>
                <a:spcAft>
                  <a:spcPts val="600"/>
                </a:spcAft>
              </a:pPr>
              <a:r>
                <a:rPr lang="en-US" sz="1200" dirty="0" smtClean="0">
                  <a:solidFill>
                    <a:schemeClr val="tx1"/>
                  </a:solidFill>
                </a:rPr>
                <a:t>Step 1</a:t>
              </a:r>
            </a:p>
          </p:txBody>
        </p:sp>
        <p:sp>
          <p:nvSpPr>
            <p:cNvPr id="69" name="TextBox 68"/>
            <p:cNvSpPr txBox="1"/>
            <p:nvPr/>
          </p:nvSpPr>
          <p:spPr>
            <a:xfrm>
              <a:off x="8059577" y="5732949"/>
              <a:ext cx="722730" cy="258532"/>
            </a:xfrm>
            <a:prstGeom prst="rect">
              <a:avLst/>
            </a:prstGeom>
          </p:spPr>
          <p:txBody>
            <a:bodyPr wrap="square">
              <a:spAutoFit/>
            </a:bodyPr>
            <a:lstStyle>
              <a:defPPr>
                <a:defRPr lang="en-US"/>
              </a:defPPr>
              <a:lvl2pPr marL="52912" lvl="1" defTabSz="913770" fontAlgn="base">
                <a:spcBef>
                  <a:spcPts val="588"/>
                </a:spcBef>
                <a:spcAft>
                  <a:spcPts val="588"/>
                </a:spcAft>
                <a:buClr>
                  <a:srgbClr val="68217A">
                    <a:lumMod val="50000"/>
                  </a:srgbClr>
                </a:buClr>
                <a:tabLst>
                  <a:tab pos="645523" algn="l"/>
                </a:tabLst>
                <a:defRPr sz="2353">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93" lvl="1">
                <a:lnSpc>
                  <a:spcPct val="90000"/>
                </a:lnSpc>
                <a:spcAft>
                  <a:spcPts val="600"/>
                </a:spcAft>
              </a:pPr>
              <a:r>
                <a:rPr lang="en-US" sz="1200" dirty="0" smtClean="0">
                  <a:solidFill>
                    <a:schemeClr val="tx1"/>
                  </a:solidFill>
                </a:rPr>
                <a:t>Step 2</a:t>
              </a:r>
            </a:p>
          </p:txBody>
        </p:sp>
        <p:sp>
          <p:nvSpPr>
            <p:cNvPr id="70" name="TextBox 69"/>
            <p:cNvSpPr txBox="1"/>
            <p:nvPr/>
          </p:nvSpPr>
          <p:spPr>
            <a:xfrm>
              <a:off x="4168208" y="3684313"/>
              <a:ext cx="4507963" cy="369332"/>
            </a:xfrm>
            <a:prstGeom prst="rect">
              <a:avLst/>
            </a:prstGeom>
            <a:solidFill>
              <a:schemeClr val="accent5">
                <a:lumMod val="20000"/>
                <a:lumOff val="80000"/>
              </a:schemeClr>
            </a:solidFill>
          </p:spPr>
          <p:txBody>
            <a:bodyPr wrap="square">
              <a:spAutoFit/>
            </a:bodyPr>
            <a:lstStyle>
              <a:defPPr>
                <a:defRPr lang="en-US"/>
              </a:defPPr>
              <a:lvl2pPr marL="52912" lvl="1" defTabSz="913770" fontAlgn="base">
                <a:spcBef>
                  <a:spcPts val="588"/>
                </a:spcBef>
                <a:spcAft>
                  <a:spcPts val="588"/>
                </a:spcAft>
                <a:buClr>
                  <a:srgbClr val="68217A">
                    <a:lumMod val="50000"/>
                  </a:srgbClr>
                </a:buClr>
                <a:tabLst>
                  <a:tab pos="645523" algn="l"/>
                </a:tabLst>
                <a:defRPr sz="2353">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93" lvl="1">
                <a:lnSpc>
                  <a:spcPct val="90000"/>
                </a:lnSpc>
                <a:spcAft>
                  <a:spcPts val="600"/>
                </a:spcAft>
              </a:pPr>
              <a:r>
                <a:rPr lang="en-US" sz="2000" dirty="0" smtClean="0">
                  <a:solidFill>
                    <a:schemeClr val="tx1">
                      <a:lumMod val="75000"/>
                      <a:lumOff val="25000"/>
                    </a:schemeClr>
                  </a:solidFill>
                </a:rPr>
                <a:t>Data Sharing between Steps of a Job</a:t>
              </a:r>
            </a:p>
          </p:txBody>
        </p:sp>
        <p:sp>
          <p:nvSpPr>
            <p:cNvPr id="71" name="TextBox 70"/>
            <p:cNvSpPr txBox="1"/>
            <p:nvPr/>
          </p:nvSpPr>
          <p:spPr>
            <a:xfrm>
              <a:off x="1488715" y="4310440"/>
              <a:ext cx="1910535" cy="590931"/>
            </a:xfrm>
            <a:prstGeom prst="rect">
              <a:avLst/>
            </a:prstGeom>
          </p:spPr>
          <p:txBody>
            <a:bodyPr wrap="square">
              <a:spAutoFit/>
            </a:bodyPr>
            <a:lstStyle>
              <a:defPPr>
                <a:defRPr lang="en-US"/>
              </a:defPPr>
              <a:lvl2pPr marL="52912" lvl="1" defTabSz="913770" fontAlgn="base">
                <a:spcBef>
                  <a:spcPts val="588"/>
                </a:spcBef>
                <a:spcAft>
                  <a:spcPts val="588"/>
                </a:spcAft>
                <a:buClr>
                  <a:srgbClr val="68217A">
                    <a:lumMod val="50000"/>
                  </a:srgbClr>
                </a:buClr>
                <a:tabLst>
                  <a:tab pos="645523" algn="l"/>
                </a:tabLst>
                <a:defRPr sz="2353">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93" lvl="1">
                <a:lnSpc>
                  <a:spcPct val="90000"/>
                </a:lnSpc>
                <a:spcAft>
                  <a:spcPts val="600"/>
                </a:spcAft>
              </a:pPr>
              <a:r>
                <a:rPr lang="en-US" sz="1800" dirty="0" smtClean="0">
                  <a:solidFill>
                    <a:schemeClr val="tx1">
                      <a:lumMod val="75000"/>
                      <a:lumOff val="25000"/>
                    </a:schemeClr>
                  </a:solidFill>
                </a:rPr>
                <a:t>In Traditional MapReduce</a:t>
              </a:r>
            </a:p>
          </p:txBody>
        </p:sp>
        <p:sp>
          <p:nvSpPr>
            <p:cNvPr id="72" name="TextBox 71"/>
            <p:cNvSpPr txBox="1"/>
            <p:nvPr/>
          </p:nvSpPr>
          <p:spPr>
            <a:xfrm>
              <a:off x="1516619" y="5720217"/>
              <a:ext cx="1182553" cy="341632"/>
            </a:xfrm>
            <a:prstGeom prst="rect">
              <a:avLst/>
            </a:prstGeom>
          </p:spPr>
          <p:txBody>
            <a:bodyPr wrap="square">
              <a:spAutoFit/>
            </a:bodyPr>
            <a:lstStyle>
              <a:defPPr>
                <a:defRPr lang="en-US"/>
              </a:defPPr>
              <a:lvl2pPr marL="52912" lvl="1" defTabSz="913770" fontAlgn="base">
                <a:spcBef>
                  <a:spcPts val="588"/>
                </a:spcBef>
                <a:spcAft>
                  <a:spcPts val="588"/>
                </a:spcAft>
                <a:buClr>
                  <a:srgbClr val="68217A">
                    <a:lumMod val="50000"/>
                  </a:srgbClr>
                </a:buClr>
                <a:tabLst>
                  <a:tab pos="645523" algn="l"/>
                </a:tabLst>
                <a:defRPr sz="2353">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93" lvl="1">
                <a:lnSpc>
                  <a:spcPct val="90000"/>
                </a:lnSpc>
                <a:spcAft>
                  <a:spcPts val="600"/>
                </a:spcAft>
              </a:pPr>
              <a:r>
                <a:rPr lang="en-US" sz="1800" dirty="0" smtClean="0">
                  <a:solidFill>
                    <a:schemeClr val="tx1">
                      <a:lumMod val="75000"/>
                      <a:lumOff val="25000"/>
                    </a:schemeClr>
                  </a:solidFill>
                </a:rPr>
                <a:t>In Spark</a:t>
              </a:r>
            </a:p>
          </p:txBody>
        </p:sp>
      </p:grpSp>
    </p:spTree>
    <p:extLst>
      <p:ext uri="{BB962C8B-B14F-4D97-AF65-F5344CB8AC3E}">
        <p14:creationId xmlns:p14="http://schemas.microsoft.com/office/powerpoint/2010/main" val="1210885603"/>
      </p:ext>
    </p:extLst>
  </p:cSld>
  <p:clrMapOvr>
    <a:masterClrMapping/>
  </p:clrMapOvr>
  <p:transition spd="med">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bwMode="auto">
          <a:xfrm>
            <a:off x="0" y="487"/>
            <a:ext cx="5220356" cy="6857027"/>
          </a:xfrm>
          <a:prstGeom prst="rect">
            <a:avLst/>
          </a:prstGeom>
          <a:solidFill>
            <a:srgbClr val="68217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8927" tIns="143428"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endParaRPr lang="en-US" sz="5294" dirty="0">
              <a:solidFill>
                <a:srgbClr val="FFFFFF"/>
              </a:solidFill>
              <a:latin typeface="Segoe UI Light"/>
              <a:ea typeface="Segoe UI" pitchFamily="34" charset="0"/>
              <a:cs typeface="Segoe UI" pitchFamily="34" charset="0"/>
            </a:endParaRPr>
          </a:p>
          <a:p>
            <a:pPr defTabSz="914102" fontAlgn="base">
              <a:lnSpc>
                <a:spcPct val="90000"/>
              </a:lnSpc>
              <a:spcBef>
                <a:spcPct val="0"/>
              </a:spcBef>
              <a:spcAft>
                <a:spcPct val="0"/>
              </a:spcAft>
            </a:pPr>
            <a:endParaRPr lang="en-US" sz="5294" dirty="0">
              <a:solidFill>
                <a:srgbClr val="FFFFFF"/>
              </a:solidFill>
              <a:latin typeface="Segoe UI Light"/>
              <a:ea typeface="Segoe UI" pitchFamily="34" charset="0"/>
              <a:cs typeface="Segoe UI" pitchFamily="34" charset="0"/>
            </a:endParaRPr>
          </a:p>
        </p:txBody>
      </p:sp>
      <p:sp>
        <p:nvSpPr>
          <p:cNvPr id="5" name="Rectangle 4"/>
          <p:cNvSpPr/>
          <p:nvPr/>
        </p:nvSpPr>
        <p:spPr bwMode="auto">
          <a:xfrm>
            <a:off x="1" y="6319659"/>
            <a:ext cx="5220356" cy="537855"/>
          </a:xfrm>
          <a:prstGeom prst="rect">
            <a:avLst/>
          </a:prstGeom>
          <a:solidFill>
            <a:schemeClr val="accent3">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endParaRPr lang="en-US" sz="2353" kern="0" dirty="0">
              <a:ln>
                <a:solidFill>
                  <a:srgbClr val="FFFFFF">
                    <a:alpha val="0"/>
                  </a:srgbClr>
                </a:solidFill>
              </a:ln>
              <a:solidFill>
                <a:srgbClr val="FFFFFF"/>
              </a:solidFill>
              <a:latin typeface="Segoe UI Semibold" panose="020B0702040204020203" pitchFamily="34" charset="0"/>
              <a:ea typeface="MS PGothic" charset="0"/>
              <a:cs typeface="Segoe UI Semibold" panose="020B0702040204020203" pitchFamily="34" charset="0"/>
            </a:endParaRPr>
          </a:p>
        </p:txBody>
      </p:sp>
      <p:sp>
        <p:nvSpPr>
          <p:cNvPr id="6" name="Freeform 5"/>
          <p:cNvSpPr>
            <a:spLocks/>
          </p:cNvSpPr>
          <p:nvPr/>
        </p:nvSpPr>
        <p:spPr bwMode="auto">
          <a:xfrm flipH="1">
            <a:off x="2619107" y="4183803"/>
            <a:ext cx="2601249" cy="2135857"/>
          </a:xfrm>
          <a:custGeom>
            <a:avLst/>
            <a:gdLst>
              <a:gd name="connsiteX0" fmla="*/ 603413 w 1090712"/>
              <a:gd name="connsiteY0" fmla="*/ 721327 h 895572"/>
              <a:gd name="connsiteX1" fmla="*/ 578466 w 1090712"/>
              <a:gd name="connsiteY1" fmla="*/ 770746 h 895572"/>
              <a:gd name="connsiteX2" fmla="*/ 553519 w 1090712"/>
              <a:gd name="connsiteY2" fmla="*/ 818264 h 895572"/>
              <a:gd name="connsiteX3" fmla="*/ 528334 w 1090712"/>
              <a:gd name="connsiteY3" fmla="*/ 865069 h 895572"/>
              <a:gd name="connsiteX4" fmla="*/ 511825 w 1090712"/>
              <a:gd name="connsiteY4" fmla="*/ 895572 h 895572"/>
              <a:gd name="connsiteX5" fmla="*/ 624528 w 1090712"/>
              <a:gd name="connsiteY5" fmla="*/ 895572 h 895572"/>
              <a:gd name="connsiteX6" fmla="*/ 624796 w 1090712"/>
              <a:gd name="connsiteY6" fmla="*/ 894768 h 895572"/>
              <a:gd name="connsiteX7" fmla="*/ 625271 w 1090712"/>
              <a:gd name="connsiteY7" fmla="*/ 891679 h 895572"/>
              <a:gd name="connsiteX8" fmla="*/ 625747 w 1090712"/>
              <a:gd name="connsiteY8" fmla="*/ 889066 h 895572"/>
              <a:gd name="connsiteX9" fmla="*/ 625747 w 1090712"/>
              <a:gd name="connsiteY9" fmla="*/ 860555 h 895572"/>
              <a:gd name="connsiteX10" fmla="*/ 624796 w 1090712"/>
              <a:gd name="connsiteY10" fmla="*/ 833945 h 895572"/>
              <a:gd name="connsiteX11" fmla="*/ 624321 w 1090712"/>
              <a:gd name="connsiteY11" fmla="*/ 820877 h 895572"/>
              <a:gd name="connsiteX12" fmla="*/ 623608 w 1090712"/>
              <a:gd name="connsiteY12" fmla="*/ 808047 h 895572"/>
              <a:gd name="connsiteX13" fmla="*/ 621708 w 1090712"/>
              <a:gd name="connsiteY13" fmla="*/ 795218 h 895572"/>
              <a:gd name="connsiteX14" fmla="*/ 620044 w 1090712"/>
              <a:gd name="connsiteY14" fmla="*/ 782625 h 895572"/>
              <a:gd name="connsiteX15" fmla="*/ 616005 w 1090712"/>
              <a:gd name="connsiteY15" fmla="*/ 766707 h 895572"/>
              <a:gd name="connsiteX16" fmla="*/ 611966 w 1090712"/>
              <a:gd name="connsiteY16" fmla="*/ 751976 h 895572"/>
              <a:gd name="connsiteX17" fmla="*/ 607452 w 1090712"/>
              <a:gd name="connsiteY17" fmla="*/ 737245 h 895572"/>
              <a:gd name="connsiteX18" fmla="*/ 698212 w 1090712"/>
              <a:gd name="connsiteY18" fmla="*/ 530778 h 895572"/>
              <a:gd name="connsiteX19" fmla="*/ 693460 w 1090712"/>
              <a:gd name="connsiteY19" fmla="*/ 534818 h 895572"/>
              <a:gd name="connsiteX20" fmla="*/ 688471 w 1090712"/>
              <a:gd name="connsiteY20" fmla="*/ 538857 h 895572"/>
              <a:gd name="connsiteX21" fmla="*/ 678254 w 1090712"/>
              <a:gd name="connsiteY21" fmla="*/ 546935 h 895572"/>
              <a:gd name="connsiteX22" fmla="*/ 669226 w 1090712"/>
              <a:gd name="connsiteY22" fmla="*/ 553587 h 895572"/>
              <a:gd name="connsiteX23" fmla="*/ 663048 w 1090712"/>
              <a:gd name="connsiteY23" fmla="*/ 558814 h 895572"/>
              <a:gd name="connsiteX24" fmla="*/ 663048 w 1090712"/>
              <a:gd name="connsiteY24" fmla="*/ 556676 h 895572"/>
              <a:gd name="connsiteX25" fmla="*/ 663523 w 1090712"/>
              <a:gd name="connsiteY25" fmla="*/ 554538 h 895572"/>
              <a:gd name="connsiteX26" fmla="*/ 665424 w 1090712"/>
              <a:gd name="connsiteY26" fmla="*/ 550498 h 895572"/>
              <a:gd name="connsiteX27" fmla="*/ 668038 w 1090712"/>
              <a:gd name="connsiteY27" fmla="*/ 546459 h 895572"/>
              <a:gd name="connsiteX28" fmla="*/ 671602 w 1090712"/>
              <a:gd name="connsiteY28" fmla="*/ 542420 h 895572"/>
              <a:gd name="connsiteX29" fmla="*/ 676829 w 1090712"/>
              <a:gd name="connsiteY29" fmla="*/ 538857 h 895572"/>
              <a:gd name="connsiteX30" fmla="*/ 682768 w 1090712"/>
              <a:gd name="connsiteY30" fmla="*/ 535768 h 895572"/>
              <a:gd name="connsiteX31" fmla="*/ 689896 w 1090712"/>
              <a:gd name="connsiteY31" fmla="*/ 533154 h 895572"/>
              <a:gd name="connsiteX32" fmla="*/ 654257 w 1090712"/>
              <a:gd name="connsiteY32" fmla="*/ 302216 h 895572"/>
              <a:gd name="connsiteX33" fmla="*/ 651882 w 1090712"/>
              <a:gd name="connsiteY33" fmla="*/ 302691 h 895572"/>
              <a:gd name="connsiteX34" fmla="*/ 649268 w 1090712"/>
              <a:gd name="connsiteY34" fmla="*/ 303166 h 895572"/>
              <a:gd name="connsiteX35" fmla="*/ 647130 w 1090712"/>
              <a:gd name="connsiteY35" fmla="*/ 304354 h 895572"/>
              <a:gd name="connsiteX36" fmla="*/ 644516 w 1090712"/>
              <a:gd name="connsiteY36" fmla="*/ 306255 h 895572"/>
              <a:gd name="connsiteX37" fmla="*/ 642140 w 1090712"/>
              <a:gd name="connsiteY37" fmla="*/ 307918 h 895572"/>
              <a:gd name="connsiteX38" fmla="*/ 640002 w 1090712"/>
              <a:gd name="connsiteY38" fmla="*/ 310294 h 895572"/>
              <a:gd name="connsiteX39" fmla="*/ 638101 w 1090712"/>
              <a:gd name="connsiteY39" fmla="*/ 312432 h 895572"/>
              <a:gd name="connsiteX40" fmla="*/ 636913 w 1090712"/>
              <a:gd name="connsiteY40" fmla="*/ 314571 h 895572"/>
              <a:gd name="connsiteX41" fmla="*/ 635963 w 1090712"/>
              <a:gd name="connsiteY41" fmla="*/ 316946 h 895572"/>
              <a:gd name="connsiteX42" fmla="*/ 635963 w 1090712"/>
              <a:gd name="connsiteY42" fmla="*/ 319085 h 895572"/>
              <a:gd name="connsiteX43" fmla="*/ 636913 w 1090712"/>
              <a:gd name="connsiteY43" fmla="*/ 321223 h 895572"/>
              <a:gd name="connsiteX44" fmla="*/ 637626 w 1090712"/>
              <a:gd name="connsiteY44" fmla="*/ 324074 h 895572"/>
              <a:gd name="connsiteX45" fmla="*/ 639527 w 1090712"/>
              <a:gd name="connsiteY45" fmla="*/ 326688 h 895572"/>
              <a:gd name="connsiteX46" fmla="*/ 643091 w 1090712"/>
              <a:gd name="connsiteY46" fmla="*/ 331677 h 895572"/>
              <a:gd name="connsiteX47" fmla="*/ 647130 w 1090712"/>
              <a:gd name="connsiteY47" fmla="*/ 335954 h 895572"/>
              <a:gd name="connsiteX48" fmla="*/ 655920 w 1090712"/>
              <a:gd name="connsiteY48" fmla="*/ 330727 h 895572"/>
              <a:gd name="connsiteX49" fmla="*/ 663999 w 1090712"/>
              <a:gd name="connsiteY49" fmla="*/ 324787 h 895572"/>
              <a:gd name="connsiteX50" fmla="*/ 679917 w 1090712"/>
              <a:gd name="connsiteY50" fmla="*/ 313383 h 895572"/>
              <a:gd name="connsiteX51" fmla="*/ 676354 w 1090712"/>
              <a:gd name="connsiteY51" fmla="*/ 311007 h 895572"/>
              <a:gd name="connsiteX52" fmla="*/ 672790 w 1090712"/>
              <a:gd name="connsiteY52" fmla="*/ 308393 h 895572"/>
              <a:gd name="connsiteX53" fmla="*/ 668988 w 1090712"/>
              <a:gd name="connsiteY53" fmla="*/ 306730 h 895572"/>
              <a:gd name="connsiteX54" fmla="*/ 664949 w 1090712"/>
              <a:gd name="connsiteY54" fmla="*/ 304829 h 895572"/>
              <a:gd name="connsiteX55" fmla="*/ 660910 w 1090712"/>
              <a:gd name="connsiteY55" fmla="*/ 303641 h 895572"/>
              <a:gd name="connsiteX56" fmla="*/ 657346 w 1090712"/>
              <a:gd name="connsiteY56" fmla="*/ 302691 h 895572"/>
              <a:gd name="connsiteX57" fmla="*/ 696549 w 1090712"/>
              <a:gd name="connsiteY57" fmla="*/ 252322 h 895572"/>
              <a:gd name="connsiteX58" fmla="*/ 696786 w 1090712"/>
              <a:gd name="connsiteY58" fmla="*/ 259925 h 895572"/>
              <a:gd name="connsiteX59" fmla="*/ 698212 w 1090712"/>
              <a:gd name="connsiteY59" fmla="*/ 266102 h 895572"/>
              <a:gd name="connsiteX60" fmla="*/ 700113 w 1090712"/>
              <a:gd name="connsiteY60" fmla="*/ 272042 h 895572"/>
              <a:gd name="connsiteX61" fmla="*/ 701776 w 1090712"/>
              <a:gd name="connsiteY61" fmla="*/ 276794 h 895572"/>
              <a:gd name="connsiteX62" fmla="*/ 704389 w 1090712"/>
              <a:gd name="connsiteY62" fmla="*/ 280833 h 895572"/>
              <a:gd name="connsiteX63" fmla="*/ 707240 w 1090712"/>
              <a:gd name="connsiteY63" fmla="*/ 284397 h 895572"/>
              <a:gd name="connsiteX64" fmla="*/ 710329 w 1090712"/>
              <a:gd name="connsiteY64" fmla="*/ 287010 h 895572"/>
              <a:gd name="connsiteX65" fmla="*/ 713418 w 1090712"/>
              <a:gd name="connsiteY65" fmla="*/ 289624 h 895572"/>
              <a:gd name="connsiteX66" fmla="*/ 716506 w 1090712"/>
              <a:gd name="connsiteY66" fmla="*/ 291524 h 895572"/>
              <a:gd name="connsiteX67" fmla="*/ 719595 w 1090712"/>
              <a:gd name="connsiteY67" fmla="*/ 293187 h 895572"/>
              <a:gd name="connsiteX68" fmla="*/ 725772 w 1090712"/>
              <a:gd name="connsiteY68" fmla="*/ 295088 h 895572"/>
              <a:gd name="connsiteX69" fmla="*/ 731237 w 1090712"/>
              <a:gd name="connsiteY69" fmla="*/ 296514 h 895572"/>
              <a:gd name="connsiteX70" fmla="*/ 734801 w 1090712"/>
              <a:gd name="connsiteY70" fmla="*/ 296751 h 895572"/>
              <a:gd name="connsiteX71" fmla="*/ 722209 w 1090712"/>
              <a:gd name="connsiteY71" fmla="*/ 303879 h 895572"/>
              <a:gd name="connsiteX72" fmla="*/ 710804 w 1090712"/>
              <a:gd name="connsiteY72" fmla="*/ 311007 h 895572"/>
              <a:gd name="connsiteX73" fmla="*/ 688471 w 1090712"/>
              <a:gd name="connsiteY73" fmla="*/ 324787 h 895572"/>
              <a:gd name="connsiteX74" fmla="*/ 667563 w 1090712"/>
              <a:gd name="connsiteY74" fmla="*/ 339043 h 895572"/>
              <a:gd name="connsiteX75" fmla="*/ 646179 w 1090712"/>
              <a:gd name="connsiteY75" fmla="*/ 352823 h 895572"/>
              <a:gd name="connsiteX76" fmla="*/ 620044 w 1090712"/>
              <a:gd name="connsiteY76" fmla="*/ 313383 h 895572"/>
              <a:gd name="connsiteX77" fmla="*/ 617668 w 1090712"/>
              <a:gd name="connsiteY77" fmla="*/ 312432 h 895572"/>
              <a:gd name="connsiteX78" fmla="*/ 615055 w 1090712"/>
              <a:gd name="connsiteY78" fmla="*/ 312432 h 895572"/>
              <a:gd name="connsiteX79" fmla="*/ 612441 w 1090712"/>
              <a:gd name="connsiteY79" fmla="*/ 313383 h 895572"/>
              <a:gd name="connsiteX80" fmla="*/ 609353 w 1090712"/>
              <a:gd name="connsiteY80" fmla="*/ 314095 h 895572"/>
              <a:gd name="connsiteX81" fmla="*/ 602938 w 1090712"/>
              <a:gd name="connsiteY81" fmla="*/ 316946 h 895572"/>
              <a:gd name="connsiteX82" fmla="*/ 599849 w 1090712"/>
              <a:gd name="connsiteY82" fmla="*/ 317659 h 895572"/>
              <a:gd name="connsiteX83" fmla="*/ 596760 w 1090712"/>
              <a:gd name="connsiteY83" fmla="*/ 318610 h 895572"/>
              <a:gd name="connsiteX84" fmla="*/ 607927 w 1090712"/>
              <a:gd name="connsiteY84" fmla="*/ 307205 h 895572"/>
              <a:gd name="connsiteX85" fmla="*/ 618619 w 1090712"/>
              <a:gd name="connsiteY85" fmla="*/ 295088 h 895572"/>
              <a:gd name="connsiteX86" fmla="*/ 623846 w 1090712"/>
              <a:gd name="connsiteY86" fmla="*/ 289386 h 895572"/>
              <a:gd name="connsiteX87" fmla="*/ 629786 w 1090712"/>
              <a:gd name="connsiteY87" fmla="*/ 283921 h 895572"/>
              <a:gd name="connsiteX88" fmla="*/ 635963 w 1090712"/>
              <a:gd name="connsiteY88" fmla="*/ 278694 h 895572"/>
              <a:gd name="connsiteX89" fmla="*/ 642140 w 1090712"/>
              <a:gd name="connsiteY89" fmla="*/ 273705 h 895572"/>
              <a:gd name="connsiteX90" fmla="*/ 648793 w 1090712"/>
              <a:gd name="connsiteY90" fmla="*/ 269191 h 895572"/>
              <a:gd name="connsiteX91" fmla="*/ 655446 w 1090712"/>
              <a:gd name="connsiteY91" fmla="*/ 265627 h 895572"/>
              <a:gd name="connsiteX92" fmla="*/ 662098 w 1090712"/>
              <a:gd name="connsiteY92" fmla="*/ 263013 h 895572"/>
              <a:gd name="connsiteX93" fmla="*/ 668988 w 1090712"/>
              <a:gd name="connsiteY93" fmla="*/ 260400 h 895572"/>
              <a:gd name="connsiteX94" fmla="*/ 682768 w 1090712"/>
              <a:gd name="connsiteY94" fmla="*/ 256361 h 895572"/>
              <a:gd name="connsiteX95" fmla="*/ 1030602 w 1090712"/>
              <a:gd name="connsiteY95" fmla="*/ 200289 h 895572"/>
              <a:gd name="connsiteX96" fmla="*/ 1027513 w 1090712"/>
              <a:gd name="connsiteY96" fmla="*/ 207892 h 895572"/>
              <a:gd name="connsiteX97" fmla="*/ 1023949 w 1090712"/>
              <a:gd name="connsiteY97" fmla="*/ 214545 h 895572"/>
              <a:gd name="connsiteX98" fmla="*/ 1019910 w 1090712"/>
              <a:gd name="connsiteY98" fmla="*/ 221197 h 895572"/>
              <a:gd name="connsiteX99" fmla="*/ 1015396 w 1090712"/>
              <a:gd name="connsiteY99" fmla="*/ 226899 h 895572"/>
              <a:gd name="connsiteX100" fmla="*/ 1011119 w 1090712"/>
              <a:gd name="connsiteY100" fmla="*/ 232839 h 895572"/>
              <a:gd name="connsiteX101" fmla="*/ 1006130 w 1090712"/>
              <a:gd name="connsiteY101" fmla="*/ 237591 h 895572"/>
              <a:gd name="connsiteX102" fmla="*/ 1001140 w 1090712"/>
              <a:gd name="connsiteY102" fmla="*/ 242105 h 895572"/>
              <a:gd name="connsiteX103" fmla="*/ 996388 w 1090712"/>
              <a:gd name="connsiteY103" fmla="*/ 246144 h 895572"/>
              <a:gd name="connsiteX104" fmla="*/ 990924 w 1090712"/>
              <a:gd name="connsiteY104" fmla="*/ 249708 h 895572"/>
              <a:gd name="connsiteX105" fmla="*/ 985697 w 1090712"/>
              <a:gd name="connsiteY105" fmla="*/ 252797 h 895572"/>
              <a:gd name="connsiteX106" fmla="*/ 980232 w 1090712"/>
              <a:gd name="connsiteY106" fmla="*/ 254935 h 895572"/>
              <a:gd name="connsiteX107" fmla="*/ 975005 w 1090712"/>
              <a:gd name="connsiteY107" fmla="*/ 256836 h 895572"/>
              <a:gd name="connsiteX108" fmla="*/ 969541 w 1090712"/>
              <a:gd name="connsiteY108" fmla="*/ 258262 h 895572"/>
              <a:gd name="connsiteX109" fmla="*/ 963839 w 1090712"/>
              <a:gd name="connsiteY109" fmla="*/ 258499 h 895572"/>
              <a:gd name="connsiteX110" fmla="*/ 958612 w 1090712"/>
              <a:gd name="connsiteY110" fmla="*/ 258499 h 895572"/>
              <a:gd name="connsiteX111" fmla="*/ 953622 w 1090712"/>
              <a:gd name="connsiteY111" fmla="*/ 257786 h 895572"/>
              <a:gd name="connsiteX112" fmla="*/ 970966 w 1090712"/>
              <a:gd name="connsiteY112" fmla="*/ 244006 h 895572"/>
              <a:gd name="connsiteX113" fmla="*/ 990211 w 1090712"/>
              <a:gd name="connsiteY113" fmla="*/ 229275 h 895572"/>
              <a:gd name="connsiteX114" fmla="*/ 1010169 w 1090712"/>
              <a:gd name="connsiteY114" fmla="*/ 214069 h 895572"/>
              <a:gd name="connsiteX115" fmla="*/ 1020385 w 1090712"/>
              <a:gd name="connsiteY115" fmla="*/ 206942 h 895572"/>
              <a:gd name="connsiteX116" fmla="*/ 389581 w 1090712"/>
              <a:gd name="connsiteY116" fmla="*/ 176768 h 895572"/>
              <a:gd name="connsiteX117" fmla="*/ 397422 w 1090712"/>
              <a:gd name="connsiteY117" fmla="*/ 177243 h 895572"/>
              <a:gd name="connsiteX118" fmla="*/ 414766 w 1090712"/>
              <a:gd name="connsiteY118" fmla="*/ 178906 h 895572"/>
              <a:gd name="connsiteX119" fmla="*/ 405500 w 1090712"/>
              <a:gd name="connsiteY119" fmla="*/ 179856 h 895572"/>
              <a:gd name="connsiteX120" fmla="*/ 396946 w 1090712"/>
              <a:gd name="connsiteY120" fmla="*/ 181995 h 895572"/>
              <a:gd name="connsiteX121" fmla="*/ 389581 w 1090712"/>
              <a:gd name="connsiteY121" fmla="*/ 184371 h 895572"/>
              <a:gd name="connsiteX122" fmla="*/ 381978 w 1090712"/>
              <a:gd name="connsiteY122" fmla="*/ 186984 h 895572"/>
              <a:gd name="connsiteX123" fmla="*/ 375326 w 1090712"/>
              <a:gd name="connsiteY123" fmla="*/ 190548 h 895572"/>
              <a:gd name="connsiteX124" fmla="*/ 368911 w 1090712"/>
              <a:gd name="connsiteY124" fmla="*/ 194112 h 895572"/>
              <a:gd name="connsiteX125" fmla="*/ 363208 w 1090712"/>
              <a:gd name="connsiteY125" fmla="*/ 198626 h 895572"/>
              <a:gd name="connsiteX126" fmla="*/ 357981 w 1090712"/>
              <a:gd name="connsiteY126" fmla="*/ 202903 h 895572"/>
              <a:gd name="connsiteX127" fmla="*/ 352517 w 1090712"/>
              <a:gd name="connsiteY127" fmla="*/ 208367 h 895572"/>
              <a:gd name="connsiteX128" fmla="*/ 348003 w 1090712"/>
              <a:gd name="connsiteY128" fmla="*/ 214070 h 895572"/>
              <a:gd name="connsiteX129" fmla="*/ 343726 w 1090712"/>
              <a:gd name="connsiteY129" fmla="*/ 220247 h 895572"/>
              <a:gd name="connsiteX130" fmla="*/ 339687 w 1090712"/>
              <a:gd name="connsiteY130" fmla="*/ 226662 h 895572"/>
              <a:gd name="connsiteX131" fmla="*/ 335648 w 1090712"/>
              <a:gd name="connsiteY131" fmla="*/ 233790 h 895572"/>
              <a:gd name="connsiteX132" fmla="*/ 332559 w 1090712"/>
              <a:gd name="connsiteY132" fmla="*/ 240917 h 895572"/>
              <a:gd name="connsiteX133" fmla="*/ 328995 w 1090712"/>
              <a:gd name="connsiteY133" fmla="*/ 248758 h 895572"/>
              <a:gd name="connsiteX134" fmla="*/ 325907 w 1090712"/>
              <a:gd name="connsiteY134" fmla="*/ 256836 h 895572"/>
              <a:gd name="connsiteX135" fmla="*/ 325432 w 1090712"/>
              <a:gd name="connsiteY135" fmla="*/ 252797 h 895572"/>
              <a:gd name="connsiteX136" fmla="*/ 324956 w 1090712"/>
              <a:gd name="connsiteY136" fmla="*/ 248283 h 895572"/>
              <a:gd name="connsiteX137" fmla="*/ 323056 w 1090712"/>
              <a:gd name="connsiteY137" fmla="*/ 239492 h 895572"/>
              <a:gd name="connsiteX138" fmla="*/ 320917 w 1090712"/>
              <a:gd name="connsiteY138" fmla="*/ 229275 h 895572"/>
              <a:gd name="connsiteX139" fmla="*/ 320442 w 1090712"/>
              <a:gd name="connsiteY139" fmla="*/ 223811 h 895572"/>
              <a:gd name="connsiteX140" fmla="*/ 319967 w 1090712"/>
              <a:gd name="connsiteY140" fmla="*/ 217633 h 895572"/>
              <a:gd name="connsiteX141" fmla="*/ 314740 w 1090712"/>
              <a:gd name="connsiteY141" fmla="*/ 217633 h 895572"/>
              <a:gd name="connsiteX142" fmla="*/ 302148 w 1090712"/>
              <a:gd name="connsiteY142" fmla="*/ 243056 h 895572"/>
              <a:gd name="connsiteX143" fmla="*/ 289793 w 1090712"/>
              <a:gd name="connsiteY143" fmla="*/ 267528 h 895572"/>
              <a:gd name="connsiteX144" fmla="*/ 277438 w 1090712"/>
              <a:gd name="connsiteY144" fmla="*/ 291049 h 895572"/>
              <a:gd name="connsiteX145" fmla="*/ 264371 w 1090712"/>
              <a:gd name="connsiteY145" fmla="*/ 312907 h 895572"/>
              <a:gd name="connsiteX146" fmla="*/ 267459 w 1090712"/>
              <a:gd name="connsiteY146" fmla="*/ 295088 h 895572"/>
              <a:gd name="connsiteX147" fmla="*/ 271023 w 1090712"/>
              <a:gd name="connsiteY147" fmla="*/ 279170 h 895572"/>
              <a:gd name="connsiteX148" fmla="*/ 274587 w 1090712"/>
              <a:gd name="connsiteY148" fmla="*/ 263964 h 895572"/>
              <a:gd name="connsiteX149" fmla="*/ 279101 w 1090712"/>
              <a:gd name="connsiteY149" fmla="*/ 250183 h 895572"/>
              <a:gd name="connsiteX150" fmla="*/ 284091 w 1090712"/>
              <a:gd name="connsiteY150" fmla="*/ 238066 h 895572"/>
              <a:gd name="connsiteX151" fmla="*/ 289318 w 1090712"/>
              <a:gd name="connsiteY151" fmla="*/ 226900 h 895572"/>
              <a:gd name="connsiteX152" fmla="*/ 292406 w 1090712"/>
              <a:gd name="connsiteY152" fmla="*/ 221673 h 895572"/>
              <a:gd name="connsiteX153" fmla="*/ 295495 w 1090712"/>
              <a:gd name="connsiteY153" fmla="*/ 217158 h 895572"/>
              <a:gd name="connsiteX154" fmla="*/ 298584 w 1090712"/>
              <a:gd name="connsiteY154" fmla="*/ 212406 h 895572"/>
              <a:gd name="connsiteX155" fmla="*/ 302148 w 1090712"/>
              <a:gd name="connsiteY155" fmla="*/ 208367 h 895572"/>
              <a:gd name="connsiteX156" fmla="*/ 305711 w 1090712"/>
              <a:gd name="connsiteY156" fmla="*/ 204328 h 895572"/>
              <a:gd name="connsiteX157" fmla="*/ 309275 w 1090712"/>
              <a:gd name="connsiteY157" fmla="*/ 200765 h 895572"/>
              <a:gd name="connsiteX158" fmla="*/ 313314 w 1090712"/>
              <a:gd name="connsiteY158" fmla="*/ 197201 h 895572"/>
              <a:gd name="connsiteX159" fmla="*/ 317354 w 1090712"/>
              <a:gd name="connsiteY159" fmla="*/ 194112 h 895572"/>
              <a:gd name="connsiteX160" fmla="*/ 321868 w 1090712"/>
              <a:gd name="connsiteY160" fmla="*/ 191498 h 895572"/>
              <a:gd name="connsiteX161" fmla="*/ 326382 w 1090712"/>
              <a:gd name="connsiteY161" fmla="*/ 188647 h 895572"/>
              <a:gd name="connsiteX162" fmla="*/ 330659 w 1090712"/>
              <a:gd name="connsiteY162" fmla="*/ 186509 h 895572"/>
              <a:gd name="connsiteX163" fmla="*/ 335648 w 1090712"/>
              <a:gd name="connsiteY163" fmla="*/ 184371 h 895572"/>
              <a:gd name="connsiteX164" fmla="*/ 340637 w 1090712"/>
              <a:gd name="connsiteY164" fmla="*/ 182470 h 895572"/>
              <a:gd name="connsiteX165" fmla="*/ 345864 w 1090712"/>
              <a:gd name="connsiteY165" fmla="*/ 181282 h 895572"/>
              <a:gd name="connsiteX166" fmla="*/ 351091 w 1090712"/>
              <a:gd name="connsiteY166" fmla="*/ 179856 h 895572"/>
              <a:gd name="connsiteX167" fmla="*/ 357031 w 1090712"/>
              <a:gd name="connsiteY167" fmla="*/ 178431 h 895572"/>
              <a:gd name="connsiteX168" fmla="*/ 368911 w 1090712"/>
              <a:gd name="connsiteY168" fmla="*/ 177243 h 895572"/>
              <a:gd name="connsiteX169" fmla="*/ 381978 w 1090712"/>
              <a:gd name="connsiteY169" fmla="*/ 176768 h 895572"/>
              <a:gd name="connsiteX170" fmla="*/ 609353 w 1090712"/>
              <a:gd name="connsiteY170" fmla="*/ 174629 h 895572"/>
              <a:gd name="connsiteX171" fmla="*/ 602463 w 1090712"/>
              <a:gd name="connsiteY171" fmla="*/ 180807 h 895572"/>
              <a:gd name="connsiteX172" fmla="*/ 596285 w 1090712"/>
              <a:gd name="connsiteY172" fmla="*/ 187459 h 895572"/>
              <a:gd name="connsiteX173" fmla="*/ 583931 w 1090712"/>
              <a:gd name="connsiteY173" fmla="*/ 201715 h 895572"/>
              <a:gd name="connsiteX174" fmla="*/ 571101 w 1090712"/>
              <a:gd name="connsiteY174" fmla="*/ 215495 h 895572"/>
              <a:gd name="connsiteX175" fmla="*/ 564686 w 1090712"/>
              <a:gd name="connsiteY175" fmla="*/ 222148 h 895572"/>
              <a:gd name="connsiteX176" fmla="*/ 558508 w 1090712"/>
              <a:gd name="connsiteY176" fmla="*/ 228325 h 895572"/>
              <a:gd name="connsiteX177" fmla="*/ 557558 w 1090712"/>
              <a:gd name="connsiteY177" fmla="*/ 223335 h 895572"/>
              <a:gd name="connsiteX178" fmla="*/ 557083 w 1090712"/>
              <a:gd name="connsiteY178" fmla="*/ 219059 h 895572"/>
              <a:gd name="connsiteX179" fmla="*/ 557083 w 1090712"/>
              <a:gd name="connsiteY179" fmla="*/ 215020 h 895572"/>
              <a:gd name="connsiteX180" fmla="*/ 557558 w 1090712"/>
              <a:gd name="connsiteY180" fmla="*/ 210981 h 895572"/>
              <a:gd name="connsiteX181" fmla="*/ 558508 w 1090712"/>
              <a:gd name="connsiteY181" fmla="*/ 207417 h 895572"/>
              <a:gd name="connsiteX182" fmla="*/ 560409 w 1090712"/>
              <a:gd name="connsiteY182" fmla="*/ 203853 h 895572"/>
              <a:gd name="connsiteX183" fmla="*/ 562072 w 1090712"/>
              <a:gd name="connsiteY183" fmla="*/ 200764 h 895572"/>
              <a:gd name="connsiteX184" fmla="*/ 564686 w 1090712"/>
              <a:gd name="connsiteY184" fmla="*/ 197676 h 895572"/>
              <a:gd name="connsiteX185" fmla="*/ 567774 w 1090712"/>
              <a:gd name="connsiteY185" fmla="*/ 194587 h 895572"/>
              <a:gd name="connsiteX186" fmla="*/ 571813 w 1090712"/>
              <a:gd name="connsiteY186" fmla="*/ 191973 h 895572"/>
              <a:gd name="connsiteX187" fmla="*/ 576328 w 1090712"/>
              <a:gd name="connsiteY187" fmla="*/ 188647 h 895572"/>
              <a:gd name="connsiteX188" fmla="*/ 581317 w 1090712"/>
              <a:gd name="connsiteY188" fmla="*/ 186034 h 895572"/>
              <a:gd name="connsiteX189" fmla="*/ 587019 w 1090712"/>
              <a:gd name="connsiteY189" fmla="*/ 183420 h 895572"/>
              <a:gd name="connsiteX190" fmla="*/ 593672 w 1090712"/>
              <a:gd name="connsiteY190" fmla="*/ 180332 h 895572"/>
              <a:gd name="connsiteX191" fmla="*/ 586544 w 1090712"/>
              <a:gd name="connsiteY191" fmla="*/ 0 h 895572"/>
              <a:gd name="connsiteX192" fmla="*/ 570150 w 1090712"/>
              <a:gd name="connsiteY192" fmla="*/ 2851 h 895572"/>
              <a:gd name="connsiteX193" fmla="*/ 553519 w 1090712"/>
              <a:gd name="connsiteY193" fmla="*/ 5940 h 895572"/>
              <a:gd name="connsiteX194" fmla="*/ 536650 w 1090712"/>
              <a:gd name="connsiteY194" fmla="*/ 10454 h 895572"/>
              <a:gd name="connsiteX195" fmla="*/ 520256 w 1090712"/>
              <a:gd name="connsiteY195" fmla="*/ 14731 h 895572"/>
              <a:gd name="connsiteX196" fmla="*/ 486993 w 1090712"/>
              <a:gd name="connsiteY196" fmla="*/ 24472 h 895572"/>
              <a:gd name="connsiteX197" fmla="*/ 469887 w 1090712"/>
              <a:gd name="connsiteY197" fmla="*/ 28986 h 895572"/>
              <a:gd name="connsiteX198" fmla="*/ 453493 w 1090712"/>
              <a:gd name="connsiteY198" fmla="*/ 33500 h 895572"/>
              <a:gd name="connsiteX199" fmla="*/ 438762 w 1090712"/>
              <a:gd name="connsiteY199" fmla="*/ 40153 h 895572"/>
              <a:gd name="connsiteX200" fmla="*/ 424507 w 1090712"/>
              <a:gd name="connsiteY200" fmla="*/ 47281 h 895572"/>
              <a:gd name="connsiteX201" fmla="*/ 417379 w 1090712"/>
              <a:gd name="connsiteY201" fmla="*/ 51320 h 895572"/>
              <a:gd name="connsiteX202" fmla="*/ 410727 w 1090712"/>
              <a:gd name="connsiteY202" fmla="*/ 55834 h 895572"/>
              <a:gd name="connsiteX203" fmla="*/ 403599 w 1090712"/>
              <a:gd name="connsiteY203" fmla="*/ 60111 h 895572"/>
              <a:gd name="connsiteX204" fmla="*/ 397422 w 1090712"/>
              <a:gd name="connsiteY204" fmla="*/ 65100 h 895572"/>
              <a:gd name="connsiteX205" fmla="*/ 390769 w 1090712"/>
              <a:gd name="connsiteY205" fmla="*/ 69852 h 895572"/>
              <a:gd name="connsiteX206" fmla="*/ 384592 w 1090712"/>
              <a:gd name="connsiteY206" fmla="*/ 75792 h 895572"/>
              <a:gd name="connsiteX207" fmla="*/ 378889 w 1090712"/>
              <a:gd name="connsiteY207" fmla="*/ 81494 h 895572"/>
              <a:gd name="connsiteX208" fmla="*/ 372950 w 1090712"/>
              <a:gd name="connsiteY208" fmla="*/ 87671 h 895572"/>
              <a:gd name="connsiteX209" fmla="*/ 367723 w 1090712"/>
              <a:gd name="connsiteY209" fmla="*/ 94324 h 895572"/>
              <a:gd name="connsiteX210" fmla="*/ 362733 w 1090712"/>
              <a:gd name="connsiteY210" fmla="*/ 101452 h 895572"/>
              <a:gd name="connsiteX211" fmla="*/ 357981 w 1090712"/>
              <a:gd name="connsiteY211" fmla="*/ 109055 h 895572"/>
              <a:gd name="connsiteX212" fmla="*/ 353467 w 1090712"/>
              <a:gd name="connsiteY212" fmla="*/ 117608 h 895572"/>
              <a:gd name="connsiteX213" fmla="*/ 409064 w 1090712"/>
              <a:gd name="connsiteY213" fmla="*/ 117608 h 895572"/>
              <a:gd name="connsiteX214" fmla="*/ 406925 w 1090712"/>
              <a:gd name="connsiteY214" fmla="*/ 119271 h 895572"/>
              <a:gd name="connsiteX215" fmla="*/ 404074 w 1090712"/>
              <a:gd name="connsiteY215" fmla="*/ 121647 h 895572"/>
              <a:gd name="connsiteX216" fmla="*/ 400510 w 1090712"/>
              <a:gd name="connsiteY216" fmla="*/ 123310 h 895572"/>
              <a:gd name="connsiteX217" fmla="*/ 397422 w 1090712"/>
              <a:gd name="connsiteY217" fmla="*/ 125211 h 895572"/>
              <a:gd name="connsiteX218" fmla="*/ 393383 w 1090712"/>
              <a:gd name="connsiteY218" fmla="*/ 126399 h 895572"/>
              <a:gd name="connsiteX219" fmla="*/ 389581 w 1090712"/>
              <a:gd name="connsiteY219" fmla="*/ 127824 h 895572"/>
              <a:gd name="connsiteX220" fmla="*/ 385542 w 1090712"/>
              <a:gd name="connsiteY220" fmla="*/ 128299 h 895572"/>
              <a:gd name="connsiteX221" fmla="*/ 381503 w 1090712"/>
              <a:gd name="connsiteY221" fmla="*/ 128774 h 895572"/>
              <a:gd name="connsiteX222" fmla="*/ 375326 w 1090712"/>
              <a:gd name="connsiteY222" fmla="*/ 130438 h 895572"/>
              <a:gd name="connsiteX223" fmla="*/ 368435 w 1090712"/>
              <a:gd name="connsiteY223" fmla="*/ 131863 h 895572"/>
              <a:gd name="connsiteX224" fmla="*/ 361783 w 1090712"/>
              <a:gd name="connsiteY224" fmla="*/ 133051 h 895572"/>
              <a:gd name="connsiteX225" fmla="*/ 355606 w 1090712"/>
              <a:gd name="connsiteY225" fmla="*/ 134001 h 895572"/>
              <a:gd name="connsiteX226" fmla="*/ 342300 w 1090712"/>
              <a:gd name="connsiteY226" fmla="*/ 135427 h 895572"/>
              <a:gd name="connsiteX227" fmla="*/ 329471 w 1090712"/>
              <a:gd name="connsiteY227" fmla="*/ 137090 h 895572"/>
              <a:gd name="connsiteX228" fmla="*/ 322818 w 1090712"/>
              <a:gd name="connsiteY228" fmla="*/ 138040 h 895572"/>
              <a:gd name="connsiteX229" fmla="*/ 316403 w 1090712"/>
              <a:gd name="connsiteY229" fmla="*/ 139704 h 895572"/>
              <a:gd name="connsiteX230" fmla="*/ 310226 w 1090712"/>
              <a:gd name="connsiteY230" fmla="*/ 141604 h 895572"/>
              <a:gd name="connsiteX231" fmla="*/ 304048 w 1090712"/>
              <a:gd name="connsiteY231" fmla="*/ 144218 h 895572"/>
              <a:gd name="connsiteX232" fmla="*/ 298346 w 1090712"/>
              <a:gd name="connsiteY232" fmla="*/ 147307 h 895572"/>
              <a:gd name="connsiteX233" fmla="*/ 292406 w 1090712"/>
              <a:gd name="connsiteY233" fmla="*/ 151346 h 895572"/>
              <a:gd name="connsiteX234" fmla="*/ 286704 w 1090712"/>
              <a:gd name="connsiteY234" fmla="*/ 156335 h 895572"/>
              <a:gd name="connsiteX235" fmla="*/ 281240 w 1090712"/>
              <a:gd name="connsiteY235" fmla="*/ 162037 h 895572"/>
              <a:gd name="connsiteX236" fmla="*/ 262232 w 1090712"/>
              <a:gd name="connsiteY236" fmla="*/ 182945 h 895572"/>
              <a:gd name="connsiteX237" fmla="*/ 242987 w 1090712"/>
              <a:gd name="connsiteY237" fmla="*/ 203378 h 895572"/>
              <a:gd name="connsiteX238" fmla="*/ 203547 w 1090712"/>
              <a:gd name="connsiteY238" fmla="*/ 244006 h 895572"/>
              <a:gd name="connsiteX239" fmla="*/ 183827 w 1090712"/>
              <a:gd name="connsiteY239" fmla="*/ 264439 h 895572"/>
              <a:gd name="connsiteX240" fmla="*/ 164345 w 1090712"/>
              <a:gd name="connsiteY240" fmla="*/ 285822 h 895572"/>
              <a:gd name="connsiteX241" fmla="*/ 144862 w 1090712"/>
              <a:gd name="connsiteY241" fmla="*/ 307443 h 895572"/>
              <a:gd name="connsiteX242" fmla="*/ 126093 w 1090712"/>
              <a:gd name="connsiteY242" fmla="*/ 329777 h 895572"/>
              <a:gd name="connsiteX243" fmla="*/ 122054 w 1090712"/>
              <a:gd name="connsiteY243" fmla="*/ 335004 h 895572"/>
              <a:gd name="connsiteX244" fmla="*/ 118015 w 1090712"/>
              <a:gd name="connsiteY244" fmla="*/ 340468 h 895572"/>
              <a:gd name="connsiteX245" fmla="*/ 110887 w 1090712"/>
              <a:gd name="connsiteY245" fmla="*/ 352110 h 895572"/>
              <a:gd name="connsiteX246" fmla="*/ 104709 w 1090712"/>
              <a:gd name="connsiteY246" fmla="*/ 363514 h 895572"/>
              <a:gd name="connsiteX247" fmla="*/ 99007 w 1090712"/>
              <a:gd name="connsiteY247" fmla="*/ 375156 h 895572"/>
              <a:gd name="connsiteX248" fmla="*/ 87840 w 1090712"/>
              <a:gd name="connsiteY248" fmla="*/ 400103 h 895572"/>
              <a:gd name="connsiteX249" fmla="*/ 82138 w 1090712"/>
              <a:gd name="connsiteY249" fmla="*/ 412458 h 895572"/>
              <a:gd name="connsiteX250" fmla="*/ 75723 w 1090712"/>
              <a:gd name="connsiteY250" fmla="*/ 425050 h 895572"/>
              <a:gd name="connsiteX251" fmla="*/ 75723 w 1090712"/>
              <a:gd name="connsiteY251" fmla="*/ 429802 h 895572"/>
              <a:gd name="connsiteX252" fmla="*/ 76674 w 1090712"/>
              <a:gd name="connsiteY252" fmla="*/ 436217 h 895572"/>
              <a:gd name="connsiteX253" fmla="*/ 77149 w 1090712"/>
              <a:gd name="connsiteY253" fmla="*/ 439306 h 895572"/>
              <a:gd name="connsiteX254" fmla="*/ 78574 w 1090712"/>
              <a:gd name="connsiteY254" fmla="*/ 442395 h 895572"/>
              <a:gd name="connsiteX255" fmla="*/ 79762 w 1090712"/>
              <a:gd name="connsiteY255" fmla="*/ 445008 h 895572"/>
              <a:gd name="connsiteX256" fmla="*/ 81663 w 1090712"/>
              <a:gd name="connsiteY256" fmla="*/ 447147 h 895572"/>
              <a:gd name="connsiteX257" fmla="*/ 94018 w 1090712"/>
              <a:gd name="connsiteY257" fmla="*/ 468055 h 895572"/>
              <a:gd name="connsiteX258" fmla="*/ 106848 w 1090712"/>
              <a:gd name="connsiteY258" fmla="*/ 488963 h 895572"/>
              <a:gd name="connsiteX259" fmla="*/ 113975 w 1090712"/>
              <a:gd name="connsiteY259" fmla="*/ 499654 h 895572"/>
              <a:gd name="connsiteX260" fmla="*/ 121103 w 1090712"/>
              <a:gd name="connsiteY260" fmla="*/ 510346 h 895572"/>
              <a:gd name="connsiteX261" fmla="*/ 128706 w 1090712"/>
              <a:gd name="connsiteY261" fmla="*/ 520562 h 895572"/>
              <a:gd name="connsiteX262" fmla="*/ 137259 w 1090712"/>
              <a:gd name="connsiteY262" fmla="*/ 531254 h 895572"/>
              <a:gd name="connsiteX263" fmla="*/ 149614 w 1090712"/>
              <a:gd name="connsiteY263" fmla="*/ 514385 h 895572"/>
              <a:gd name="connsiteX264" fmla="*/ 162206 w 1090712"/>
              <a:gd name="connsiteY264" fmla="*/ 498466 h 895572"/>
              <a:gd name="connsiteX265" fmla="*/ 174561 w 1090712"/>
              <a:gd name="connsiteY265" fmla="*/ 483260 h 895572"/>
              <a:gd name="connsiteX266" fmla="*/ 180739 w 1090712"/>
              <a:gd name="connsiteY266" fmla="*/ 476133 h 895572"/>
              <a:gd name="connsiteX267" fmla="*/ 186916 w 1090712"/>
              <a:gd name="connsiteY267" fmla="*/ 469480 h 895572"/>
              <a:gd name="connsiteX268" fmla="*/ 182639 w 1090712"/>
              <a:gd name="connsiteY268" fmla="*/ 482310 h 895572"/>
              <a:gd name="connsiteX269" fmla="*/ 178125 w 1090712"/>
              <a:gd name="connsiteY269" fmla="*/ 495615 h 895572"/>
              <a:gd name="connsiteX270" fmla="*/ 172423 w 1090712"/>
              <a:gd name="connsiteY270" fmla="*/ 509871 h 895572"/>
              <a:gd name="connsiteX271" fmla="*/ 164820 w 1090712"/>
              <a:gd name="connsiteY271" fmla="*/ 525552 h 895572"/>
              <a:gd name="connsiteX272" fmla="*/ 156267 w 1090712"/>
              <a:gd name="connsiteY272" fmla="*/ 538381 h 895572"/>
              <a:gd name="connsiteX273" fmla="*/ 152703 w 1090712"/>
              <a:gd name="connsiteY273" fmla="*/ 544559 h 895572"/>
              <a:gd name="connsiteX274" fmla="*/ 148664 w 1090712"/>
              <a:gd name="connsiteY274" fmla="*/ 551449 h 895572"/>
              <a:gd name="connsiteX275" fmla="*/ 145100 w 1090712"/>
              <a:gd name="connsiteY275" fmla="*/ 558339 h 895572"/>
              <a:gd name="connsiteX276" fmla="*/ 142011 w 1090712"/>
              <a:gd name="connsiteY276" fmla="*/ 565467 h 895572"/>
              <a:gd name="connsiteX277" fmla="*/ 139398 w 1090712"/>
              <a:gd name="connsiteY277" fmla="*/ 573070 h 895572"/>
              <a:gd name="connsiteX278" fmla="*/ 137259 w 1090712"/>
              <a:gd name="connsiteY278" fmla="*/ 581623 h 895572"/>
              <a:gd name="connsiteX279" fmla="*/ 136309 w 1090712"/>
              <a:gd name="connsiteY279" fmla="*/ 583761 h 895572"/>
              <a:gd name="connsiteX280" fmla="*/ 135359 w 1090712"/>
              <a:gd name="connsiteY280" fmla="*/ 586137 h 895572"/>
              <a:gd name="connsiteX281" fmla="*/ 134883 w 1090712"/>
              <a:gd name="connsiteY281" fmla="*/ 590889 h 895572"/>
              <a:gd name="connsiteX282" fmla="*/ 134883 w 1090712"/>
              <a:gd name="connsiteY282" fmla="*/ 595879 h 895572"/>
              <a:gd name="connsiteX283" fmla="*/ 135359 w 1090712"/>
              <a:gd name="connsiteY283" fmla="*/ 601106 h 895572"/>
              <a:gd name="connsiteX284" fmla="*/ 136784 w 1090712"/>
              <a:gd name="connsiteY284" fmla="*/ 606095 h 895572"/>
              <a:gd name="connsiteX285" fmla="*/ 138447 w 1090712"/>
              <a:gd name="connsiteY285" fmla="*/ 611322 h 895572"/>
              <a:gd name="connsiteX286" fmla="*/ 140348 w 1090712"/>
              <a:gd name="connsiteY286" fmla="*/ 616311 h 895572"/>
              <a:gd name="connsiteX287" fmla="*/ 142486 w 1090712"/>
              <a:gd name="connsiteY287" fmla="*/ 620826 h 895572"/>
              <a:gd name="connsiteX288" fmla="*/ 148664 w 1090712"/>
              <a:gd name="connsiteY288" fmla="*/ 629616 h 895572"/>
              <a:gd name="connsiteX289" fmla="*/ 155554 w 1090712"/>
              <a:gd name="connsiteY289" fmla="*/ 637219 h 895572"/>
              <a:gd name="connsiteX290" fmla="*/ 162444 w 1090712"/>
              <a:gd name="connsiteY290" fmla="*/ 643872 h 895572"/>
              <a:gd name="connsiteX291" fmla="*/ 169572 w 1090712"/>
              <a:gd name="connsiteY291" fmla="*/ 649099 h 895572"/>
              <a:gd name="connsiteX292" fmla="*/ 177175 w 1090712"/>
              <a:gd name="connsiteY292" fmla="*/ 653613 h 895572"/>
              <a:gd name="connsiteX293" fmla="*/ 184778 w 1090712"/>
              <a:gd name="connsiteY293" fmla="*/ 657177 h 895572"/>
              <a:gd name="connsiteX294" fmla="*/ 192856 w 1090712"/>
              <a:gd name="connsiteY294" fmla="*/ 659553 h 895572"/>
              <a:gd name="connsiteX295" fmla="*/ 200934 w 1090712"/>
              <a:gd name="connsiteY295" fmla="*/ 661216 h 895572"/>
              <a:gd name="connsiteX296" fmla="*/ 209250 w 1090712"/>
              <a:gd name="connsiteY296" fmla="*/ 661691 h 895572"/>
              <a:gd name="connsiteX297" fmla="*/ 218278 w 1090712"/>
              <a:gd name="connsiteY297" fmla="*/ 661691 h 895572"/>
              <a:gd name="connsiteX298" fmla="*/ 227069 w 1090712"/>
              <a:gd name="connsiteY298" fmla="*/ 660266 h 895572"/>
              <a:gd name="connsiteX299" fmla="*/ 236335 w 1090712"/>
              <a:gd name="connsiteY299" fmla="*/ 658603 h 895572"/>
              <a:gd name="connsiteX300" fmla="*/ 245838 w 1090712"/>
              <a:gd name="connsiteY300" fmla="*/ 655514 h 895572"/>
              <a:gd name="connsiteX301" fmla="*/ 255580 w 1090712"/>
              <a:gd name="connsiteY301" fmla="*/ 652425 h 895572"/>
              <a:gd name="connsiteX302" fmla="*/ 265321 w 1090712"/>
              <a:gd name="connsiteY302" fmla="*/ 647911 h 895572"/>
              <a:gd name="connsiteX303" fmla="*/ 276013 w 1090712"/>
              <a:gd name="connsiteY303" fmla="*/ 642922 h 895572"/>
              <a:gd name="connsiteX304" fmla="*/ 288367 w 1090712"/>
              <a:gd name="connsiteY304" fmla="*/ 635081 h 895572"/>
              <a:gd name="connsiteX305" fmla="*/ 301910 w 1090712"/>
              <a:gd name="connsiteY305" fmla="*/ 627478 h 895572"/>
              <a:gd name="connsiteX306" fmla="*/ 315215 w 1090712"/>
              <a:gd name="connsiteY306" fmla="*/ 620350 h 895572"/>
              <a:gd name="connsiteX307" fmla="*/ 329471 w 1090712"/>
              <a:gd name="connsiteY307" fmla="*/ 613698 h 895572"/>
              <a:gd name="connsiteX308" fmla="*/ 343726 w 1090712"/>
              <a:gd name="connsiteY308" fmla="*/ 607283 h 895572"/>
              <a:gd name="connsiteX309" fmla="*/ 357981 w 1090712"/>
              <a:gd name="connsiteY309" fmla="*/ 602056 h 895572"/>
              <a:gd name="connsiteX310" fmla="*/ 371999 w 1090712"/>
              <a:gd name="connsiteY310" fmla="*/ 597066 h 895572"/>
              <a:gd name="connsiteX311" fmla="*/ 386730 w 1090712"/>
              <a:gd name="connsiteY311" fmla="*/ 592790 h 895572"/>
              <a:gd name="connsiteX312" fmla="*/ 394808 w 1090712"/>
              <a:gd name="connsiteY312" fmla="*/ 590414 h 895572"/>
              <a:gd name="connsiteX313" fmla="*/ 402411 w 1090712"/>
              <a:gd name="connsiteY313" fmla="*/ 587325 h 895572"/>
              <a:gd name="connsiteX314" fmla="*/ 409064 w 1090712"/>
              <a:gd name="connsiteY314" fmla="*/ 583761 h 895572"/>
              <a:gd name="connsiteX315" fmla="*/ 411677 w 1090712"/>
              <a:gd name="connsiteY315" fmla="*/ 581623 h 895572"/>
              <a:gd name="connsiteX316" fmla="*/ 414766 w 1090712"/>
              <a:gd name="connsiteY316" fmla="*/ 579247 h 895572"/>
              <a:gd name="connsiteX317" fmla="*/ 417142 w 1090712"/>
              <a:gd name="connsiteY317" fmla="*/ 577109 h 895572"/>
              <a:gd name="connsiteX318" fmla="*/ 419280 w 1090712"/>
              <a:gd name="connsiteY318" fmla="*/ 574495 h 895572"/>
              <a:gd name="connsiteX319" fmla="*/ 420943 w 1090712"/>
              <a:gd name="connsiteY319" fmla="*/ 571407 h 895572"/>
              <a:gd name="connsiteX320" fmla="*/ 422844 w 1090712"/>
              <a:gd name="connsiteY320" fmla="*/ 568318 h 895572"/>
              <a:gd name="connsiteX321" fmla="*/ 424269 w 1090712"/>
              <a:gd name="connsiteY321" fmla="*/ 565229 h 895572"/>
              <a:gd name="connsiteX322" fmla="*/ 424982 w 1090712"/>
              <a:gd name="connsiteY322" fmla="*/ 561665 h 895572"/>
              <a:gd name="connsiteX323" fmla="*/ 425457 w 1090712"/>
              <a:gd name="connsiteY323" fmla="*/ 557626 h 895572"/>
              <a:gd name="connsiteX324" fmla="*/ 425932 w 1090712"/>
              <a:gd name="connsiteY324" fmla="*/ 553587 h 895572"/>
              <a:gd name="connsiteX325" fmla="*/ 425932 w 1090712"/>
              <a:gd name="connsiteY325" fmla="*/ 413884 h 895572"/>
              <a:gd name="connsiteX326" fmla="*/ 425932 w 1090712"/>
              <a:gd name="connsiteY326" fmla="*/ 285347 h 895572"/>
              <a:gd name="connsiteX327" fmla="*/ 429496 w 1090712"/>
              <a:gd name="connsiteY327" fmla="*/ 300078 h 895572"/>
              <a:gd name="connsiteX328" fmla="*/ 433060 w 1090712"/>
              <a:gd name="connsiteY328" fmla="*/ 314096 h 895572"/>
              <a:gd name="connsiteX329" fmla="*/ 436149 w 1090712"/>
              <a:gd name="connsiteY329" fmla="*/ 328826 h 895572"/>
              <a:gd name="connsiteX330" fmla="*/ 438762 w 1090712"/>
              <a:gd name="connsiteY330" fmla="*/ 343082 h 895572"/>
              <a:gd name="connsiteX331" fmla="*/ 443752 w 1090712"/>
              <a:gd name="connsiteY331" fmla="*/ 370642 h 895572"/>
              <a:gd name="connsiteX332" fmla="*/ 447791 w 1090712"/>
              <a:gd name="connsiteY332" fmla="*/ 397015 h 895572"/>
              <a:gd name="connsiteX333" fmla="*/ 451830 w 1090712"/>
              <a:gd name="connsiteY333" fmla="*/ 421962 h 895572"/>
              <a:gd name="connsiteX334" fmla="*/ 454919 w 1090712"/>
              <a:gd name="connsiteY334" fmla="*/ 446434 h 895572"/>
              <a:gd name="connsiteX335" fmla="*/ 456106 w 1090712"/>
              <a:gd name="connsiteY335" fmla="*/ 458313 h 895572"/>
              <a:gd name="connsiteX336" fmla="*/ 457057 w 1090712"/>
              <a:gd name="connsiteY336" fmla="*/ 470430 h 895572"/>
              <a:gd name="connsiteX337" fmla="*/ 457532 w 1090712"/>
              <a:gd name="connsiteY337" fmla="*/ 482310 h 895572"/>
              <a:gd name="connsiteX338" fmla="*/ 457532 w 1090712"/>
              <a:gd name="connsiteY338" fmla="*/ 493952 h 895572"/>
              <a:gd name="connsiteX339" fmla="*/ 457532 w 1090712"/>
              <a:gd name="connsiteY339" fmla="*/ 506069 h 895572"/>
              <a:gd name="connsiteX340" fmla="*/ 456582 w 1090712"/>
              <a:gd name="connsiteY340" fmla="*/ 517473 h 895572"/>
              <a:gd name="connsiteX341" fmla="*/ 455869 w 1090712"/>
              <a:gd name="connsiteY341" fmla="*/ 529116 h 895572"/>
              <a:gd name="connsiteX342" fmla="*/ 453968 w 1090712"/>
              <a:gd name="connsiteY342" fmla="*/ 540757 h 895572"/>
              <a:gd name="connsiteX343" fmla="*/ 452305 w 1090712"/>
              <a:gd name="connsiteY343" fmla="*/ 552162 h 895572"/>
              <a:gd name="connsiteX344" fmla="*/ 449454 w 1090712"/>
              <a:gd name="connsiteY344" fmla="*/ 563804 h 895572"/>
              <a:gd name="connsiteX345" fmla="*/ 446365 w 1090712"/>
              <a:gd name="connsiteY345" fmla="*/ 575446 h 895572"/>
              <a:gd name="connsiteX346" fmla="*/ 442326 w 1090712"/>
              <a:gd name="connsiteY346" fmla="*/ 586850 h 895572"/>
              <a:gd name="connsiteX347" fmla="*/ 440188 w 1090712"/>
              <a:gd name="connsiteY347" fmla="*/ 591364 h 895572"/>
              <a:gd name="connsiteX348" fmla="*/ 437574 w 1090712"/>
              <a:gd name="connsiteY348" fmla="*/ 595403 h 895572"/>
              <a:gd name="connsiteX349" fmla="*/ 434486 w 1090712"/>
              <a:gd name="connsiteY349" fmla="*/ 598967 h 895572"/>
              <a:gd name="connsiteX350" fmla="*/ 431397 w 1090712"/>
              <a:gd name="connsiteY350" fmla="*/ 602531 h 895572"/>
              <a:gd name="connsiteX351" fmla="*/ 428071 w 1090712"/>
              <a:gd name="connsiteY351" fmla="*/ 605145 h 895572"/>
              <a:gd name="connsiteX352" fmla="*/ 424982 w 1090712"/>
              <a:gd name="connsiteY352" fmla="*/ 607283 h 895572"/>
              <a:gd name="connsiteX353" fmla="*/ 422369 w 1090712"/>
              <a:gd name="connsiteY353" fmla="*/ 608708 h 895572"/>
              <a:gd name="connsiteX354" fmla="*/ 420230 w 1090712"/>
              <a:gd name="connsiteY354" fmla="*/ 609659 h 895572"/>
              <a:gd name="connsiteX355" fmla="*/ 410727 w 1090712"/>
              <a:gd name="connsiteY355" fmla="*/ 610847 h 895572"/>
              <a:gd name="connsiteX356" fmla="*/ 401461 w 1090712"/>
              <a:gd name="connsiteY356" fmla="*/ 612748 h 895572"/>
              <a:gd name="connsiteX357" fmla="*/ 392670 w 1090712"/>
              <a:gd name="connsiteY357" fmla="*/ 614886 h 895572"/>
              <a:gd name="connsiteX358" fmla="*/ 383641 w 1090712"/>
              <a:gd name="connsiteY358" fmla="*/ 617262 h 895572"/>
              <a:gd name="connsiteX359" fmla="*/ 374850 w 1090712"/>
              <a:gd name="connsiteY359" fmla="*/ 620350 h 895572"/>
              <a:gd name="connsiteX360" fmla="*/ 365822 w 1090712"/>
              <a:gd name="connsiteY360" fmla="*/ 623914 h 895572"/>
              <a:gd name="connsiteX361" fmla="*/ 348478 w 1090712"/>
              <a:gd name="connsiteY361" fmla="*/ 631042 h 895572"/>
              <a:gd name="connsiteX362" fmla="*/ 331609 w 1090712"/>
              <a:gd name="connsiteY362" fmla="*/ 639358 h 895572"/>
              <a:gd name="connsiteX363" fmla="*/ 314740 w 1090712"/>
              <a:gd name="connsiteY363" fmla="*/ 647911 h 895572"/>
              <a:gd name="connsiteX364" fmla="*/ 281240 w 1090712"/>
              <a:gd name="connsiteY364" fmla="*/ 665255 h 895572"/>
              <a:gd name="connsiteX365" fmla="*/ 274587 w 1090712"/>
              <a:gd name="connsiteY365" fmla="*/ 669294 h 895572"/>
              <a:gd name="connsiteX366" fmla="*/ 267935 w 1090712"/>
              <a:gd name="connsiteY366" fmla="*/ 672858 h 895572"/>
              <a:gd name="connsiteX367" fmla="*/ 261757 w 1090712"/>
              <a:gd name="connsiteY367" fmla="*/ 675947 h 895572"/>
              <a:gd name="connsiteX368" fmla="*/ 255105 w 1090712"/>
              <a:gd name="connsiteY368" fmla="*/ 679035 h 895572"/>
              <a:gd name="connsiteX369" fmla="*/ 248927 w 1090712"/>
              <a:gd name="connsiteY369" fmla="*/ 681174 h 895572"/>
              <a:gd name="connsiteX370" fmla="*/ 242987 w 1090712"/>
              <a:gd name="connsiteY370" fmla="*/ 683075 h 895572"/>
              <a:gd name="connsiteX371" fmla="*/ 236810 w 1090712"/>
              <a:gd name="connsiteY371" fmla="*/ 684738 h 895572"/>
              <a:gd name="connsiteX372" fmla="*/ 231108 w 1090712"/>
              <a:gd name="connsiteY372" fmla="*/ 686163 h 895572"/>
              <a:gd name="connsiteX373" fmla="*/ 225406 w 1090712"/>
              <a:gd name="connsiteY373" fmla="*/ 687114 h 895572"/>
              <a:gd name="connsiteX374" fmla="*/ 219466 w 1090712"/>
              <a:gd name="connsiteY374" fmla="*/ 687589 h 895572"/>
              <a:gd name="connsiteX375" fmla="*/ 213764 w 1090712"/>
              <a:gd name="connsiteY375" fmla="*/ 687589 h 895572"/>
              <a:gd name="connsiteX376" fmla="*/ 208299 w 1090712"/>
              <a:gd name="connsiteY376" fmla="*/ 687589 h 895572"/>
              <a:gd name="connsiteX377" fmla="*/ 203072 w 1090712"/>
              <a:gd name="connsiteY377" fmla="*/ 687114 h 895572"/>
              <a:gd name="connsiteX378" fmla="*/ 197607 w 1090712"/>
              <a:gd name="connsiteY378" fmla="*/ 686163 h 895572"/>
              <a:gd name="connsiteX379" fmla="*/ 192380 w 1090712"/>
              <a:gd name="connsiteY379" fmla="*/ 684738 h 895572"/>
              <a:gd name="connsiteX380" fmla="*/ 186916 w 1090712"/>
              <a:gd name="connsiteY380" fmla="*/ 683550 h 895572"/>
              <a:gd name="connsiteX381" fmla="*/ 181689 w 1090712"/>
              <a:gd name="connsiteY381" fmla="*/ 681649 h 895572"/>
              <a:gd name="connsiteX382" fmla="*/ 176699 w 1090712"/>
              <a:gd name="connsiteY382" fmla="*/ 679986 h 895572"/>
              <a:gd name="connsiteX383" fmla="*/ 171472 w 1090712"/>
              <a:gd name="connsiteY383" fmla="*/ 677610 h 895572"/>
              <a:gd name="connsiteX384" fmla="*/ 166483 w 1090712"/>
              <a:gd name="connsiteY384" fmla="*/ 674996 h 895572"/>
              <a:gd name="connsiteX385" fmla="*/ 156742 w 1090712"/>
              <a:gd name="connsiteY385" fmla="*/ 669294 h 895572"/>
              <a:gd name="connsiteX386" fmla="*/ 147001 w 1090712"/>
              <a:gd name="connsiteY386" fmla="*/ 662167 h 895572"/>
              <a:gd name="connsiteX387" fmla="*/ 137735 w 1090712"/>
              <a:gd name="connsiteY387" fmla="*/ 654564 h 895572"/>
              <a:gd name="connsiteX388" fmla="*/ 127756 w 1090712"/>
              <a:gd name="connsiteY388" fmla="*/ 645535 h 895572"/>
              <a:gd name="connsiteX389" fmla="*/ 118490 w 1090712"/>
              <a:gd name="connsiteY389" fmla="*/ 636269 h 895572"/>
              <a:gd name="connsiteX390" fmla="*/ 109224 w 1090712"/>
              <a:gd name="connsiteY390" fmla="*/ 626053 h 895572"/>
              <a:gd name="connsiteX391" fmla="*/ 107323 w 1090712"/>
              <a:gd name="connsiteY391" fmla="*/ 623914 h 895572"/>
              <a:gd name="connsiteX392" fmla="*/ 106135 w 1090712"/>
              <a:gd name="connsiteY392" fmla="*/ 620350 h 895572"/>
              <a:gd name="connsiteX393" fmla="*/ 105185 w 1090712"/>
              <a:gd name="connsiteY393" fmla="*/ 616311 h 895572"/>
              <a:gd name="connsiteX394" fmla="*/ 105185 w 1090712"/>
              <a:gd name="connsiteY394" fmla="*/ 612272 h 895572"/>
              <a:gd name="connsiteX395" fmla="*/ 105185 w 1090712"/>
              <a:gd name="connsiteY395" fmla="*/ 608233 h 895572"/>
              <a:gd name="connsiteX396" fmla="*/ 106135 w 1090712"/>
              <a:gd name="connsiteY396" fmla="*/ 604194 h 895572"/>
              <a:gd name="connsiteX397" fmla="*/ 107323 w 1090712"/>
              <a:gd name="connsiteY397" fmla="*/ 600630 h 895572"/>
              <a:gd name="connsiteX398" fmla="*/ 109224 w 1090712"/>
              <a:gd name="connsiteY398" fmla="*/ 598017 h 895572"/>
              <a:gd name="connsiteX399" fmla="*/ 111837 w 1090712"/>
              <a:gd name="connsiteY399" fmla="*/ 591840 h 895572"/>
              <a:gd name="connsiteX400" fmla="*/ 113975 w 1090712"/>
              <a:gd name="connsiteY400" fmla="*/ 586137 h 895572"/>
              <a:gd name="connsiteX401" fmla="*/ 115401 w 1090712"/>
              <a:gd name="connsiteY401" fmla="*/ 579722 h 895572"/>
              <a:gd name="connsiteX402" fmla="*/ 115876 w 1090712"/>
              <a:gd name="connsiteY402" fmla="*/ 574020 h 895572"/>
              <a:gd name="connsiteX403" fmla="*/ 115876 w 1090712"/>
              <a:gd name="connsiteY403" fmla="*/ 568318 h 895572"/>
              <a:gd name="connsiteX404" fmla="*/ 115401 w 1090712"/>
              <a:gd name="connsiteY404" fmla="*/ 562378 h 895572"/>
              <a:gd name="connsiteX405" fmla="*/ 114451 w 1090712"/>
              <a:gd name="connsiteY405" fmla="*/ 557151 h 895572"/>
              <a:gd name="connsiteX406" fmla="*/ 112788 w 1090712"/>
              <a:gd name="connsiteY406" fmla="*/ 551449 h 895572"/>
              <a:gd name="connsiteX407" fmla="*/ 110412 w 1090712"/>
              <a:gd name="connsiteY407" fmla="*/ 545984 h 895572"/>
              <a:gd name="connsiteX408" fmla="*/ 108273 w 1090712"/>
              <a:gd name="connsiteY408" fmla="*/ 540757 h 895572"/>
              <a:gd name="connsiteX409" fmla="*/ 105185 w 1090712"/>
              <a:gd name="connsiteY409" fmla="*/ 535293 h 895572"/>
              <a:gd name="connsiteX410" fmla="*/ 102096 w 1090712"/>
              <a:gd name="connsiteY410" fmla="*/ 530066 h 895572"/>
              <a:gd name="connsiteX411" fmla="*/ 94968 w 1090712"/>
              <a:gd name="connsiteY411" fmla="*/ 519374 h 895572"/>
              <a:gd name="connsiteX412" fmla="*/ 86890 w 1090712"/>
              <a:gd name="connsiteY412" fmla="*/ 508683 h 895572"/>
              <a:gd name="connsiteX413" fmla="*/ 78812 w 1090712"/>
              <a:gd name="connsiteY413" fmla="*/ 497991 h 895572"/>
              <a:gd name="connsiteX414" fmla="*/ 70972 w 1090712"/>
              <a:gd name="connsiteY414" fmla="*/ 486824 h 895572"/>
              <a:gd name="connsiteX415" fmla="*/ 67408 w 1090712"/>
              <a:gd name="connsiteY415" fmla="*/ 481122 h 895572"/>
              <a:gd name="connsiteX416" fmla="*/ 64319 w 1090712"/>
              <a:gd name="connsiteY416" fmla="*/ 474707 h 895572"/>
              <a:gd name="connsiteX417" fmla="*/ 61230 w 1090712"/>
              <a:gd name="connsiteY417" fmla="*/ 469005 h 895572"/>
              <a:gd name="connsiteX418" fmla="*/ 58379 w 1090712"/>
              <a:gd name="connsiteY418" fmla="*/ 462828 h 895572"/>
              <a:gd name="connsiteX419" fmla="*/ 56716 w 1090712"/>
              <a:gd name="connsiteY419" fmla="*/ 456175 h 895572"/>
              <a:gd name="connsiteX420" fmla="*/ 54815 w 1090712"/>
              <a:gd name="connsiteY420" fmla="*/ 449998 h 895572"/>
              <a:gd name="connsiteX421" fmla="*/ 54103 w 1090712"/>
              <a:gd name="connsiteY421" fmla="*/ 443345 h 895572"/>
              <a:gd name="connsiteX422" fmla="*/ 53627 w 1090712"/>
              <a:gd name="connsiteY422" fmla="*/ 436455 h 895572"/>
              <a:gd name="connsiteX423" fmla="*/ 53627 w 1090712"/>
              <a:gd name="connsiteY423" fmla="*/ 429327 h 895572"/>
              <a:gd name="connsiteX424" fmla="*/ 54815 w 1090712"/>
              <a:gd name="connsiteY424" fmla="*/ 422675 h 895572"/>
              <a:gd name="connsiteX425" fmla="*/ 56716 w 1090712"/>
              <a:gd name="connsiteY425" fmla="*/ 415547 h 895572"/>
              <a:gd name="connsiteX426" fmla="*/ 59330 w 1090712"/>
              <a:gd name="connsiteY426" fmla="*/ 408182 h 895572"/>
              <a:gd name="connsiteX427" fmla="*/ 60280 w 1090712"/>
              <a:gd name="connsiteY427" fmla="*/ 403192 h 895572"/>
              <a:gd name="connsiteX428" fmla="*/ 61943 w 1090712"/>
              <a:gd name="connsiteY428" fmla="*/ 397965 h 895572"/>
              <a:gd name="connsiteX429" fmla="*/ 65507 w 1090712"/>
              <a:gd name="connsiteY429" fmla="*/ 387986 h 895572"/>
              <a:gd name="connsiteX430" fmla="*/ 69546 w 1090712"/>
              <a:gd name="connsiteY430" fmla="*/ 378720 h 895572"/>
              <a:gd name="connsiteX431" fmla="*/ 74535 w 1090712"/>
              <a:gd name="connsiteY431" fmla="*/ 369929 h 895572"/>
              <a:gd name="connsiteX432" fmla="*/ 79762 w 1090712"/>
              <a:gd name="connsiteY432" fmla="*/ 360901 h 895572"/>
              <a:gd name="connsiteX433" fmla="*/ 85940 w 1090712"/>
              <a:gd name="connsiteY433" fmla="*/ 352585 h 895572"/>
              <a:gd name="connsiteX434" fmla="*/ 98057 w 1090712"/>
              <a:gd name="connsiteY434" fmla="*/ 335479 h 895572"/>
              <a:gd name="connsiteX435" fmla="*/ 102571 w 1090712"/>
              <a:gd name="connsiteY435" fmla="*/ 328113 h 895572"/>
              <a:gd name="connsiteX436" fmla="*/ 106848 w 1090712"/>
              <a:gd name="connsiteY436" fmla="*/ 320986 h 895572"/>
              <a:gd name="connsiteX437" fmla="*/ 116827 w 1090712"/>
              <a:gd name="connsiteY437" fmla="*/ 307205 h 895572"/>
              <a:gd name="connsiteX438" fmla="*/ 127043 w 1090712"/>
              <a:gd name="connsiteY438" fmla="*/ 293188 h 895572"/>
              <a:gd name="connsiteX439" fmla="*/ 137735 w 1090712"/>
              <a:gd name="connsiteY439" fmla="*/ 279407 h 895572"/>
              <a:gd name="connsiteX440" fmla="*/ 159831 w 1090712"/>
              <a:gd name="connsiteY440" fmla="*/ 251847 h 895572"/>
              <a:gd name="connsiteX441" fmla="*/ 170522 w 1090712"/>
              <a:gd name="connsiteY441" fmla="*/ 238066 h 895572"/>
              <a:gd name="connsiteX442" fmla="*/ 181214 w 1090712"/>
              <a:gd name="connsiteY442" fmla="*/ 223336 h 895572"/>
              <a:gd name="connsiteX443" fmla="*/ 164820 w 1090712"/>
              <a:gd name="connsiteY443" fmla="*/ 223336 h 895572"/>
              <a:gd name="connsiteX444" fmla="*/ 137972 w 1090712"/>
              <a:gd name="connsiteY444" fmla="*/ 230226 h 895572"/>
              <a:gd name="connsiteX445" fmla="*/ 125142 w 1090712"/>
              <a:gd name="connsiteY445" fmla="*/ 233790 h 895572"/>
              <a:gd name="connsiteX446" fmla="*/ 112788 w 1090712"/>
              <a:gd name="connsiteY446" fmla="*/ 237591 h 895572"/>
              <a:gd name="connsiteX447" fmla="*/ 100195 w 1090712"/>
              <a:gd name="connsiteY447" fmla="*/ 241630 h 895572"/>
              <a:gd name="connsiteX448" fmla="*/ 87840 w 1090712"/>
              <a:gd name="connsiteY448" fmla="*/ 245669 h 895572"/>
              <a:gd name="connsiteX449" fmla="*/ 75723 w 1090712"/>
              <a:gd name="connsiteY449" fmla="*/ 250183 h 895572"/>
              <a:gd name="connsiteX450" fmla="*/ 64319 w 1090712"/>
              <a:gd name="connsiteY450" fmla="*/ 254935 h 895572"/>
              <a:gd name="connsiteX451" fmla="*/ 52677 w 1090712"/>
              <a:gd name="connsiteY451" fmla="*/ 260400 h 895572"/>
              <a:gd name="connsiteX452" fmla="*/ 41035 w 1090712"/>
              <a:gd name="connsiteY452" fmla="*/ 265627 h 895572"/>
              <a:gd name="connsiteX453" fmla="*/ 29868 w 1090712"/>
              <a:gd name="connsiteY453" fmla="*/ 271567 h 895572"/>
              <a:gd name="connsiteX454" fmla="*/ 18939 w 1090712"/>
              <a:gd name="connsiteY454" fmla="*/ 277744 h 895572"/>
              <a:gd name="connsiteX455" fmla="*/ 7772 w 1090712"/>
              <a:gd name="connsiteY455" fmla="*/ 284397 h 895572"/>
              <a:gd name="connsiteX456" fmla="*/ 0 w 1090712"/>
              <a:gd name="connsiteY456" fmla="*/ 289924 h 895572"/>
              <a:gd name="connsiteX457" fmla="*/ 0 w 1090712"/>
              <a:gd name="connsiteY457" fmla="*/ 895572 h 895572"/>
              <a:gd name="connsiteX458" fmla="*/ 125653 w 1090712"/>
              <a:gd name="connsiteY458" fmla="*/ 895572 h 895572"/>
              <a:gd name="connsiteX459" fmla="*/ 127756 w 1090712"/>
              <a:gd name="connsiteY459" fmla="*/ 892155 h 895572"/>
              <a:gd name="connsiteX460" fmla="*/ 131082 w 1090712"/>
              <a:gd name="connsiteY460" fmla="*/ 885502 h 895572"/>
              <a:gd name="connsiteX461" fmla="*/ 133696 w 1090712"/>
              <a:gd name="connsiteY461" fmla="*/ 878374 h 895572"/>
              <a:gd name="connsiteX462" fmla="*/ 135834 w 1090712"/>
              <a:gd name="connsiteY462" fmla="*/ 871722 h 895572"/>
              <a:gd name="connsiteX463" fmla="*/ 137735 w 1090712"/>
              <a:gd name="connsiteY463" fmla="*/ 864594 h 895572"/>
              <a:gd name="connsiteX464" fmla="*/ 138923 w 1090712"/>
              <a:gd name="connsiteY464" fmla="*/ 857466 h 895572"/>
              <a:gd name="connsiteX465" fmla="*/ 140348 w 1090712"/>
              <a:gd name="connsiteY465" fmla="*/ 850339 h 895572"/>
              <a:gd name="connsiteX466" fmla="*/ 141298 w 1090712"/>
              <a:gd name="connsiteY466" fmla="*/ 843211 h 895572"/>
              <a:gd name="connsiteX467" fmla="*/ 142011 w 1090712"/>
              <a:gd name="connsiteY467" fmla="*/ 828955 h 895572"/>
              <a:gd name="connsiteX468" fmla="*/ 142486 w 1090712"/>
              <a:gd name="connsiteY468" fmla="*/ 814225 h 895572"/>
              <a:gd name="connsiteX469" fmla="*/ 142486 w 1090712"/>
              <a:gd name="connsiteY469" fmla="*/ 799494 h 895572"/>
              <a:gd name="connsiteX470" fmla="*/ 142486 w 1090712"/>
              <a:gd name="connsiteY470" fmla="*/ 782625 h 895572"/>
              <a:gd name="connsiteX471" fmla="*/ 142486 w 1090712"/>
              <a:gd name="connsiteY471" fmla="*/ 771458 h 895572"/>
              <a:gd name="connsiteX472" fmla="*/ 143912 w 1090712"/>
              <a:gd name="connsiteY472" fmla="*/ 778586 h 895572"/>
              <a:gd name="connsiteX473" fmla="*/ 145100 w 1090712"/>
              <a:gd name="connsiteY473" fmla="*/ 784526 h 895572"/>
              <a:gd name="connsiteX474" fmla="*/ 147476 w 1090712"/>
              <a:gd name="connsiteY474" fmla="*/ 789753 h 895572"/>
              <a:gd name="connsiteX475" fmla="*/ 149614 w 1090712"/>
              <a:gd name="connsiteY475" fmla="*/ 794267 h 895572"/>
              <a:gd name="connsiteX476" fmla="*/ 152228 w 1090712"/>
              <a:gd name="connsiteY476" fmla="*/ 797831 h 895572"/>
              <a:gd name="connsiteX477" fmla="*/ 155554 w 1090712"/>
              <a:gd name="connsiteY477" fmla="*/ 801395 h 895572"/>
              <a:gd name="connsiteX478" fmla="*/ 158643 w 1090712"/>
              <a:gd name="connsiteY478" fmla="*/ 803533 h 895572"/>
              <a:gd name="connsiteX479" fmla="*/ 162206 w 1090712"/>
              <a:gd name="connsiteY479" fmla="*/ 805909 h 895572"/>
              <a:gd name="connsiteX480" fmla="*/ 165770 w 1090712"/>
              <a:gd name="connsiteY480" fmla="*/ 807572 h 895572"/>
              <a:gd name="connsiteX481" fmla="*/ 169572 w 1090712"/>
              <a:gd name="connsiteY481" fmla="*/ 808523 h 895572"/>
              <a:gd name="connsiteX482" fmla="*/ 174086 w 1090712"/>
              <a:gd name="connsiteY482" fmla="*/ 809473 h 895572"/>
              <a:gd name="connsiteX483" fmla="*/ 178600 w 1090712"/>
              <a:gd name="connsiteY483" fmla="*/ 810186 h 895572"/>
              <a:gd name="connsiteX484" fmla="*/ 187866 w 1090712"/>
              <a:gd name="connsiteY484" fmla="*/ 810661 h 895572"/>
              <a:gd name="connsiteX485" fmla="*/ 198083 w 1090712"/>
              <a:gd name="connsiteY485" fmla="*/ 810661 h 895572"/>
              <a:gd name="connsiteX486" fmla="*/ 236810 w 1090712"/>
              <a:gd name="connsiteY486" fmla="*/ 810661 h 895572"/>
              <a:gd name="connsiteX487" fmla="*/ 249640 w 1090712"/>
              <a:gd name="connsiteY487" fmla="*/ 811136 h 895572"/>
              <a:gd name="connsiteX488" fmla="*/ 263183 w 1090712"/>
              <a:gd name="connsiteY488" fmla="*/ 811611 h 895572"/>
              <a:gd name="connsiteX489" fmla="*/ 270310 w 1090712"/>
              <a:gd name="connsiteY489" fmla="*/ 811611 h 895572"/>
              <a:gd name="connsiteX490" fmla="*/ 276963 w 1090712"/>
              <a:gd name="connsiteY490" fmla="*/ 811136 h 895572"/>
              <a:gd name="connsiteX491" fmla="*/ 283140 w 1090712"/>
              <a:gd name="connsiteY491" fmla="*/ 810186 h 895572"/>
              <a:gd name="connsiteX492" fmla="*/ 289793 w 1090712"/>
              <a:gd name="connsiteY492" fmla="*/ 808523 h 895572"/>
              <a:gd name="connsiteX493" fmla="*/ 295495 w 1090712"/>
              <a:gd name="connsiteY493" fmla="*/ 806147 h 895572"/>
              <a:gd name="connsiteX494" fmla="*/ 301435 w 1090712"/>
              <a:gd name="connsiteY494" fmla="*/ 803058 h 895572"/>
              <a:gd name="connsiteX495" fmla="*/ 304524 w 1090712"/>
              <a:gd name="connsiteY495" fmla="*/ 801395 h 895572"/>
              <a:gd name="connsiteX496" fmla="*/ 307137 w 1090712"/>
              <a:gd name="connsiteY496" fmla="*/ 799256 h 895572"/>
              <a:gd name="connsiteX497" fmla="*/ 309275 w 1090712"/>
              <a:gd name="connsiteY497" fmla="*/ 796881 h 895572"/>
              <a:gd name="connsiteX498" fmla="*/ 312126 w 1090712"/>
              <a:gd name="connsiteY498" fmla="*/ 794267 h 895572"/>
              <a:gd name="connsiteX499" fmla="*/ 314265 w 1090712"/>
              <a:gd name="connsiteY499" fmla="*/ 791178 h 895572"/>
              <a:gd name="connsiteX500" fmla="*/ 316403 w 1090712"/>
              <a:gd name="connsiteY500" fmla="*/ 788090 h 895572"/>
              <a:gd name="connsiteX501" fmla="*/ 318304 w 1090712"/>
              <a:gd name="connsiteY501" fmla="*/ 784051 h 895572"/>
              <a:gd name="connsiteX502" fmla="*/ 319967 w 1090712"/>
              <a:gd name="connsiteY502" fmla="*/ 780012 h 895572"/>
              <a:gd name="connsiteX503" fmla="*/ 321868 w 1090712"/>
              <a:gd name="connsiteY503" fmla="*/ 775973 h 895572"/>
              <a:gd name="connsiteX504" fmla="*/ 323056 w 1090712"/>
              <a:gd name="connsiteY504" fmla="*/ 771221 h 895572"/>
              <a:gd name="connsiteX505" fmla="*/ 324481 w 1090712"/>
              <a:gd name="connsiteY505" fmla="*/ 765756 h 895572"/>
              <a:gd name="connsiteX506" fmla="*/ 325907 w 1090712"/>
              <a:gd name="connsiteY506" fmla="*/ 760529 h 895572"/>
              <a:gd name="connsiteX507" fmla="*/ 325907 w 1090712"/>
              <a:gd name="connsiteY507" fmla="*/ 827530 h 895572"/>
              <a:gd name="connsiteX508" fmla="*/ 310226 w 1090712"/>
              <a:gd name="connsiteY508" fmla="*/ 835608 h 895572"/>
              <a:gd name="connsiteX509" fmla="*/ 295970 w 1090712"/>
              <a:gd name="connsiteY509" fmla="*/ 843686 h 895572"/>
              <a:gd name="connsiteX510" fmla="*/ 282665 w 1090712"/>
              <a:gd name="connsiteY510" fmla="*/ 850339 h 895572"/>
              <a:gd name="connsiteX511" fmla="*/ 276488 w 1090712"/>
              <a:gd name="connsiteY511" fmla="*/ 852952 h 895572"/>
              <a:gd name="connsiteX512" fmla="*/ 270310 w 1090712"/>
              <a:gd name="connsiteY512" fmla="*/ 855565 h 895572"/>
              <a:gd name="connsiteX513" fmla="*/ 266271 w 1090712"/>
              <a:gd name="connsiteY513" fmla="*/ 857942 h 895572"/>
              <a:gd name="connsiteX514" fmla="*/ 262708 w 1090712"/>
              <a:gd name="connsiteY514" fmla="*/ 860080 h 895572"/>
              <a:gd name="connsiteX515" fmla="*/ 259619 w 1090712"/>
              <a:gd name="connsiteY515" fmla="*/ 862693 h 895572"/>
              <a:gd name="connsiteX516" fmla="*/ 256768 w 1090712"/>
              <a:gd name="connsiteY516" fmla="*/ 865544 h 895572"/>
              <a:gd name="connsiteX517" fmla="*/ 254154 w 1090712"/>
              <a:gd name="connsiteY517" fmla="*/ 868633 h 895572"/>
              <a:gd name="connsiteX518" fmla="*/ 252491 w 1090712"/>
              <a:gd name="connsiteY518" fmla="*/ 871722 h 895572"/>
              <a:gd name="connsiteX519" fmla="*/ 250590 w 1090712"/>
              <a:gd name="connsiteY519" fmla="*/ 874810 h 895572"/>
              <a:gd name="connsiteX520" fmla="*/ 249402 w 1090712"/>
              <a:gd name="connsiteY520" fmla="*/ 877899 h 895572"/>
              <a:gd name="connsiteX521" fmla="*/ 248452 w 1090712"/>
              <a:gd name="connsiteY521" fmla="*/ 880988 h 895572"/>
              <a:gd name="connsiteX522" fmla="*/ 247977 w 1090712"/>
              <a:gd name="connsiteY522" fmla="*/ 884076 h 895572"/>
              <a:gd name="connsiteX523" fmla="*/ 247977 w 1090712"/>
              <a:gd name="connsiteY523" fmla="*/ 887165 h 895572"/>
              <a:gd name="connsiteX524" fmla="*/ 248452 w 1090712"/>
              <a:gd name="connsiteY524" fmla="*/ 890016 h 895572"/>
              <a:gd name="connsiteX525" fmla="*/ 249402 w 1090712"/>
              <a:gd name="connsiteY525" fmla="*/ 893105 h 895572"/>
              <a:gd name="connsiteX526" fmla="*/ 250075 w 1090712"/>
              <a:gd name="connsiteY526" fmla="*/ 895572 h 895572"/>
              <a:gd name="connsiteX527" fmla="*/ 474750 w 1090712"/>
              <a:gd name="connsiteY527" fmla="*/ 895572 h 895572"/>
              <a:gd name="connsiteX528" fmla="*/ 475827 w 1090712"/>
              <a:gd name="connsiteY528" fmla="*/ 894768 h 895572"/>
              <a:gd name="connsiteX529" fmla="*/ 486993 w 1090712"/>
              <a:gd name="connsiteY529" fmla="*/ 882889 h 895572"/>
              <a:gd name="connsiteX530" fmla="*/ 497210 w 1090712"/>
              <a:gd name="connsiteY530" fmla="*/ 870296 h 895572"/>
              <a:gd name="connsiteX531" fmla="*/ 506951 w 1090712"/>
              <a:gd name="connsiteY531" fmla="*/ 857942 h 895572"/>
              <a:gd name="connsiteX532" fmla="*/ 515742 w 1090712"/>
              <a:gd name="connsiteY532" fmla="*/ 844636 h 895572"/>
              <a:gd name="connsiteX533" fmla="*/ 523820 w 1090712"/>
              <a:gd name="connsiteY533" fmla="*/ 831094 h 895572"/>
              <a:gd name="connsiteX534" fmla="*/ 531898 w 1090712"/>
              <a:gd name="connsiteY534" fmla="*/ 816838 h 895572"/>
              <a:gd name="connsiteX535" fmla="*/ 539026 w 1090712"/>
              <a:gd name="connsiteY535" fmla="*/ 802583 h 895572"/>
              <a:gd name="connsiteX536" fmla="*/ 545678 w 1090712"/>
              <a:gd name="connsiteY536" fmla="*/ 788565 h 895572"/>
              <a:gd name="connsiteX537" fmla="*/ 552331 w 1090712"/>
              <a:gd name="connsiteY537" fmla="*/ 773359 h 895572"/>
              <a:gd name="connsiteX538" fmla="*/ 558033 w 1090712"/>
              <a:gd name="connsiteY538" fmla="*/ 758628 h 895572"/>
              <a:gd name="connsiteX539" fmla="*/ 563498 w 1090712"/>
              <a:gd name="connsiteY539" fmla="*/ 743185 h 895572"/>
              <a:gd name="connsiteX540" fmla="*/ 568725 w 1090712"/>
              <a:gd name="connsiteY540" fmla="*/ 727979 h 895572"/>
              <a:gd name="connsiteX541" fmla="*/ 573714 w 1090712"/>
              <a:gd name="connsiteY541" fmla="*/ 712298 h 895572"/>
              <a:gd name="connsiteX542" fmla="*/ 577991 w 1090712"/>
              <a:gd name="connsiteY542" fmla="*/ 696855 h 895572"/>
              <a:gd name="connsiteX543" fmla="*/ 586544 w 1090712"/>
              <a:gd name="connsiteY543" fmla="*/ 665255 h 895572"/>
              <a:gd name="connsiteX544" fmla="*/ 586069 w 1090712"/>
              <a:gd name="connsiteY544" fmla="*/ 663117 h 895572"/>
              <a:gd name="connsiteX545" fmla="*/ 584881 w 1090712"/>
              <a:gd name="connsiteY545" fmla="*/ 660266 h 895572"/>
              <a:gd name="connsiteX546" fmla="*/ 582980 w 1090712"/>
              <a:gd name="connsiteY546" fmla="*/ 657177 h 895572"/>
              <a:gd name="connsiteX547" fmla="*/ 580367 w 1090712"/>
              <a:gd name="connsiteY547" fmla="*/ 654088 h 895572"/>
              <a:gd name="connsiteX548" fmla="*/ 574902 w 1090712"/>
              <a:gd name="connsiteY548" fmla="*/ 647911 h 895572"/>
              <a:gd name="connsiteX549" fmla="*/ 570150 w 1090712"/>
              <a:gd name="connsiteY549" fmla="*/ 642922 h 895572"/>
              <a:gd name="connsiteX550" fmla="*/ 565636 w 1090712"/>
              <a:gd name="connsiteY550" fmla="*/ 636744 h 895572"/>
              <a:gd name="connsiteX551" fmla="*/ 560647 w 1090712"/>
              <a:gd name="connsiteY551" fmla="*/ 631517 h 895572"/>
              <a:gd name="connsiteX552" fmla="*/ 555420 w 1090712"/>
              <a:gd name="connsiteY552" fmla="*/ 626053 h 895572"/>
              <a:gd name="connsiteX553" fmla="*/ 550193 w 1090712"/>
              <a:gd name="connsiteY553" fmla="*/ 621301 h 895572"/>
              <a:gd name="connsiteX554" fmla="*/ 544253 w 1090712"/>
              <a:gd name="connsiteY554" fmla="*/ 616787 h 895572"/>
              <a:gd name="connsiteX555" fmla="*/ 538075 w 1090712"/>
              <a:gd name="connsiteY555" fmla="*/ 612272 h 895572"/>
              <a:gd name="connsiteX556" fmla="*/ 525721 w 1090712"/>
              <a:gd name="connsiteY556" fmla="*/ 603719 h 895572"/>
              <a:gd name="connsiteX557" fmla="*/ 563023 w 1090712"/>
              <a:gd name="connsiteY557" fmla="*/ 619875 h 895572"/>
              <a:gd name="connsiteX558" fmla="*/ 581317 w 1090712"/>
              <a:gd name="connsiteY558" fmla="*/ 628191 h 895572"/>
              <a:gd name="connsiteX559" fmla="*/ 599374 w 1090712"/>
              <a:gd name="connsiteY559" fmla="*/ 636744 h 895572"/>
              <a:gd name="connsiteX560" fmla="*/ 607927 w 1090712"/>
              <a:gd name="connsiteY560" fmla="*/ 641259 h 895572"/>
              <a:gd name="connsiteX561" fmla="*/ 616718 w 1090712"/>
              <a:gd name="connsiteY561" fmla="*/ 646010 h 895572"/>
              <a:gd name="connsiteX562" fmla="*/ 625271 w 1090712"/>
              <a:gd name="connsiteY562" fmla="*/ 651000 h 895572"/>
              <a:gd name="connsiteX563" fmla="*/ 633349 w 1090712"/>
              <a:gd name="connsiteY563" fmla="*/ 656227 h 895572"/>
              <a:gd name="connsiteX564" fmla="*/ 641665 w 1090712"/>
              <a:gd name="connsiteY564" fmla="*/ 662167 h 895572"/>
              <a:gd name="connsiteX565" fmla="*/ 649268 w 1090712"/>
              <a:gd name="connsiteY565" fmla="*/ 668344 h 895572"/>
              <a:gd name="connsiteX566" fmla="*/ 656871 w 1090712"/>
              <a:gd name="connsiteY566" fmla="*/ 674996 h 895572"/>
              <a:gd name="connsiteX567" fmla="*/ 664474 w 1090712"/>
              <a:gd name="connsiteY567" fmla="*/ 682124 h 895572"/>
              <a:gd name="connsiteX568" fmla="*/ 668988 w 1090712"/>
              <a:gd name="connsiteY568" fmla="*/ 686163 h 895572"/>
              <a:gd name="connsiteX569" fmla="*/ 672790 w 1090712"/>
              <a:gd name="connsiteY569" fmla="*/ 690202 h 895572"/>
              <a:gd name="connsiteX570" fmla="*/ 677304 w 1090712"/>
              <a:gd name="connsiteY570" fmla="*/ 693291 h 895572"/>
              <a:gd name="connsiteX571" fmla="*/ 682293 w 1090712"/>
              <a:gd name="connsiteY571" fmla="*/ 696855 h 895572"/>
              <a:gd name="connsiteX572" fmla="*/ 686570 w 1090712"/>
              <a:gd name="connsiteY572" fmla="*/ 699468 h 895572"/>
              <a:gd name="connsiteX573" fmla="*/ 691559 w 1090712"/>
              <a:gd name="connsiteY573" fmla="*/ 702082 h 895572"/>
              <a:gd name="connsiteX574" fmla="*/ 696549 w 1090712"/>
              <a:gd name="connsiteY574" fmla="*/ 703983 h 895572"/>
              <a:gd name="connsiteX575" fmla="*/ 701300 w 1090712"/>
              <a:gd name="connsiteY575" fmla="*/ 705646 h 895572"/>
              <a:gd name="connsiteX576" fmla="*/ 706290 w 1090712"/>
              <a:gd name="connsiteY576" fmla="*/ 707071 h 895572"/>
              <a:gd name="connsiteX577" fmla="*/ 711042 w 1090712"/>
              <a:gd name="connsiteY577" fmla="*/ 708497 h 895572"/>
              <a:gd name="connsiteX578" fmla="*/ 716506 w 1090712"/>
              <a:gd name="connsiteY578" fmla="*/ 708734 h 895572"/>
              <a:gd name="connsiteX579" fmla="*/ 721258 w 1090712"/>
              <a:gd name="connsiteY579" fmla="*/ 708734 h 895572"/>
              <a:gd name="connsiteX580" fmla="*/ 726723 w 1090712"/>
              <a:gd name="connsiteY580" fmla="*/ 708497 h 895572"/>
              <a:gd name="connsiteX581" fmla="*/ 731712 w 1090712"/>
              <a:gd name="connsiteY581" fmla="*/ 707546 h 895572"/>
              <a:gd name="connsiteX582" fmla="*/ 736939 w 1090712"/>
              <a:gd name="connsiteY582" fmla="*/ 706121 h 895572"/>
              <a:gd name="connsiteX583" fmla="*/ 742166 w 1090712"/>
              <a:gd name="connsiteY583" fmla="*/ 704458 h 895572"/>
              <a:gd name="connsiteX584" fmla="*/ 749294 w 1090712"/>
              <a:gd name="connsiteY584" fmla="*/ 702082 h 895572"/>
              <a:gd name="connsiteX585" fmla="*/ 756184 w 1090712"/>
              <a:gd name="connsiteY585" fmla="*/ 699468 h 895572"/>
              <a:gd name="connsiteX586" fmla="*/ 762361 w 1090712"/>
              <a:gd name="connsiteY586" fmla="*/ 696380 h 895572"/>
              <a:gd name="connsiteX587" fmla="*/ 768063 w 1090712"/>
              <a:gd name="connsiteY587" fmla="*/ 692816 h 895572"/>
              <a:gd name="connsiteX588" fmla="*/ 773528 w 1090712"/>
              <a:gd name="connsiteY588" fmla="*/ 689252 h 895572"/>
              <a:gd name="connsiteX589" fmla="*/ 778755 w 1090712"/>
              <a:gd name="connsiteY589" fmla="*/ 684738 h 895572"/>
              <a:gd name="connsiteX590" fmla="*/ 783269 w 1090712"/>
              <a:gd name="connsiteY590" fmla="*/ 680461 h 895572"/>
              <a:gd name="connsiteX591" fmla="*/ 787308 w 1090712"/>
              <a:gd name="connsiteY591" fmla="*/ 674996 h 895572"/>
              <a:gd name="connsiteX592" fmla="*/ 791110 w 1090712"/>
              <a:gd name="connsiteY592" fmla="*/ 669769 h 895572"/>
              <a:gd name="connsiteX593" fmla="*/ 794436 w 1090712"/>
              <a:gd name="connsiteY593" fmla="*/ 663830 h 895572"/>
              <a:gd name="connsiteX594" fmla="*/ 797050 w 1090712"/>
              <a:gd name="connsiteY594" fmla="*/ 657652 h 895572"/>
              <a:gd name="connsiteX595" fmla="*/ 799188 w 1090712"/>
              <a:gd name="connsiteY595" fmla="*/ 651000 h 895572"/>
              <a:gd name="connsiteX596" fmla="*/ 801089 w 1090712"/>
              <a:gd name="connsiteY596" fmla="*/ 643872 h 895572"/>
              <a:gd name="connsiteX597" fmla="*/ 802277 w 1090712"/>
              <a:gd name="connsiteY597" fmla="*/ 636744 h 895572"/>
              <a:gd name="connsiteX598" fmla="*/ 803227 w 1090712"/>
              <a:gd name="connsiteY598" fmla="*/ 628666 h 895572"/>
              <a:gd name="connsiteX599" fmla="*/ 803227 w 1090712"/>
              <a:gd name="connsiteY599" fmla="*/ 620826 h 895572"/>
              <a:gd name="connsiteX600" fmla="*/ 801089 w 1090712"/>
              <a:gd name="connsiteY600" fmla="*/ 622489 h 895572"/>
              <a:gd name="connsiteX601" fmla="*/ 798238 w 1090712"/>
              <a:gd name="connsiteY601" fmla="*/ 623914 h 895572"/>
              <a:gd name="connsiteX602" fmla="*/ 793011 w 1090712"/>
              <a:gd name="connsiteY602" fmla="*/ 626053 h 895572"/>
              <a:gd name="connsiteX603" fmla="*/ 790397 w 1090712"/>
              <a:gd name="connsiteY603" fmla="*/ 627478 h 895572"/>
              <a:gd name="connsiteX604" fmla="*/ 788496 w 1090712"/>
              <a:gd name="connsiteY604" fmla="*/ 628191 h 895572"/>
              <a:gd name="connsiteX605" fmla="*/ 787308 w 1090712"/>
              <a:gd name="connsiteY605" fmla="*/ 630092 h 895572"/>
              <a:gd name="connsiteX606" fmla="*/ 786833 w 1090712"/>
              <a:gd name="connsiteY606" fmla="*/ 631755 h 895572"/>
              <a:gd name="connsiteX607" fmla="*/ 785408 w 1090712"/>
              <a:gd name="connsiteY607" fmla="*/ 635794 h 895572"/>
              <a:gd name="connsiteX608" fmla="*/ 784220 w 1090712"/>
              <a:gd name="connsiteY608" fmla="*/ 639833 h 895572"/>
              <a:gd name="connsiteX609" fmla="*/ 780656 w 1090712"/>
              <a:gd name="connsiteY609" fmla="*/ 646485 h 895572"/>
              <a:gd name="connsiteX610" fmla="*/ 776617 w 1090712"/>
              <a:gd name="connsiteY610" fmla="*/ 653138 h 895572"/>
              <a:gd name="connsiteX611" fmla="*/ 772103 w 1090712"/>
              <a:gd name="connsiteY611" fmla="*/ 659078 h 895572"/>
              <a:gd name="connsiteX612" fmla="*/ 762361 w 1090712"/>
              <a:gd name="connsiteY612" fmla="*/ 670007 h 895572"/>
              <a:gd name="connsiteX613" fmla="*/ 757847 w 1090712"/>
              <a:gd name="connsiteY613" fmla="*/ 675947 h 895572"/>
              <a:gd name="connsiteX614" fmla="*/ 753333 w 1090712"/>
              <a:gd name="connsiteY614" fmla="*/ 682124 h 895572"/>
              <a:gd name="connsiteX615" fmla="*/ 750244 w 1090712"/>
              <a:gd name="connsiteY615" fmla="*/ 684738 h 895572"/>
              <a:gd name="connsiteX616" fmla="*/ 747155 w 1090712"/>
              <a:gd name="connsiteY616" fmla="*/ 687589 h 895572"/>
              <a:gd name="connsiteX617" fmla="*/ 744067 w 1090712"/>
              <a:gd name="connsiteY617" fmla="*/ 689252 h 895572"/>
              <a:gd name="connsiteX618" fmla="*/ 740978 w 1090712"/>
              <a:gd name="connsiteY618" fmla="*/ 690915 h 895572"/>
              <a:gd name="connsiteX619" fmla="*/ 737890 w 1090712"/>
              <a:gd name="connsiteY619" fmla="*/ 691865 h 895572"/>
              <a:gd name="connsiteX620" fmla="*/ 734801 w 1090712"/>
              <a:gd name="connsiteY620" fmla="*/ 692816 h 895572"/>
              <a:gd name="connsiteX621" fmla="*/ 731950 w 1090712"/>
              <a:gd name="connsiteY621" fmla="*/ 693291 h 895572"/>
              <a:gd name="connsiteX622" fmla="*/ 728861 w 1090712"/>
              <a:gd name="connsiteY622" fmla="*/ 693291 h 895572"/>
              <a:gd name="connsiteX623" fmla="*/ 723634 w 1090712"/>
              <a:gd name="connsiteY623" fmla="*/ 692816 h 895572"/>
              <a:gd name="connsiteX624" fmla="*/ 718169 w 1090712"/>
              <a:gd name="connsiteY624" fmla="*/ 691390 h 895572"/>
              <a:gd name="connsiteX625" fmla="*/ 713418 w 1090712"/>
              <a:gd name="connsiteY625" fmla="*/ 689727 h 895572"/>
              <a:gd name="connsiteX626" fmla="*/ 708903 w 1090712"/>
              <a:gd name="connsiteY626" fmla="*/ 687826 h 895572"/>
              <a:gd name="connsiteX627" fmla="*/ 706765 w 1090712"/>
              <a:gd name="connsiteY627" fmla="*/ 687589 h 895572"/>
              <a:gd name="connsiteX628" fmla="*/ 704864 w 1090712"/>
              <a:gd name="connsiteY628" fmla="*/ 687114 h 895572"/>
              <a:gd name="connsiteX629" fmla="*/ 703201 w 1090712"/>
              <a:gd name="connsiteY629" fmla="*/ 686163 h 895572"/>
              <a:gd name="connsiteX630" fmla="*/ 701776 w 1090712"/>
              <a:gd name="connsiteY630" fmla="*/ 684738 h 895572"/>
              <a:gd name="connsiteX631" fmla="*/ 698687 w 1090712"/>
              <a:gd name="connsiteY631" fmla="*/ 681649 h 895572"/>
              <a:gd name="connsiteX632" fmla="*/ 696549 w 1090712"/>
              <a:gd name="connsiteY632" fmla="*/ 678085 h 895572"/>
              <a:gd name="connsiteX633" fmla="*/ 694648 w 1090712"/>
              <a:gd name="connsiteY633" fmla="*/ 673571 h 895572"/>
              <a:gd name="connsiteX634" fmla="*/ 693460 w 1090712"/>
              <a:gd name="connsiteY634" fmla="*/ 668819 h 895572"/>
              <a:gd name="connsiteX635" fmla="*/ 692510 w 1090712"/>
              <a:gd name="connsiteY635" fmla="*/ 664305 h 895572"/>
              <a:gd name="connsiteX636" fmla="*/ 692510 w 1090712"/>
              <a:gd name="connsiteY636" fmla="*/ 659790 h 895572"/>
              <a:gd name="connsiteX637" fmla="*/ 692510 w 1090712"/>
              <a:gd name="connsiteY637" fmla="*/ 647436 h 895572"/>
              <a:gd name="connsiteX638" fmla="*/ 693460 w 1090712"/>
              <a:gd name="connsiteY638" fmla="*/ 635319 h 895572"/>
              <a:gd name="connsiteX639" fmla="*/ 694173 w 1090712"/>
              <a:gd name="connsiteY639" fmla="*/ 624389 h 895572"/>
              <a:gd name="connsiteX640" fmla="*/ 695598 w 1090712"/>
              <a:gd name="connsiteY640" fmla="*/ 612748 h 895572"/>
              <a:gd name="connsiteX641" fmla="*/ 699162 w 1090712"/>
              <a:gd name="connsiteY641" fmla="*/ 591364 h 895572"/>
              <a:gd name="connsiteX642" fmla="*/ 703676 w 1090712"/>
              <a:gd name="connsiteY642" fmla="*/ 570456 h 895572"/>
              <a:gd name="connsiteX643" fmla="*/ 720070 w 1090712"/>
              <a:gd name="connsiteY643" fmla="*/ 574971 h 895572"/>
              <a:gd name="connsiteX644" fmla="*/ 736939 w 1090712"/>
              <a:gd name="connsiteY644" fmla="*/ 579247 h 895572"/>
              <a:gd name="connsiteX645" fmla="*/ 770677 w 1090712"/>
              <a:gd name="connsiteY645" fmla="*/ 589226 h 895572"/>
              <a:gd name="connsiteX646" fmla="*/ 788021 w 1090712"/>
              <a:gd name="connsiteY646" fmla="*/ 593503 h 895572"/>
              <a:gd name="connsiteX647" fmla="*/ 805365 w 1090712"/>
              <a:gd name="connsiteY647" fmla="*/ 597542 h 895572"/>
              <a:gd name="connsiteX648" fmla="*/ 823660 w 1090712"/>
              <a:gd name="connsiteY648" fmla="*/ 601106 h 895572"/>
              <a:gd name="connsiteX649" fmla="*/ 841954 w 1090712"/>
              <a:gd name="connsiteY649" fmla="*/ 603719 h 895572"/>
              <a:gd name="connsiteX650" fmla="*/ 861437 w 1090712"/>
              <a:gd name="connsiteY650" fmla="*/ 606570 h 895572"/>
              <a:gd name="connsiteX651" fmla="*/ 880682 w 1090712"/>
              <a:gd name="connsiteY651" fmla="*/ 608233 h 895572"/>
              <a:gd name="connsiteX652" fmla="*/ 889948 w 1090712"/>
              <a:gd name="connsiteY652" fmla="*/ 608708 h 895572"/>
              <a:gd name="connsiteX653" fmla="*/ 898976 w 1090712"/>
              <a:gd name="connsiteY653" fmla="*/ 608708 h 895572"/>
              <a:gd name="connsiteX654" fmla="*/ 908242 w 1090712"/>
              <a:gd name="connsiteY654" fmla="*/ 608708 h 895572"/>
              <a:gd name="connsiteX655" fmla="*/ 916795 w 1090712"/>
              <a:gd name="connsiteY655" fmla="*/ 608233 h 895572"/>
              <a:gd name="connsiteX656" fmla="*/ 925586 w 1090712"/>
              <a:gd name="connsiteY656" fmla="*/ 607283 h 895572"/>
              <a:gd name="connsiteX657" fmla="*/ 934140 w 1090712"/>
              <a:gd name="connsiteY657" fmla="*/ 606095 h 895572"/>
              <a:gd name="connsiteX658" fmla="*/ 942455 w 1090712"/>
              <a:gd name="connsiteY658" fmla="*/ 604669 h 895572"/>
              <a:gd name="connsiteX659" fmla="*/ 950533 w 1090712"/>
              <a:gd name="connsiteY659" fmla="*/ 603006 h 895572"/>
              <a:gd name="connsiteX660" fmla="*/ 958611 w 1090712"/>
              <a:gd name="connsiteY660" fmla="*/ 600630 h 895572"/>
              <a:gd name="connsiteX661" fmla="*/ 966452 w 1090712"/>
              <a:gd name="connsiteY661" fmla="*/ 598017 h 895572"/>
              <a:gd name="connsiteX662" fmla="*/ 974055 w 1090712"/>
              <a:gd name="connsiteY662" fmla="*/ 595403 h 895572"/>
              <a:gd name="connsiteX663" fmla="*/ 981658 w 1090712"/>
              <a:gd name="connsiteY663" fmla="*/ 591840 h 895572"/>
              <a:gd name="connsiteX664" fmla="*/ 989261 w 1090712"/>
              <a:gd name="connsiteY664" fmla="*/ 588276 h 895572"/>
              <a:gd name="connsiteX665" fmla="*/ 996388 w 1090712"/>
              <a:gd name="connsiteY665" fmla="*/ 584237 h 895572"/>
              <a:gd name="connsiteX666" fmla="*/ 1003041 w 1090712"/>
              <a:gd name="connsiteY666" fmla="*/ 579247 h 895572"/>
              <a:gd name="connsiteX667" fmla="*/ 1009694 w 1090712"/>
              <a:gd name="connsiteY667" fmla="*/ 574495 h 895572"/>
              <a:gd name="connsiteX668" fmla="*/ 1016346 w 1090712"/>
              <a:gd name="connsiteY668" fmla="*/ 569031 h 895572"/>
              <a:gd name="connsiteX669" fmla="*/ 1022998 w 1090712"/>
              <a:gd name="connsiteY669" fmla="*/ 562853 h 895572"/>
              <a:gd name="connsiteX670" fmla="*/ 1029176 w 1090712"/>
              <a:gd name="connsiteY670" fmla="*/ 556676 h 895572"/>
              <a:gd name="connsiteX671" fmla="*/ 1035116 w 1090712"/>
              <a:gd name="connsiteY671" fmla="*/ 549548 h 895572"/>
              <a:gd name="connsiteX672" fmla="*/ 1040818 w 1090712"/>
              <a:gd name="connsiteY672" fmla="*/ 541945 h 895572"/>
              <a:gd name="connsiteX673" fmla="*/ 1046520 w 1090712"/>
              <a:gd name="connsiteY673" fmla="*/ 534342 h 895572"/>
              <a:gd name="connsiteX674" fmla="*/ 1051985 w 1090712"/>
              <a:gd name="connsiteY674" fmla="*/ 526027 h 895572"/>
              <a:gd name="connsiteX675" fmla="*/ 1056737 w 1090712"/>
              <a:gd name="connsiteY675" fmla="*/ 516523 h 895572"/>
              <a:gd name="connsiteX676" fmla="*/ 1061726 w 1090712"/>
              <a:gd name="connsiteY676" fmla="*/ 507257 h 895572"/>
              <a:gd name="connsiteX677" fmla="*/ 1066715 w 1090712"/>
              <a:gd name="connsiteY677" fmla="*/ 497041 h 895572"/>
              <a:gd name="connsiteX678" fmla="*/ 1070992 w 1090712"/>
              <a:gd name="connsiteY678" fmla="*/ 486349 h 895572"/>
              <a:gd name="connsiteX679" fmla="*/ 1075506 w 1090712"/>
              <a:gd name="connsiteY679" fmla="*/ 475182 h 895572"/>
              <a:gd name="connsiteX680" fmla="*/ 1079070 w 1090712"/>
              <a:gd name="connsiteY680" fmla="*/ 462828 h 895572"/>
              <a:gd name="connsiteX681" fmla="*/ 1082634 w 1090712"/>
              <a:gd name="connsiteY681" fmla="*/ 449998 h 895572"/>
              <a:gd name="connsiteX682" fmla="*/ 1084772 w 1090712"/>
              <a:gd name="connsiteY682" fmla="*/ 437405 h 895572"/>
              <a:gd name="connsiteX683" fmla="*/ 1087148 w 1090712"/>
              <a:gd name="connsiteY683" fmla="*/ 425050 h 895572"/>
              <a:gd name="connsiteX684" fmla="*/ 1088811 w 1090712"/>
              <a:gd name="connsiteY684" fmla="*/ 411983 h 895572"/>
              <a:gd name="connsiteX685" fmla="*/ 1089762 w 1090712"/>
              <a:gd name="connsiteY685" fmla="*/ 399628 h 895572"/>
              <a:gd name="connsiteX686" fmla="*/ 1090712 w 1090712"/>
              <a:gd name="connsiteY686" fmla="*/ 386798 h 895572"/>
              <a:gd name="connsiteX687" fmla="*/ 1090712 w 1090712"/>
              <a:gd name="connsiteY687" fmla="*/ 373731 h 895572"/>
              <a:gd name="connsiteX688" fmla="*/ 1090712 w 1090712"/>
              <a:gd name="connsiteY688" fmla="*/ 360901 h 895572"/>
              <a:gd name="connsiteX689" fmla="*/ 1089762 w 1090712"/>
              <a:gd name="connsiteY689" fmla="*/ 348071 h 895572"/>
              <a:gd name="connsiteX690" fmla="*/ 1088811 w 1090712"/>
              <a:gd name="connsiteY690" fmla="*/ 335004 h 895572"/>
              <a:gd name="connsiteX691" fmla="*/ 1088099 w 1090712"/>
              <a:gd name="connsiteY691" fmla="*/ 321698 h 895572"/>
              <a:gd name="connsiteX692" fmla="*/ 1084772 w 1090712"/>
              <a:gd name="connsiteY692" fmla="*/ 295563 h 895572"/>
              <a:gd name="connsiteX693" fmla="*/ 1080971 w 1090712"/>
              <a:gd name="connsiteY693" fmla="*/ 268478 h 895572"/>
              <a:gd name="connsiteX694" fmla="*/ 1078595 w 1090712"/>
              <a:gd name="connsiteY694" fmla="*/ 258262 h 895572"/>
              <a:gd name="connsiteX695" fmla="*/ 1075981 w 1090712"/>
              <a:gd name="connsiteY695" fmla="*/ 248283 h 895572"/>
              <a:gd name="connsiteX696" fmla="*/ 1072417 w 1090712"/>
              <a:gd name="connsiteY696" fmla="*/ 238542 h 895572"/>
              <a:gd name="connsiteX697" fmla="*/ 1069329 w 1090712"/>
              <a:gd name="connsiteY697" fmla="*/ 229275 h 895572"/>
              <a:gd name="connsiteX698" fmla="*/ 1061251 w 1090712"/>
              <a:gd name="connsiteY698" fmla="*/ 210031 h 895572"/>
              <a:gd name="connsiteX699" fmla="*/ 1053173 w 1090712"/>
              <a:gd name="connsiteY699" fmla="*/ 190073 h 895572"/>
              <a:gd name="connsiteX700" fmla="*/ 1051034 w 1090712"/>
              <a:gd name="connsiteY700" fmla="*/ 186034 h 895572"/>
              <a:gd name="connsiteX701" fmla="*/ 1048896 w 1090712"/>
              <a:gd name="connsiteY701" fmla="*/ 182470 h 895572"/>
              <a:gd name="connsiteX702" fmla="*/ 1046045 w 1090712"/>
              <a:gd name="connsiteY702" fmla="*/ 179381 h 895572"/>
              <a:gd name="connsiteX703" fmla="*/ 1043906 w 1090712"/>
              <a:gd name="connsiteY703" fmla="*/ 176768 h 895572"/>
              <a:gd name="connsiteX704" fmla="*/ 1041293 w 1090712"/>
              <a:gd name="connsiteY704" fmla="*/ 174630 h 895572"/>
              <a:gd name="connsiteX705" fmla="*/ 1038680 w 1090712"/>
              <a:gd name="connsiteY705" fmla="*/ 172729 h 895572"/>
              <a:gd name="connsiteX706" fmla="*/ 1035828 w 1090712"/>
              <a:gd name="connsiteY706" fmla="*/ 171303 h 895572"/>
              <a:gd name="connsiteX707" fmla="*/ 1032740 w 1090712"/>
              <a:gd name="connsiteY707" fmla="*/ 170591 h 895572"/>
              <a:gd name="connsiteX708" fmla="*/ 1030126 w 1090712"/>
              <a:gd name="connsiteY708" fmla="*/ 170591 h 895572"/>
              <a:gd name="connsiteX709" fmla="*/ 1027038 w 1090712"/>
              <a:gd name="connsiteY709" fmla="*/ 170591 h 895572"/>
              <a:gd name="connsiteX710" fmla="*/ 1024424 w 1090712"/>
              <a:gd name="connsiteY710" fmla="*/ 171303 h 895572"/>
              <a:gd name="connsiteX711" fmla="*/ 1021335 w 1090712"/>
              <a:gd name="connsiteY711" fmla="*/ 172729 h 895572"/>
              <a:gd name="connsiteX712" fmla="*/ 1018247 w 1090712"/>
              <a:gd name="connsiteY712" fmla="*/ 174867 h 895572"/>
              <a:gd name="connsiteX713" fmla="*/ 1014920 w 1090712"/>
              <a:gd name="connsiteY713" fmla="*/ 177718 h 895572"/>
              <a:gd name="connsiteX714" fmla="*/ 1011832 w 1090712"/>
              <a:gd name="connsiteY714" fmla="*/ 180807 h 895572"/>
              <a:gd name="connsiteX715" fmla="*/ 1008743 w 1090712"/>
              <a:gd name="connsiteY715" fmla="*/ 184846 h 895572"/>
              <a:gd name="connsiteX716" fmla="*/ 991874 w 1090712"/>
              <a:gd name="connsiteY716" fmla="*/ 201240 h 895572"/>
              <a:gd name="connsiteX717" fmla="*/ 983321 w 1090712"/>
              <a:gd name="connsiteY717" fmla="*/ 209318 h 895572"/>
              <a:gd name="connsiteX718" fmla="*/ 974530 w 1090712"/>
              <a:gd name="connsiteY718" fmla="*/ 216683 h 895572"/>
              <a:gd name="connsiteX719" fmla="*/ 965739 w 1090712"/>
              <a:gd name="connsiteY719" fmla="*/ 223811 h 895572"/>
              <a:gd name="connsiteX720" fmla="*/ 956236 w 1090712"/>
              <a:gd name="connsiteY720" fmla="*/ 230226 h 895572"/>
              <a:gd name="connsiteX721" fmla="*/ 946494 w 1090712"/>
              <a:gd name="connsiteY721" fmla="*/ 235928 h 895572"/>
              <a:gd name="connsiteX722" fmla="*/ 941505 w 1090712"/>
              <a:gd name="connsiteY722" fmla="*/ 238066 h 895572"/>
              <a:gd name="connsiteX723" fmla="*/ 936753 w 1090712"/>
              <a:gd name="connsiteY723" fmla="*/ 240442 h 895572"/>
              <a:gd name="connsiteX724" fmla="*/ 932239 w 1090712"/>
              <a:gd name="connsiteY724" fmla="*/ 242581 h 895572"/>
              <a:gd name="connsiteX725" fmla="*/ 928675 w 1090712"/>
              <a:gd name="connsiteY725" fmla="*/ 245669 h 895572"/>
              <a:gd name="connsiteX726" fmla="*/ 925111 w 1090712"/>
              <a:gd name="connsiteY726" fmla="*/ 249233 h 895572"/>
              <a:gd name="connsiteX727" fmla="*/ 922022 w 1090712"/>
              <a:gd name="connsiteY727" fmla="*/ 252797 h 895572"/>
              <a:gd name="connsiteX728" fmla="*/ 919884 w 1090712"/>
              <a:gd name="connsiteY728" fmla="*/ 257311 h 895572"/>
              <a:gd name="connsiteX729" fmla="*/ 918934 w 1090712"/>
              <a:gd name="connsiteY729" fmla="*/ 259925 h 895572"/>
              <a:gd name="connsiteX730" fmla="*/ 918459 w 1090712"/>
              <a:gd name="connsiteY730" fmla="*/ 262538 h 895572"/>
              <a:gd name="connsiteX731" fmla="*/ 918459 w 1090712"/>
              <a:gd name="connsiteY731" fmla="*/ 265389 h 895572"/>
              <a:gd name="connsiteX732" fmla="*/ 918459 w 1090712"/>
              <a:gd name="connsiteY732" fmla="*/ 268003 h 895572"/>
              <a:gd name="connsiteX733" fmla="*/ 918934 w 1090712"/>
              <a:gd name="connsiteY733" fmla="*/ 271091 h 895572"/>
              <a:gd name="connsiteX734" fmla="*/ 919884 w 1090712"/>
              <a:gd name="connsiteY734" fmla="*/ 274180 h 895572"/>
              <a:gd name="connsiteX735" fmla="*/ 921547 w 1090712"/>
              <a:gd name="connsiteY735" fmla="*/ 282258 h 895572"/>
              <a:gd name="connsiteX736" fmla="*/ 922973 w 1090712"/>
              <a:gd name="connsiteY736" fmla="*/ 290574 h 895572"/>
              <a:gd name="connsiteX737" fmla="*/ 923923 w 1090712"/>
              <a:gd name="connsiteY737" fmla="*/ 299127 h 895572"/>
              <a:gd name="connsiteX738" fmla="*/ 924161 w 1090712"/>
              <a:gd name="connsiteY738" fmla="*/ 307443 h 895572"/>
              <a:gd name="connsiteX739" fmla="*/ 924161 w 1090712"/>
              <a:gd name="connsiteY739" fmla="*/ 315996 h 895572"/>
              <a:gd name="connsiteX740" fmla="*/ 923923 w 1090712"/>
              <a:gd name="connsiteY740" fmla="*/ 324550 h 895572"/>
              <a:gd name="connsiteX741" fmla="*/ 922973 w 1090712"/>
              <a:gd name="connsiteY741" fmla="*/ 332865 h 895572"/>
              <a:gd name="connsiteX742" fmla="*/ 922022 w 1090712"/>
              <a:gd name="connsiteY742" fmla="*/ 340943 h 895572"/>
              <a:gd name="connsiteX743" fmla="*/ 920597 w 1090712"/>
              <a:gd name="connsiteY743" fmla="*/ 349259 h 895572"/>
              <a:gd name="connsiteX744" fmla="*/ 918934 w 1090712"/>
              <a:gd name="connsiteY744" fmla="*/ 357812 h 895572"/>
              <a:gd name="connsiteX745" fmla="*/ 914420 w 1090712"/>
              <a:gd name="connsiteY745" fmla="*/ 374681 h 895572"/>
              <a:gd name="connsiteX746" fmla="*/ 909192 w 1090712"/>
              <a:gd name="connsiteY746" fmla="*/ 391075 h 895572"/>
              <a:gd name="connsiteX747" fmla="*/ 903253 w 1090712"/>
              <a:gd name="connsiteY747" fmla="*/ 408182 h 895572"/>
              <a:gd name="connsiteX748" fmla="*/ 903253 w 1090712"/>
              <a:gd name="connsiteY748" fmla="*/ 397965 h 895572"/>
              <a:gd name="connsiteX749" fmla="*/ 904203 w 1090712"/>
              <a:gd name="connsiteY749" fmla="*/ 387274 h 895572"/>
              <a:gd name="connsiteX750" fmla="*/ 906104 w 1090712"/>
              <a:gd name="connsiteY750" fmla="*/ 367078 h 895572"/>
              <a:gd name="connsiteX751" fmla="*/ 907767 w 1090712"/>
              <a:gd name="connsiteY751" fmla="*/ 347596 h 895572"/>
              <a:gd name="connsiteX752" fmla="*/ 908717 w 1090712"/>
              <a:gd name="connsiteY752" fmla="*/ 338567 h 895572"/>
              <a:gd name="connsiteX753" fmla="*/ 908717 w 1090712"/>
              <a:gd name="connsiteY753" fmla="*/ 329777 h 895572"/>
              <a:gd name="connsiteX754" fmla="*/ 908717 w 1090712"/>
              <a:gd name="connsiteY754" fmla="*/ 325738 h 895572"/>
              <a:gd name="connsiteX755" fmla="*/ 907767 w 1090712"/>
              <a:gd name="connsiteY755" fmla="*/ 322649 h 895572"/>
              <a:gd name="connsiteX756" fmla="*/ 906817 w 1090712"/>
              <a:gd name="connsiteY756" fmla="*/ 319560 h 895572"/>
              <a:gd name="connsiteX757" fmla="*/ 905154 w 1090712"/>
              <a:gd name="connsiteY757" fmla="*/ 316471 h 895572"/>
              <a:gd name="connsiteX758" fmla="*/ 903728 w 1090712"/>
              <a:gd name="connsiteY758" fmla="*/ 314096 h 895572"/>
              <a:gd name="connsiteX759" fmla="*/ 901590 w 1090712"/>
              <a:gd name="connsiteY759" fmla="*/ 311957 h 895572"/>
              <a:gd name="connsiteX760" fmla="*/ 897551 w 1090712"/>
              <a:gd name="connsiteY760" fmla="*/ 307443 h 895572"/>
              <a:gd name="connsiteX761" fmla="*/ 895412 w 1090712"/>
              <a:gd name="connsiteY761" fmla="*/ 309344 h 895572"/>
              <a:gd name="connsiteX762" fmla="*/ 892561 w 1090712"/>
              <a:gd name="connsiteY762" fmla="*/ 310769 h 895572"/>
              <a:gd name="connsiteX763" fmla="*/ 887334 w 1090712"/>
              <a:gd name="connsiteY763" fmla="*/ 313383 h 895572"/>
              <a:gd name="connsiteX764" fmla="*/ 884721 w 1090712"/>
              <a:gd name="connsiteY764" fmla="*/ 314096 h 895572"/>
              <a:gd name="connsiteX765" fmla="*/ 882820 w 1090712"/>
              <a:gd name="connsiteY765" fmla="*/ 315521 h 895572"/>
              <a:gd name="connsiteX766" fmla="*/ 881632 w 1090712"/>
              <a:gd name="connsiteY766" fmla="*/ 316947 h 895572"/>
              <a:gd name="connsiteX767" fmla="*/ 881157 w 1090712"/>
              <a:gd name="connsiteY767" fmla="*/ 318610 h 895572"/>
              <a:gd name="connsiteX768" fmla="*/ 872604 w 1090712"/>
              <a:gd name="connsiteY768" fmla="*/ 331915 h 895572"/>
              <a:gd name="connsiteX769" fmla="*/ 864288 w 1090712"/>
              <a:gd name="connsiteY769" fmla="*/ 346646 h 895572"/>
              <a:gd name="connsiteX770" fmla="*/ 856210 w 1090712"/>
              <a:gd name="connsiteY770" fmla="*/ 361376 h 895572"/>
              <a:gd name="connsiteX771" fmla="*/ 847656 w 1090712"/>
              <a:gd name="connsiteY771" fmla="*/ 374681 h 895572"/>
              <a:gd name="connsiteX772" fmla="*/ 841954 w 1090712"/>
              <a:gd name="connsiteY772" fmla="*/ 374681 h 895572"/>
              <a:gd name="connsiteX773" fmla="*/ 846468 w 1090712"/>
              <a:gd name="connsiteY773" fmla="*/ 357812 h 895572"/>
              <a:gd name="connsiteX774" fmla="*/ 850508 w 1090712"/>
              <a:gd name="connsiteY774" fmla="*/ 339518 h 895572"/>
              <a:gd name="connsiteX775" fmla="*/ 854784 w 1090712"/>
              <a:gd name="connsiteY775" fmla="*/ 319560 h 895572"/>
              <a:gd name="connsiteX776" fmla="*/ 858823 w 1090712"/>
              <a:gd name="connsiteY776" fmla="*/ 296514 h 895572"/>
              <a:gd name="connsiteX777" fmla="*/ 848132 w 1090712"/>
              <a:gd name="connsiteY777" fmla="*/ 303879 h 895572"/>
              <a:gd name="connsiteX778" fmla="*/ 840054 w 1090712"/>
              <a:gd name="connsiteY778" fmla="*/ 310294 h 895572"/>
              <a:gd name="connsiteX779" fmla="*/ 833163 w 1090712"/>
              <a:gd name="connsiteY779" fmla="*/ 316947 h 895572"/>
              <a:gd name="connsiteX780" fmla="*/ 825560 w 1090712"/>
              <a:gd name="connsiteY780" fmla="*/ 324550 h 895572"/>
              <a:gd name="connsiteX781" fmla="*/ 823185 w 1090712"/>
              <a:gd name="connsiteY781" fmla="*/ 326688 h 895572"/>
              <a:gd name="connsiteX782" fmla="*/ 821522 w 1090712"/>
              <a:gd name="connsiteY782" fmla="*/ 329301 h 895572"/>
              <a:gd name="connsiteX783" fmla="*/ 817007 w 1090712"/>
              <a:gd name="connsiteY783" fmla="*/ 335954 h 895572"/>
              <a:gd name="connsiteX784" fmla="*/ 812968 w 1090712"/>
              <a:gd name="connsiteY784" fmla="*/ 344032 h 895572"/>
              <a:gd name="connsiteX785" fmla="*/ 808929 w 1090712"/>
              <a:gd name="connsiteY785" fmla="*/ 352585 h 895572"/>
              <a:gd name="connsiteX786" fmla="*/ 809880 w 1090712"/>
              <a:gd name="connsiteY786" fmla="*/ 343557 h 895572"/>
              <a:gd name="connsiteX787" fmla="*/ 811305 w 1090712"/>
              <a:gd name="connsiteY787" fmla="*/ 335479 h 895572"/>
              <a:gd name="connsiteX788" fmla="*/ 812493 w 1090712"/>
              <a:gd name="connsiteY788" fmla="*/ 328826 h 895572"/>
              <a:gd name="connsiteX789" fmla="*/ 814394 w 1090712"/>
              <a:gd name="connsiteY789" fmla="*/ 323124 h 895572"/>
              <a:gd name="connsiteX790" fmla="*/ 816532 w 1090712"/>
              <a:gd name="connsiteY790" fmla="*/ 317659 h 895572"/>
              <a:gd name="connsiteX791" fmla="*/ 819146 w 1090712"/>
              <a:gd name="connsiteY791" fmla="*/ 313383 h 895572"/>
              <a:gd name="connsiteX792" fmla="*/ 822709 w 1090712"/>
              <a:gd name="connsiteY792" fmla="*/ 309344 h 895572"/>
              <a:gd name="connsiteX793" fmla="*/ 826748 w 1090712"/>
              <a:gd name="connsiteY793" fmla="*/ 306255 h 895572"/>
              <a:gd name="connsiteX794" fmla="*/ 832213 w 1090712"/>
              <a:gd name="connsiteY794" fmla="*/ 303166 h 895572"/>
              <a:gd name="connsiteX795" fmla="*/ 838390 w 1090712"/>
              <a:gd name="connsiteY795" fmla="*/ 300315 h 895572"/>
              <a:gd name="connsiteX796" fmla="*/ 845518 w 1090712"/>
              <a:gd name="connsiteY796" fmla="*/ 298177 h 895572"/>
              <a:gd name="connsiteX797" fmla="*/ 854071 w 1090712"/>
              <a:gd name="connsiteY797" fmla="*/ 295563 h 895572"/>
              <a:gd name="connsiteX798" fmla="*/ 875217 w 1090712"/>
              <a:gd name="connsiteY798" fmla="*/ 290574 h 895572"/>
              <a:gd name="connsiteX799" fmla="*/ 903253 w 1090712"/>
              <a:gd name="connsiteY799" fmla="*/ 285347 h 895572"/>
              <a:gd name="connsiteX800" fmla="*/ 886384 w 1090712"/>
              <a:gd name="connsiteY800" fmla="*/ 268478 h 895572"/>
              <a:gd name="connsiteX801" fmla="*/ 879731 w 1090712"/>
              <a:gd name="connsiteY801" fmla="*/ 270141 h 895572"/>
              <a:gd name="connsiteX802" fmla="*/ 873079 w 1090712"/>
              <a:gd name="connsiteY802" fmla="*/ 271091 h 895572"/>
              <a:gd name="connsiteX803" fmla="*/ 867376 w 1090712"/>
              <a:gd name="connsiteY803" fmla="*/ 271567 h 895572"/>
              <a:gd name="connsiteX804" fmla="*/ 862387 w 1090712"/>
              <a:gd name="connsiteY804" fmla="*/ 271091 h 895572"/>
              <a:gd name="connsiteX805" fmla="*/ 857398 w 1090712"/>
              <a:gd name="connsiteY805" fmla="*/ 269666 h 895572"/>
              <a:gd name="connsiteX806" fmla="*/ 853596 w 1090712"/>
              <a:gd name="connsiteY806" fmla="*/ 268003 h 895572"/>
              <a:gd name="connsiteX807" fmla="*/ 849557 w 1090712"/>
              <a:gd name="connsiteY807" fmla="*/ 265627 h 895572"/>
              <a:gd name="connsiteX808" fmla="*/ 846468 w 1090712"/>
              <a:gd name="connsiteY808" fmla="*/ 262538 h 895572"/>
              <a:gd name="connsiteX809" fmla="*/ 843380 w 1090712"/>
              <a:gd name="connsiteY809" fmla="*/ 259450 h 895572"/>
              <a:gd name="connsiteX810" fmla="*/ 840529 w 1090712"/>
              <a:gd name="connsiteY810" fmla="*/ 255411 h 895572"/>
              <a:gd name="connsiteX811" fmla="*/ 838390 w 1090712"/>
              <a:gd name="connsiteY811" fmla="*/ 251134 h 895572"/>
              <a:gd name="connsiteX812" fmla="*/ 836490 w 1090712"/>
              <a:gd name="connsiteY812" fmla="*/ 246620 h 895572"/>
              <a:gd name="connsiteX813" fmla="*/ 834827 w 1090712"/>
              <a:gd name="connsiteY813" fmla="*/ 241155 h 895572"/>
              <a:gd name="connsiteX814" fmla="*/ 833401 w 1090712"/>
              <a:gd name="connsiteY814" fmla="*/ 235453 h 895572"/>
              <a:gd name="connsiteX815" fmla="*/ 831263 w 1090712"/>
              <a:gd name="connsiteY815" fmla="*/ 223336 h 895572"/>
              <a:gd name="connsiteX816" fmla="*/ 897551 w 1090712"/>
              <a:gd name="connsiteY816" fmla="*/ 206942 h 895572"/>
              <a:gd name="connsiteX817" fmla="*/ 888997 w 1090712"/>
              <a:gd name="connsiteY817" fmla="*/ 194112 h 895572"/>
              <a:gd name="connsiteX818" fmla="*/ 880682 w 1090712"/>
              <a:gd name="connsiteY818" fmla="*/ 181282 h 895572"/>
              <a:gd name="connsiteX819" fmla="*/ 871416 w 1090712"/>
              <a:gd name="connsiteY819" fmla="*/ 168690 h 895572"/>
              <a:gd name="connsiteX820" fmla="*/ 866901 w 1090712"/>
              <a:gd name="connsiteY820" fmla="*/ 162988 h 895572"/>
              <a:gd name="connsiteX821" fmla="*/ 861437 w 1090712"/>
              <a:gd name="connsiteY821" fmla="*/ 157048 h 895572"/>
              <a:gd name="connsiteX822" fmla="*/ 856210 w 1090712"/>
              <a:gd name="connsiteY822" fmla="*/ 151821 h 895572"/>
              <a:gd name="connsiteX823" fmla="*/ 850745 w 1090712"/>
              <a:gd name="connsiteY823" fmla="*/ 146831 h 895572"/>
              <a:gd name="connsiteX824" fmla="*/ 844568 w 1090712"/>
              <a:gd name="connsiteY824" fmla="*/ 142555 h 895572"/>
              <a:gd name="connsiteX825" fmla="*/ 838390 w 1090712"/>
              <a:gd name="connsiteY825" fmla="*/ 138516 h 895572"/>
              <a:gd name="connsiteX826" fmla="*/ 831738 w 1090712"/>
              <a:gd name="connsiteY826" fmla="*/ 134952 h 895572"/>
              <a:gd name="connsiteX827" fmla="*/ 824610 w 1090712"/>
              <a:gd name="connsiteY827" fmla="*/ 132338 h 895572"/>
              <a:gd name="connsiteX828" fmla="*/ 817007 w 1090712"/>
              <a:gd name="connsiteY828" fmla="*/ 129963 h 895572"/>
              <a:gd name="connsiteX829" fmla="*/ 808929 w 1090712"/>
              <a:gd name="connsiteY829" fmla="*/ 128774 h 895572"/>
              <a:gd name="connsiteX830" fmla="*/ 806791 w 1090712"/>
              <a:gd name="connsiteY830" fmla="*/ 128299 h 895572"/>
              <a:gd name="connsiteX831" fmla="*/ 804652 w 1090712"/>
              <a:gd name="connsiteY831" fmla="*/ 127824 h 895572"/>
              <a:gd name="connsiteX832" fmla="*/ 802752 w 1090712"/>
              <a:gd name="connsiteY832" fmla="*/ 126399 h 895572"/>
              <a:gd name="connsiteX833" fmla="*/ 801089 w 1090712"/>
              <a:gd name="connsiteY833" fmla="*/ 125211 h 895572"/>
              <a:gd name="connsiteX834" fmla="*/ 799663 w 1090712"/>
              <a:gd name="connsiteY834" fmla="*/ 123310 h 895572"/>
              <a:gd name="connsiteX835" fmla="*/ 798713 w 1090712"/>
              <a:gd name="connsiteY835" fmla="*/ 121647 h 895572"/>
              <a:gd name="connsiteX836" fmla="*/ 798000 w 1090712"/>
              <a:gd name="connsiteY836" fmla="*/ 119271 h 895572"/>
              <a:gd name="connsiteX837" fmla="*/ 798000 w 1090712"/>
              <a:gd name="connsiteY837" fmla="*/ 117608 h 895572"/>
              <a:gd name="connsiteX838" fmla="*/ 785408 w 1090712"/>
              <a:gd name="connsiteY838" fmla="*/ 106916 h 895572"/>
              <a:gd name="connsiteX839" fmla="*/ 772578 w 1090712"/>
              <a:gd name="connsiteY839" fmla="*/ 95749 h 895572"/>
              <a:gd name="connsiteX840" fmla="*/ 747155 w 1090712"/>
              <a:gd name="connsiteY840" fmla="*/ 72703 h 895572"/>
              <a:gd name="connsiteX841" fmla="*/ 733850 w 1090712"/>
              <a:gd name="connsiteY841" fmla="*/ 61061 h 895572"/>
              <a:gd name="connsiteX842" fmla="*/ 720545 w 1090712"/>
              <a:gd name="connsiteY842" fmla="*/ 49894 h 895572"/>
              <a:gd name="connsiteX843" fmla="*/ 706765 w 1090712"/>
              <a:gd name="connsiteY843" fmla="*/ 38728 h 895572"/>
              <a:gd name="connsiteX844" fmla="*/ 692510 w 1090712"/>
              <a:gd name="connsiteY844" fmla="*/ 28036 h 895572"/>
              <a:gd name="connsiteX845" fmla="*/ 679442 w 1090712"/>
              <a:gd name="connsiteY845" fmla="*/ 21859 h 895572"/>
              <a:gd name="connsiteX846" fmla="*/ 666137 w 1090712"/>
              <a:gd name="connsiteY846" fmla="*/ 16632 h 895572"/>
              <a:gd name="connsiteX847" fmla="*/ 652832 w 1090712"/>
              <a:gd name="connsiteY847" fmla="*/ 11642 h 895572"/>
              <a:gd name="connsiteX848" fmla="*/ 639527 w 1090712"/>
              <a:gd name="connsiteY848" fmla="*/ 7603 h 895572"/>
              <a:gd name="connsiteX849" fmla="*/ 626222 w 1090712"/>
              <a:gd name="connsiteY849" fmla="*/ 4514 h 895572"/>
              <a:gd name="connsiteX850" fmla="*/ 612917 w 1090712"/>
              <a:gd name="connsiteY850" fmla="*/ 1901 h 895572"/>
              <a:gd name="connsiteX851" fmla="*/ 599374 w 1090712"/>
              <a:gd name="connsiteY851" fmla="*/ 475 h 8955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Lst>
            <a:rect l="l" t="t" r="r" b="b"/>
            <a:pathLst>
              <a:path w="1090712" h="895572">
                <a:moveTo>
                  <a:pt x="603413" y="721327"/>
                </a:moveTo>
                <a:lnTo>
                  <a:pt x="578466" y="770746"/>
                </a:lnTo>
                <a:lnTo>
                  <a:pt x="553519" y="818264"/>
                </a:lnTo>
                <a:lnTo>
                  <a:pt x="528334" y="865069"/>
                </a:lnTo>
                <a:lnTo>
                  <a:pt x="511825" y="895572"/>
                </a:lnTo>
                <a:lnTo>
                  <a:pt x="624528" y="895572"/>
                </a:lnTo>
                <a:lnTo>
                  <a:pt x="624796" y="894768"/>
                </a:lnTo>
                <a:lnTo>
                  <a:pt x="625271" y="891679"/>
                </a:lnTo>
                <a:lnTo>
                  <a:pt x="625747" y="889066"/>
                </a:lnTo>
                <a:lnTo>
                  <a:pt x="625747" y="860555"/>
                </a:lnTo>
                <a:lnTo>
                  <a:pt x="624796" y="833945"/>
                </a:lnTo>
                <a:lnTo>
                  <a:pt x="624321" y="820877"/>
                </a:lnTo>
                <a:lnTo>
                  <a:pt x="623608" y="808047"/>
                </a:lnTo>
                <a:lnTo>
                  <a:pt x="621708" y="795218"/>
                </a:lnTo>
                <a:lnTo>
                  <a:pt x="620044" y="782625"/>
                </a:lnTo>
                <a:lnTo>
                  <a:pt x="616005" y="766707"/>
                </a:lnTo>
                <a:lnTo>
                  <a:pt x="611966" y="751976"/>
                </a:lnTo>
                <a:lnTo>
                  <a:pt x="607452" y="737245"/>
                </a:lnTo>
                <a:close/>
                <a:moveTo>
                  <a:pt x="698212" y="530778"/>
                </a:moveTo>
                <a:lnTo>
                  <a:pt x="693460" y="534818"/>
                </a:lnTo>
                <a:lnTo>
                  <a:pt x="688471" y="538857"/>
                </a:lnTo>
                <a:lnTo>
                  <a:pt x="678254" y="546935"/>
                </a:lnTo>
                <a:lnTo>
                  <a:pt x="669226" y="553587"/>
                </a:lnTo>
                <a:lnTo>
                  <a:pt x="663048" y="558814"/>
                </a:lnTo>
                <a:lnTo>
                  <a:pt x="663048" y="556676"/>
                </a:lnTo>
                <a:lnTo>
                  <a:pt x="663523" y="554538"/>
                </a:lnTo>
                <a:lnTo>
                  <a:pt x="665424" y="550498"/>
                </a:lnTo>
                <a:lnTo>
                  <a:pt x="668038" y="546459"/>
                </a:lnTo>
                <a:lnTo>
                  <a:pt x="671602" y="542420"/>
                </a:lnTo>
                <a:lnTo>
                  <a:pt x="676829" y="538857"/>
                </a:lnTo>
                <a:lnTo>
                  <a:pt x="682768" y="535768"/>
                </a:lnTo>
                <a:lnTo>
                  <a:pt x="689896" y="533154"/>
                </a:lnTo>
                <a:close/>
                <a:moveTo>
                  <a:pt x="654257" y="302216"/>
                </a:moveTo>
                <a:lnTo>
                  <a:pt x="651882" y="302691"/>
                </a:lnTo>
                <a:lnTo>
                  <a:pt x="649268" y="303166"/>
                </a:lnTo>
                <a:lnTo>
                  <a:pt x="647130" y="304354"/>
                </a:lnTo>
                <a:lnTo>
                  <a:pt x="644516" y="306255"/>
                </a:lnTo>
                <a:lnTo>
                  <a:pt x="642140" y="307918"/>
                </a:lnTo>
                <a:lnTo>
                  <a:pt x="640002" y="310294"/>
                </a:lnTo>
                <a:lnTo>
                  <a:pt x="638101" y="312432"/>
                </a:lnTo>
                <a:lnTo>
                  <a:pt x="636913" y="314571"/>
                </a:lnTo>
                <a:lnTo>
                  <a:pt x="635963" y="316946"/>
                </a:lnTo>
                <a:lnTo>
                  <a:pt x="635963" y="319085"/>
                </a:lnTo>
                <a:lnTo>
                  <a:pt x="636913" y="321223"/>
                </a:lnTo>
                <a:lnTo>
                  <a:pt x="637626" y="324074"/>
                </a:lnTo>
                <a:lnTo>
                  <a:pt x="639527" y="326688"/>
                </a:lnTo>
                <a:lnTo>
                  <a:pt x="643091" y="331677"/>
                </a:lnTo>
                <a:lnTo>
                  <a:pt x="647130" y="335954"/>
                </a:lnTo>
                <a:lnTo>
                  <a:pt x="655920" y="330727"/>
                </a:lnTo>
                <a:lnTo>
                  <a:pt x="663999" y="324787"/>
                </a:lnTo>
                <a:lnTo>
                  <a:pt x="679917" y="313383"/>
                </a:lnTo>
                <a:lnTo>
                  <a:pt x="676354" y="311007"/>
                </a:lnTo>
                <a:lnTo>
                  <a:pt x="672790" y="308393"/>
                </a:lnTo>
                <a:lnTo>
                  <a:pt x="668988" y="306730"/>
                </a:lnTo>
                <a:lnTo>
                  <a:pt x="664949" y="304829"/>
                </a:lnTo>
                <a:lnTo>
                  <a:pt x="660910" y="303641"/>
                </a:lnTo>
                <a:lnTo>
                  <a:pt x="657346" y="302691"/>
                </a:lnTo>
                <a:close/>
                <a:moveTo>
                  <a:pt x="696549" y="252322"/>
                </a:moveTo>
                <a:lnTo>
                  <a:pt x="696786" y="259925"/>
                </a:lnTo>
                <a:lnTo>
                  <a:pt x="698212" y="266102"/>
                </a:lnTo>
                <a:lnTo>
                  <a:pt x="700113" y="272042"/>
                </a:lnTo>
                <a:lnTo>
                  <a:pt x="701776" y="276794"/>
                </a:lnTo>
                <a:lnTo>
                  <a:pt x="704389" y="280833"/>
                </a:lnTo>
                <a:lnTo>
                  <a:pt x="707240" y="284397"/>
                </a:lnTo>
                <a:lnTo>
                  <a:pt x="710329" y="287010"/>
                </a:lnTo>
                <a:lnTo>
                  <a:pt x="713418" y="289624"/>
                </a:lnTo>
                <a:lnTo>
                  <a:pt x="716506" y="291524"/>
                </a:lnTo>
                <a:lnTo>
                  <a:pt x="719595" y="293187"/>
                </a:lnTo>
                <a:lnTo>
                  <a:pt x="725772" y="295088"/>
                </a:lnTo>
                <a:lnTo>
                  <a:pt x="731237" y="296514"/>
                </a:lnTo>
                <a:lnTo>
                  <a:pt x="734801" y="296751"/>
                </a:lnTo>
                <a:lnTo>
                  <a:pt x="722209" y="303879"/>
                </a:lnTo>
                <a:lnTo>
                  <a:pt x="710804" y="311007"/>
                </a:lnTo>
                <a:lnTo>
                  <a:pt x="688471" y="324787"/>
                </a:lnTo>
                <a:lnTo>
                  <a:pt x="667563" y="339043"/>
                </a:lnTo>
                <a:lnTo>
                  <a:pt x="646179" y="352823"/>
                </a:lnTo>
                <a:lnTo>
                  <a:pt x="620044" y="313383"/>
                </a:lnTo>
                <a:lnTo>
                  <a:pt x="617668" y="312432"/>
                </a:lnTo>
                <a:lnTo>
                  <a:pt x="615055" y="312432"/>
                </a:lnTo>
                <a:lnTo>
                  <a:pt x="612441" y="313383"/>
                </a:lnTo>
                <a:lnTo>
                  <a:pt x="609353" y="314095"/>
                </a:lnTo>
                <a:lnTo>
                  <a:pt x="602938" y="316946"/>
                </a:lnTo>
                <a:lnTo>
                  <a:pt x="599849" y="317659"/>
                </a:lnTo>
                <a:lnTo>
                  <a:pt x="596760" y="318610"/>
                </a:lnTo>
                <a:lnTo>
                  <a:pt x="607927" y="307205"/>
                </a:lnTo>
                <a:lnTo>
                  <a:pt x="618619" y="295088"/>
                </a:lnTo>
                <a:lnTo>
                  <a:pt x="623846" y="289386"/>
                </a:lnTo>
                <a:lnTo>
                  <a:pt x="629786" y="283921"/>
                </a:lnTo>
                <a:lnTo>
                  <a:pt x="635963" y="278694"/>
                </a:lnTo>
                <a:lnTo>
                  <a:pt x="642140" y="273705"/>
                </a:lnTo>
                <a:lnTo>
                  <a:pt x="648793" y="269191"/>
                </a:lnTo>
                <a:lnTo>
                  <a:pt x="655446" y="265627"/>
                </a:lnTo>
                <a:lnTo>
                  <a:pt x="662098" y="263013"/>
                </a:lnTo>
                <a:lnTo>
                  <a:pt x="668988" y="260400"/>
                </a:lnTo>
                <a:lnTo>
                  <a:pt x="682768" y="256361"/>
                </a:lnTo>
                <a:close/>
                <a:moveTo>
                  <a:pt x="1030602" y="200289"/>
                </a:moveTo>
                <a:lnTo>
                  <a:pt x="1027513" y="207892"/>
                </a:lnTo>
                <a:lnTo>
                  <a:pt x="1023949" y="214545"/>
                </a:lnTo>
                <a:lnTo>
                  <a:pt x="1019910" y="221197"/>
                </a:lnTo>
                <a:lnTo>
                  <a:pt x="1015396" y="226899"/>
                </a:lnTo>
                <a:lnTo>
                  <a:pt x="1011119" y="232839"/>
                </a:lnTo>
                <a:lnTo>
                  <a:pt x="1006130" y="237591"/>
                </a:lnTo>
                <a:lnTo>
                  <a:pt x="1001140" y="242105"/>
                </a:lnTo>
                <a:lnTo>
                  <a:pt x="996388" y="246144"/>
                </a:lnTo>
                <a:lnTo>
                  <a:pt x="990924" y="249708"/>
                </a:lnTo>
                <a:lnTo>
                  <a:pt x="985697" y="252797"/>
                </a:lnTo>
                <a:lnTo>
                  <a:pt x="980232" y="254935"/>
                </a:lnTo>
                <a:lnTo>
                  <a:pt x="975005" y="256836"/>
                </a:lnTo>
                <a:lnTo>
                  <a:pt x="969541" y="258262"/>
                </a:lnTo>
                <a:lnTo>
                  <a:pt x="963839" y="258499"/>
                </a:lnTo>
                <a:lnTo>
                  <a:pt x="958612" y="258499"/>
                </a:lnTo>
                <a:lnTo>
                  <a:pt x="953622" y="257786"/>
                </a:lnTo>
                <a:lnTo>
                  <a:pt x="970966" y="244006"/>
                </a:lnTo>
                <a:lnTo>
                  <a:pt x="990211" y="229275"/>
                </a:lnTo>
                <a:lnTo>
                  <a:pt x="1010169" y="214069"/>
                </a:lnTo>
                <a:lnTo>
                  <a:pt x="1020385" y="206942"/>
                </a:lnTo>
                <a:close/>
                <a:moveTo>
                  <a:pt x="389581" y="176768"/>
                </a:moveTo>
                <a:lnTo>
                  <a:pt x="397422" y="177243"/>
                </a:lnTo>
                <a:lnTo>
                  <a:pt x="414766" y="178906"/>
                </a:lnTo>
                <a:lnTo>
                  <a:pt x="405500" y="179856"/>
                </a:lnTo>
                <a:lnTo>
                  <a:pt x="396946" y="181995"/>
                </a:lnTo>
                <a:lnTo>
                  <a:pt x="389581" y="184371"/>
                </a:lnTo>
                <a:lnTo>
                  <a:pt x="381978" y="186984"/>
                </a:lnTo>
                <a:lnTo>
                  <a:pt x="375326" y="190548"/>
                </a:lnTo>
                <a:lnTo>
                  <a:pt x="368911" y="194112"/>
                </a:lnTo>
                <a:lnTo>
                  <a:pt x="363208" y="198626"/>
                </a:lnTo>
                <a:lnTo>
                  <a:pt x="357981" y="202903"/>
                </a:lnTo>
                <a:lnTo>
                  <a:pt x="352517" y="208367"/>
                </a:lnTo>
                <a:lnTo>
                  <a:pt x="348003" y="214070"/>
                </a:lnTo>
                <a:lnTo>
                  <a:pt x="343726" y="220247"/>
                </a:lnTo>
                <a:lnTo>
                  <a:pt x="339687" y="226662"/>
                </a:lnTo>
                <a:lnTo>
                  <a:pt x="335648" y="233790"/>
                </a:lnTo>
                <a:lnTo>
                  <a:pt x="332559" y="240917"/>
                </a:lnTo>
                <a:lnTo>
                  <a:pt x="328995" y="248758"/>
                </a:lnTo>
                <a:lnTo>
                  <a:pt x="325907" y="256836"/>
                </a:lnTo>
                <a:lnTo>
                  <a:pt x="325432" y="252797"/>
                </a:lnTo>
                <a:lnTo>
                  <a:pt x="324956" y="248283"/>
                </a:lnTo>
                <a:lnTo>
                  <a:pt x="323056" y="239492"/>
                </a:lnTo>
                <a:lnTo>
                  <a:pt x="320917" y="229275"/>
                </a:lnTo>
                <a:lnTo>
                  <a:pt x="320442" y="223811"/>
                </a:lnTo>
                <a:lnTo>
                  <a:pt x="319967" y="217633"/>
                </a:lnTo>
                <a:lnTo>
                  <a:pt x="314740" y="217633"/>
                </a:lnTo>
                <a:lnTo>
                  <a:pt x="302148" y="243056"/>
                </a:lnTo>
                <a:lnTo>
                  <a:pt x="289793" y="267528"/>
                </a:lnTo>
                <a:lnTo>
                  <a:pt x="277438" y="291049"/>
                </a:lnTo>
                <a:lnTo>
                  <a:pt x="264371" y="312907"/>
                </a:lnTo>
                <a:lnTo>
                  <a:pt x="267459" y="295088"/>
                </a:lnTo>
                <a:lnTo>
                  <a:pt x="271023" y="279170"/>
                </a:lnTo>
                <a:lnTo>
                  <a:pt x="274587" y="263964"/>
                </a:lnTo>
                <a:lnTo>
                  <a:pt x="279101" y="250183"/>
                </a:lnTo>
                <a:lnTo>
                  <a:pt x="284091" y="238066"/>
                </a:lnTo>
                <a:lnTo>
                  <a:pt x="289318" y="226900"/>
                </a:lnTo>
                <a:lnTo>
                  <a:pt x="292406" y="221673"/>
                </a:lnTo>
                <a:lnTo>
                  <a:pt x="295495" y="217158"/>
                </a:lnTo>
                <a:lnTo>
                  <a:pt x="298584" y="212406"/>
                </a:lnTo>
                <a:lnTo>
                  <a:pt x="302148" y="208367"/>
                </a:lnTo>
                <a:lnTo>
                  <a:pt x="305711" y="204328"/>
                </a:lnTo>
                <a:lnTo>
                  <a:pt x="309275" y="200765"/>
                </a:lnTo>
                <a:lnTo>
                  <a:pt x="313314" y="197201"/>
                </a:lnTo>
                <a:lnTo>
                  <a:pt x="317354" y="194112"/>
                </a:lnTo>
                <a:lnTo>
                  <a:pt x="321868" y="191498"/>
                </a:lnTo>
                <a:lnTo>
                  <a:pt x="326382" y="188647"/>
                </a:lnTo>
                <a:lnTo>
                  <a:pt x="330659" y="186509"/>
                </a:lnTo>
                <a:lnTo>
                  <a:pt x="335648" y="184371"/>
                </a:lnTo>
                <a:lnTo>
                  <a:pt x="340637" y="182470"/>
                </a:lnTo>
                <a:lnTo>
                  <a:pt x="345864" y="181282"/>
                </a:lnTo>
                <a:lnTo>
                  <a:pt x="351091" y="179856"/>
                </a:lnTo>
                <a:lnTo>
                  <a:pt x="357031" y="178431"/>
                </a:lnTo>
                <a:lnTo>
                  <a:pt x="368911" y="177243"/>
                </a:lnTo>
                <a:lnTo>
                  <a:pt x="381978" y="176768"/>
                </a:lnTo>
                <a:close/>
                <a:moveTo>
                  <a:pt x="609353" y="174629"/>
                </a:moveTo>
                <a:lnTo>
                  <a:pt x="602463" y="180807"/>
                </a:lnTo>
                <a:lnTo>
                  <a:pt x="596285" y="187459"/>
                </a:lnTo>
                <a:lnTo>
                  <a:pt x="583931" y="201715"/>
                </a:lnTo>
                <a:lnTo>
                  <a:pt x="571101" y="215495"/>
                </a:lnTo>
                <a:lnTo>
                  <a:pt x="564686" y="222148"/>
                </a:lnTo>
                <a:lnTo>
                  <a:pt x="558508" y="228325"/>
                </a:lnTo>
                <a:lnTo>
                  <a:pt x="557558" y="223335"/>
                </a:lnTo>
                <a:lnTo>
                  <a:pt x="557083" y="219059"/>
                </a:lnTo>
                <a:lnTo>
                  <a:pt x="557083" y="215020"/>
                </a:lnTo>
                <a:lnTo>
                  <a:pt x="557558" y="210981"/>
                </a:lnTo>
                <a:lnTo>
                  <a:pt x="558508" y="207417"/>
                </a:lnTo>
                <a:lnTo>
                  <a:pt x="560409" y="203853"/>
                </a:lnTo>
                <a:lnTo>
                  <a:pt x="562072" y="200764"/>
                </a:lnTo>
                <a:lnTo>
                  <a:pt x="564686" y="197676"/>
                </a:lnTo>
                <a:lnTo>
                  <a:pt x="567774" y="194587"/>
                </a:lnTo>
                <a:lnTo>
                  <a:pt x="571813" y="191973"/>
                </a:lnTo>
                <a:lnTo>
                  <a:pt x="576328" y="188647"/>
                </a:lnTo>
                <a:lnTo>
                  <a:pt x="581317" y="186034"/>
                </a:lnTo>
                <a:lnTo>
                  <a:pt x="587019" y="183420"/>
                </a:lnTo>
                <a:lnTo>
                  <a:pt x="593672" y="180332"/>
                </a:lnTo>
                <a:close/>
                <a:moveTo>
                  <a:pt x="586544" y="0"/>
                </a:moveTo>
                <a:lnTo>
                  <a:pt x="570150" y="2851"/>
                </a:lnTo>
                <a:lnTo>
                  <a:pt x="553519" y="5940"/>
                </a:lnTo>
                <a:lnTo>
                  <a:pt x="536650" y="10454"/>
                </a:lnTo>
                <a:lnTo>
                  <a:pt x="520256" y="14731"/>
                </a:lnTo>
                <a:lnTo>
                  <a:pt x="486993" y="24472"/>
                </a:lnTo>
                <a:lnTo>
                  <a:pt x="469887" y="28986"/>
                </a:lnTo>
                <a:lnTo>
                  <a:pt x="453493" y="33500"/>
                </a:lnTo>
                <a:lnTo>
                  <a:pt x="438762" y="40153"/>
                </a:lnTo>
                <a:lnTo>
                  <a:pt x="424507" y="47281"/>
                </a:lnTo>
                <a:lnTo>
                  <a:pt x="417379" y="51320"/>
                </a:lnTo>
                <a:lnTo>
                  <a:pt x="410727" y="55834"/>
                </a:lnTo>
                <a:lnTo>
                  <a:pt x="403599" y="60111"/>
                </a:lnTo>
                <a:lnTo>
                  <a:pt x="397422" y="65100"/>
                </a:lnTo>
                <a:lnTo>
                  <a:pt x="390769" y="69852"/>
                </a:lnTo>
                <a:lnTo>
                  <a:pt x="384592" y="75792"/>
                </a:lnTo>
                <a:lnTo>
                  <a:pt x="378889" y="81494"/>
                </a:lnTo>
                <a:lnTo>
                  <a:pt x="372950" y="87671"/>
                </a:lnTo>
                <a:lnTo>
                  <a:pt x="367723" y="94324"/>
                </a:lnTo>
                <a:lnTo>
                  <a:pt x="362733" y="101452"/>
                </a:lnTo>
                <a:lnTo>
                  <a:pt x="357981" y="109055"/>
                </a:lnTo>
                <a:lnTo>
                  <a:pt x="353467" y="117608"/>
                </a:lnTo>
                <a:lnTo>
                  <a:pt x="409064" y="117608"/>
                </a:lnTo>
                <a:lnTo>
                  <a:pt x="406925" y="119271"/>
                </a:lnTo>
                <a:lnTo>
                  <a:pt x="404074" y="121647"/>
                </a:lnTo>
                <a:lnTo>
                  <a:pt x="400510" y="123310"/>
                </a:lnTo>
                <a:lnTo>
                  <a:pt x="397422" y="125211"/>
                </a:lnTo>
                <a:lnTo>
                  <a:pt x="393383" y="126399"/>
                </a:lnTo>
                <a:lnTo>
                  <a:pt x="389581" y="127824"/>
                </a:lnTo>
                <a:lnTo>
                  <a:pt x="385542" y="128299"/>
                </a:lnTo>
                <a:lnTo>
                  <a:pt x="381503" y="128774"/>
                </a:lnTo>
                <a:lnTo>
                  <a:pt x="375326" y="130438"/>
                </a:lnTo>
                <a:lnTo>
                  <a:pt x="368435" y="131863"/>
                </a:lnTo>
                <a:lnTo>
                  <a:pt x="361783" y="133051"/>
                </a:lnTo>
                <a:lnTo>
                  <a:pt x="355606" y="134001"/>
                </a:lnTo>
                <a:lnTo>
                  <a:pt x="342300" y="135427"/>
                </a:lnTo>
                <a:lnTo>
                  <a:pt x="329471" y="137090"/>
                </a:lnTo>
                <a:lnTo>
                  <a:pt x="322818" y="138040"/>
                </a:lnTo>
                <a:lnTo>
                  <a:pt x="316403" y="139704"/>
                </a:lnTo>
                <a:lnTo>
                  <a:pt x="310226" y="141604"/>
                </a:lnTo>
                <a:lnTo>
                  <a:pt x="304048" y="144218"/>
                </a:lnTo>
                <a:lnTo>
                  <a:pt x="298346" y="147307"/>
                </a:lnTo>
                <a:lnTo>
                  <a:pt x="292406" y="151346"/>
                </a:lnTo>
                <a:lnTo>
                  <a:pt x="286704" y="156335"/>
                </a:lnTo>
                <a:lnTo>
                  <a:pt x="281240" y="162037"/>
                </a:lnTo>
                <a:lnTo>
                  <a:pt x="262232" y="182945"/>
                </a:lnTo>
                <a:lnTo>
                  <a:pt x="242987" y="203378"/>
                </a:lnTo>
                <a:lnTo>
                  <a:pt x="203547" y="244006"/>
                </a:lnTo>
                <a:lnTo>
                  <a:pt x="183827" y="264439"/>
                </a:lnTo>
                <a:lnTo>
                  <a:pt x="164345" y="285822"/>
                </a:lnTo>
                <a:lnTo>
                  <a:pt x="144862" y="307443"/>
                </a:lnTo>
                <a:lnTo>
                  <a:pt x="126093" y="329777"/>
                </a:lnTo>
                <a:lnTo>
                  <a:pt x="122054" y="335004"/>
                </a:lnTo>
                <a:lnTo>
                  <a:pt x="118015" y="340468"/>
                </a:lnTo>
                <a:lnTo>
                  <a:pt x="110887" y="352110"/>
                </a:lnTo>
                <a:lnTo>
                  <a:pt x="104709" y="363514"/>
                </a:lnTo>
                <a:lnTo>
                  <a:pt x="99007" y="375156"/>
                </a:lnTo>
                <a:lnTo>
                  <a:pt x="87840" y="400103"/>
                </a:lnTo>
                <a:lnTo>
                  <a:pt x="82138" y="412458"/>
                </a:lnTo>
                <a:lnTo>
                  <a:pt x="75723" y="425050"/>
                </a:lnTo>
                <a:lnTo>
                  <a:pt x="75723" y="429802"/>
                </a:lnTo>
                <a:lnTo>
                  <a:pt x="76674" y="436217"/>
                </a:lnTo>
                <a:lnTo>
                  <a:pt x="77149" y="439306"/>
                </a:lnTo>
                <a:lnTo>
                  <a:pt x="78574" y="442395"/>
                </a:lnTo>
                <a:lnTo>
                  <a:pt x="79762" y="445008"/>
                </a:lnTo>
                <a:lnTo>
                  <a:pt x="81663" y="447147"/>
                </a:lnTo>
                <a:lnTo>
                  <a:pt x="94018" y="468055"/>
                </a:lnTo>
                <a:lnTo>
                  <a:pt x="106848" y="488963"/>
                </a:lnTo>
                <a:lnTo>
                  <a:pt x="113975" y="499654"/>
                </a:lnTo>
                <a:lnTo>
                  <a:pt x="121103" y="510346"/>
                </a:lnTo>
                <a:lnTo>
                  <a:pt x="128706" y="520562"/>
                </a:lnTo>
                <a:lnTo>
                  <a:pt x="137259" y="531254"/>
                </a:lnTo>
                <a:lnTo>
                  <a:pt x="149614" y="514385"/>
                </a:lnTo>
                <a:lnTo>
                  <a:pt x="162206" y="498466"/>
                </a:lnTo>
                <a:lnTo>
                  <a:pt x="174561" y="483260"/>
                </a:lnTo>
                <a:lnTo>
                  <a:pt x="180739" y="476133"/>
                </a:lnTo>
                <a:lnTo>
                  <a:pt x="186916" y="469480"/>
                </a:lnTo>
                <a:lnTo>
                  <a:pt x="182639" y="482310"/>
                </a:lnTo>
                <a:lnTo>
                  <a:pt x="178125" y="495615"/>
                </a:lnTo>
                <a:lnTo>
                  <a:pt x="172423" y="509871"/>
                </a:lnTo>
                <a:lnTo>
                  <a:pt x="164820" y="525552"/>
                </a:lnTo>
                <a:lnTo>
                  <a:pt x="156267" y="538381"/>
                </a:lnTo>
                <a:lnTo>
                  <a:pt x="152703" y="544559"/>
                </a:lnTo>
                <a:lnTo>
                  <a:pt x="148664" y="551449"/>
                </a:lnTo>
                <a:lnTo>
                  <a:pt x="145100" y="558339"/>
                </a:lnTo>
                <a:lnTo>
                  <a:pt x="142011" y="565467"/>
                </a:lnTo>
                <a:lnTo>
                  <a:pt x="139398" y="573070"/>
                </a:lnTo>
                <a:lnTo>
                  <a:pt x="137259" y="581623"/>
                </a:lnTo>
                <a:lnTo>
                  <a:pt x="136309" y="583761"/>
                </a:lnTo>
                <a:lnTo>
                  <a:pt x="135359" y="586137"/>
                </a:lnTo>
                <a:lnTo>
                  <a:pt x="134883" y="590889"/>
                </a:lnTo>
                <a:lnTo>
                  <a:pt x="134883" y="595879"/>
                </a:lnTo>
                <a:lnTo>
                  <a:pt x="135359" y="601106"/>
                </a:lnTo>
                <a:lnTo>
                  <a:pt x="136784" y="606095"/>
                </a:lnTo>
                <a:lnTo>
                  <a:pt x="138447" y="611322"/>
                </a:lnTo>
                <a:lnTo>
                  <a:pt x="140348" y="616311"/>
                </a:lnTo>
                <a:lnTo>
                  <a:pt x="142486" y="620826"/>
                </a:lnTo>
                <a:lnTo>
                  <a:pt x="148664" y="629616"/>
                </a:lnTo>
                <a:lnTo>
                  <a:pt x="155554" y="637219"/>
                </a:lnTo>
                <a:lnTo>
                  <a:pt x="162444" y="643872"/>
                </a:lnTo>
                <a:lnTo>
                  <a:pt x="169572" y="649099"/>
                </a:lnTo>
                <a:lnTo>
                  <a:pt x="177175" y="653613"/>
                </a:lnTo>
                <a:lnTo>
                  <a:pt x="184778" y="657177"/>
                </a:lnTo>
                <a:lnTo>
                  <a:pt x="192856" y="659553"/>
                </a:lnTo>
                <a:lnTo>
                  <a:pt x="200934" y="661216"/>
                </a:lnTo>
                <a:lnTo>
                  <a:pt x="209250" y="661691"/>
                </a:lnTo>
                <a:lnTo>
                  <a:pt x="218278" y="661691"/>
                </a:lnTo>
                <a:lnTo>
                  <a:pt x="227069" y="660266"/>
                </a:lnTo>
                <a:lnTo>
                  <a:pt x="236335" y="658603"/>
                </a:lnTo>
                <a:lnTo>
                  <a:pt x="245838" y="655514"/>
                </a:lnTo>
                <a:lnTo>
                  <a:pt x="255580" y="652425"/>
                </a:lnTo>
                <a:lnTo>
                  <a:pt x="265321" y="647911"/>
                </a:lnTo>
                <a:lnTo>
                  <a:pt x="276013" y="642922"/>
                </a:lnTo>
                <a:lnTo>
                  <a:pt x="288367" y="635081"/>
                </a:lnTo>
                <a:lnTo>
                  <a:pt x="301910" y="627478"/>
                </a:lnTo>
                <a:lnTo>
                  <a:pt x="315215" y="620350"/>
                </a:lnTo>
                <a:lnTo>
                  <a:pt x="329471" y="613698"/>
                </a:lnTo>
                <a:lnTo>
                  <a:pt x="343726" y="607283"/>
                </a:lnTo>
                <a:lnTo>
                  <a:pt x="357981" y="602056"/>
                </a:lnTo>
                <a:lnTo>
                  <a:pt x="371999" y="597066"/>
                </a:lnTo>
                <a:lnTo>
                  <a:pt x="386730" y="592790"/>
                </a:lnTo>
                <a:lnTo>
                  <a:pt x="394808" y="590414"/>
                </a:lnTo>
                <a:lnTo>
                  <a:pt x="402411" y="587325"/>
                </a:lnTo>
                <a:lnTo>
                  <a:pt x="409064" y="583761"/>
                </a:lnTo>
                <a:lnTo>
                  <a:pt x="411677" y="581623"/>
                </a:lnTo>
                <a:lnTo>
                  <a:pt x="414766" y="579247"/>
                </a:lnTo>
                <a:lnTo>
                  <a:pt x="417142" y="577109"/>
                </a:lnTo>
                <a:lnTo>
                  <a:pt x="419280" y="574495"/>
                </a:lnTo>
                <a:lnTo>
                  <a:pt x="420943" y="571407"/>
                </a:lnTo>
                <a:lnTo>
                  <a:pt x="422844" y="568318"/>
                </a:lnTo>
                <a:lnTo>
                  <a:pt x="424269" y="565229"/>
                </a:lnTo>
                <a:lnTo>
                  <a:pt x="424982" y="561665"/>
                </a:lnTo>
                <a:lnTo>
                  <a:pt x="425457" y="557626"/>
                </a:lnTo>
                <a:lnTo>
                  <a:pt x="425932" y="553587"/>
                </a:lnTo>
                <a:lnTo>
                  <a:pt x="425932" y="413884"/>
                </a:lnTo>
                <a:lnTo>
                  <a:pt x="425932" y="285347"/>
                </a:lnTo>
                <a:lnTo>
                  <a:pt x="429496" y="300078"/>
                </a:lnTo>
                <a:lnTo>
                  <a:pt x="433060" y="314096"/>
                </a:lnTo>
                <a:lnTo>
                  <a:pt x="436149" y="328826"/>
                </a:lnTo>
                <a:lnTo>
                  <a:pt x="438762" y="343082"/>
                </a:lnTo>
                <a:lnTo>
                  <a:pt x="443752" y="370642"/>
                </a:lnTo>
                <a:lnTo>
                  <a:pt x="447791" y="397015"/>
                </a:lnTo>
                <a:lnTo>
                  <a:pt x="451830" y="421962"/>
                </a:lnTo>
                <a:lnTo>
                  <a:pt x="454919" y="446434"/>
                </a:lnTo>
                <a:lnTo>
                  <a:pt x="456106" y="458313"/>
                </a:lnTo>
                <a:lnTo>
                  <a:pt x="457057" y="470430"/>
                </a:lnTo>
                <a:lnTo>
                  <a:pt x="457532" y="482310"/>
                </a:lnTo>
                <a:lnTo>
                  <a:pt x="457532" y="493952"/>
                </a:lnTo>
                <a:lnTo>
                  <a:pt x="457532" y="506069"/>
                </a:lnTo>
                <a:lnTo>
                  <a:pt x="456582" y="517473"/>
                </a:lnTo>
                <a:lnTo>
                  <a:pt x="455869" y="529116"/>
                </a:lnTo>
                <a:lnTo>
                  <a:pt x="453968" y="540757"/>
                </a:lnTo>
                <a:lnTo>
                  <a:pt x="452305" y="552162"/>
                </a:lnTo>
                <a:lnTo>
                  <a:pt x="449454" y="563804"/>
                </a:lnTo>
                <a:lnTo>
                  <a:pt x="446365" y="575446"/>
                </a:lnTo>
                <a:lnTo>
                  <a:pt x="442326" y="586850"/>
                </a:lnTo>
                <a:lnTo>
                  <a:pt x="440188" y="591364"/>
                </a:lnTo>
                <a:lnTo>
                  <a:pt x="437574" y="595403"/>
                </a:lnTo>
                <a:lnTo>
                  <a:pt x="434486" y="598967"/>
                </a:lnTo>
                <a:lnTo>
                  <a:pt x="431397" y="602531"/>
                </a:lnTo>
                <a:lnTo>
                  <a:pt x="428071" y="605145"/>
                </a:lnTo>
                <a:lnTo>
                  <a:pt x="424982" y="607283"/>
                </a:lnTo>
                <a:lnTo>
                  <a:pt x="422369" y="608708"/>
                </a:lnTo>
                <a:lnTo>
                  <a:pt x="420230" y="609659"/>
                </a:lnTo>
                <a:lnTo>
                  <a:pt x="410727" y="610847"/>
                </a:lnTo>
                <a:lnTo>
                  <a:pt x="401461" y="612748"/>
                </a:lnTo>
                <a:lnTo>
                  <a:pt x="392670" y="614886"/>
                </a:lnTo>
                <a:lnTo>
                  <a:pt x="383641" y="617262"/>
                </a:lnTo>
                <a:lnTo>
                  <a:pt x="374850" y="620350"/>
                </a:lnTo>
                <a:lnTo>
                  <a:pt x="365822" y="623914"/>
                </a:lnTo>
                <a:lnTo>
                  <a:pt x="348478" y="631042"/>
                </a:lnTo>
                <a:lnTo>
                  <a:pt x="331609" y="639358"/>
                </a:lnTo>
                <a:lnTo>
                  <a:pt x="314740" y="647911"/>
                </a:lnTo>
                <a:lnTo>
                  <a:pt x="281240" y="665255"/>
                </a:lnTo>
                <a:lnTo>
                  <a:pt x="274587" y="669294"/>
                </a:lnTo>
                <a:lnTo>
                  <a:pt x="267935" y="672858"/>
                </a:lnTo>
                <a:lnTo>
                  <a:pt x="261757" y="675947"/>
                </a:lnTo>
                <a:lnTo>
                  <a:pt x="255105" y="679035"/>
                </a:lnTo>
                <a:lnTo>
                  <a:pt x="248927" y="681174"/>
                </a:lnTo>
                <a:lnTo>
                  <a:pt x="242987" y="683075"/>
                </a:lnTo>
                <a:lnTo>
                  <a:pt x="236810" y="684738"/>
                </a:lnTo>
                <a:lnTo>
                  <a:pt x="231108" y="686163"/>
                </a:lnTo>
                <a:lnTo>
                  <a:pt x="225406" y="687114"/>
                </a:lnTo>
                <a:lnTo>
                  <a:pt x="219466" y="687589"/>
                </a:lnTo>
                <a:lnTo>
                  <a:pt x="213764" y="687589"/>
                </a:lnTo>
                <a:lnTo>
                  <a:pt x="208299" y="687589"/>
                </a:lnTo>
                <a:lnTo>
                  <a:pt x="203072" y="687114"/>
                </a:lnTo>
                <a:lnTo>
                  <a:pt x="197607" y="686163"/>
                </a:lnTo>
                <a:lnTo>
                  <a:pt x="192380" y="684738"/>
                </a:lnTo>
                <a:lnTo>
                  <a:pt x="186916" y="683550"/>
                </a:lnTo>
                <a:lnTo>
                  <a:pt x="181689" y="681649"/>
                </a:lnTo>
                <a:lnTo>
                  <a:pt x="176699" y="679986"/>
                </a:lnTo>
                <a:lnTo>
                  <a:pt x="171472" y="677610"/>
                </a:lnTo>
                <a:lnTo>
                  <a:pt x="166483" y="674996"/>
                </a:lnTo>
                <a:lnTo>
                  <a:pt x="156742" y="669294"/>
                </a:lnTo>
                <a:lnTo>
                  <a:pt x="147001" y="662167"/>
                </a:lnTo>
                <a:lnTo>
                  <a:pt x="137735" y="654564"/>
                </a:lnTo>
                <a:lnTo>
                  <a:pt x="127756" y="645535"/>
                </a:lnTo>
                <a:lnTo>
                  <a:pt x="118490" y="636269"/>
                </a:lnTo>
                <a:lnTo>
                  <a:pt x="109224" y="626053"/>
                </a:lnTo>
                <a:lnTo>
                  <a:pt x="107323" y="623914"/>
                </a:lnTo>
                <a:lnTo>
                  <a:pt x="106135" y="620350"/>
                </a:lnTo>
                <a:lnTo>
                  <a:pt x="105185" y="616311"/>
                </a:lnTo>
                <a:lnTo>
                  <a:pt x="105185" y="612272"/>
                </a:lnTo>
                <a:lnTo>
                  <a:pt x="105185" y="608233"/>
                </a:lnTo>
                <a:lnTo>
                  <a:pt x="106135" y="604194"/>
                </a:lnTo>
                <a:lnTo>
                  <a:pt x="107323" y="600630"/>
                </a:lnTo>
                <a:lnTo>
                  <a:pt x="109224" y="598017"/>
                </a:lnTo>
                <a:lnTo>
                  <a:pt x="111837" y="591840"/>
                </a:lnTo>
                <a:lnTo>
                  <a:pt x="113975" y="586137"/>
                </a:lnTo>
                <a:lnTo>
                  <a:pt x="115401" y="579722"/>
                </a:lnTo>
                <a:lnTo>
                  <a:pt x="115876" y="574020"/>
                </a:lnTo>
                <a:lnTo>
                  <a:pt x="115876" y="568318"/>
                </a:lnTo>
                <a:lnTo>
                  <a:pt x="115401" y="562378"/>
                </a:lnTo>
                <a:lnTo>
                  <a:pt x="114451" y="557151"/>
                </a:lnTo>
                <a:lnTo>
                  <a:pt x="112788" y="551449"/>
                </a:lnTo>
                <a:lnTo>
                  <a:pt x="110412" y="545984"/>
                </a:lnTo>
                <a:lnTo>
                  <a:pt x="108273" y="540757"/>
                </a:lnTo>
                <a:lnTo>
                  <a:pt x="105185" y="535293"/>
                </a:lnTo>
                <a:lnTo>
                  <a:pt x="102096" y="530066"/>
                </a:lnTo>
                <a:lnTo>
                  <a:pt x="94968" y="519374"/>
                </a:lnTo>
                <a:lnTo>
                  <a:pt x="86890" y="508683"/>
                </a:lnTo>
                <a:lnTo>
                  <a:pt x="78812" y="497991"/>
                </a:lnTo>
                <a:lnTo>
                  <a:pt x="70972" y="486824"/>
                </a:lnTo>
                <a:lnTo>
                  <a:pt x="67408" y="481122"/>
                </a:lnTo>
                <a:lnTo>
                  <a:pt x="64319" y="474707"/>
                </a:lnTo>
                <a:lnTo>
                  <a:pt x="61230" y="469005"/>
                </a:lnTo>
                <a:lnTo>
                  <a:pt x="58379" y="462828"/>
                </a:lnTo>
                <a:lnTo>
                  <a:pt x="56716" y="456175"/>
                </a:lnTo>
                <a:lnTo>
                  <a:pt x="54815" y="449998"/>
                </a:lnTo>
                <a:lnTo>
                  <a:pt x="54103" y="443345"/>
                </a:lnTo>
                <a:lnTo>
                  <a:pt x="53627" y="436455"/>
                </a:lnTo>
                <a:lnTo>
                  <a:pt x="53627" y="429327"/>
                </a:lnTo>
                <a:lnTo>
                  <a:pt x="54815" y="422675"/>
                </a:lnTo>
                <a:lnTo>
                  <a:pt x="56716" y="415547"/>
                </a:lnTo>
                <a:lnTo>
                  <a:pt x="59330" y="408182"/>
                </a:lnTo>
                <a:lnTo>
                  <a:pt x="60280" y="403192"/>
                </a:lnTo>
                <a:lnTo>
                  <a:pt x="61943" y="397965"/>
                </a:lnTo>
                <a:lnTo>
                  <a:pt x="65507" y="387986"/>
                </a:lnTo>
                <a:lnTo>
                  <a:pt x="69546" y="378720"/>
                </a:lnTo>
                <a:lnTo>
                  <a:pt x="74535" y="369929"/>
                </a:lnTo>
                <a:lnTo>
                  <a:pt x="79762" y="360901"/>
                </a:lnTo>
                <a:lnTo>
                  <a:pt x="85940" y="352585"/>
                </a:lnTo>
                <a:lnTo>
                  <a:pt x="98057" y="335479"/>
                </a:lnTo>
                <a:lnTo>
                  <a:pt x="102571" y="328113"/>
                </a:lnTo>
                <a:lnTo>
                  <a:pt x="106848" y="320986"/>
                </a:lnTo>
                <a:lnTo>
                  <a:pt x="116827" y="307205"/>
                </a:lnTo>
                <a:lnTo>
                  <a:pt x="127043" y="293188"/>
                </a:lnTo>
                <a:lnTo>
                  <a:pt x="137735" y="279407"/>
                </a:lnTo>
                <a:lnTo>
                  <a:pt x="159831" y="251847"/>
                </a:lnTo>
                <a:lnTo>
                  <a:pt x="170522" y="238066"/>
                </a:lnTo>
                <a:lnTo>
                  <a:pt x="181214" y="223336"/>
                </a:lnTo>
                <a:lnTo>
                  <a:pt x="164820" y="223336"/>
                </a:lnTo>
                <a:lnTo>
                  <a:pt x="137972" y="230226"/>
                </a:lnTo>
                <a:lnTo>
                  <a:pt x="125142" y="233790"/>
                </a:lnTo>
                <a:lnTo>
                  <a:pt x="112788" y="237591"/>
                </a:lnTo>
                <a:lnTo>
                  <a:pt x="100195" y="241630"/>
                </a:lnTo>
                <a:lnTo>
                  <a:pt x="87840" y="245669"/>
                </a:lnTo>
                <a:lnTo>
                  <a:pt x="75723" y="250183"/>
                </a:lnTo>
                <a:lnTo>
                  <a:pt x="64319" y="254935"/>
                </a:lnTo>
                <a:lnTo>
                  <a:pt x="52677" y="260400"/>
                </a:lnTo>
                <a:lnTo>
                  <a:pt x="41035" y="265627"/>
                </a:lnTo>
                <a:lnTo>
                  <a:pt x="29868" y="271567"/>
                </a:lnTo>
                <a:lnTo>
                  <a:pt x="18939" y="277744"/>
                </a:lnTo>
                <a:lnTo>
                  <a:pt x="7772" y="284397"/>
                </a:lnTo>
                <a:lnTo>
                  <a:pt x="0" y="289924"/>
                </a:lnTo>
                <a:lnTo>
                  <a:pt x="0" y="895572"/>
                </a:lnTo>
                <a:lnTo>
                  <a:pt x="125653" y="895572"/>
                </a:lnTo>
                <a:lnTo>
                  <a:pt x="127756" y="892155"/>
                </a:lnTo>
                <a:lnTo>
                  <a:pt x="131082" y="885502"/>
                </a:lnTo>
                <a:lnTo>
                  <a:pt x="133696" y="878374"/>
                </a:lnTo>
                <a:lnTo>
                  <a:pt x="135834" y="871722"/>
                </a:lnTo>
                <a:lnTo>
                  <a:pt x="137735" y="864594"/>
                </a:lnTo>
                <a:lnTo>
                  <a:pt x="138923" y="857466"/>
                </a:lnTo>
                <a:lnTo>
                  <a:pt x="140348" y="850339"/>
                </a:lnTo>
                <a:lnTo>
                  <a:pt x="141298" y="843211"/>
                </a:lnTo>
                <a:lnTo>
                  <a:pt x="142011" y="828955"/>
                </a:lnTo>
                <a:lnTo>
                  <a:pt x="142486" y="814225"/>
                </a:lnTo>
                <a:lnTo>
                  <a:pt x="142486" y="799494"/>
                </a:lnTo>
                <a:lnTo>
                  <a:pt x="142486" y="782625"/>
                </a:lnTo>
                <a:lnTo>
                  <a:pt x="142486" y="771458"/>
                </a:lnTo>
                <a:lnTo>
                  <a:pt x="143912" y="778586"/>
                </a:lnTo>
                <a:lnTo>
                  <a:pt x="145100" y="784526"/>
                </a:lnTo>
                <a:lnTo>
                  <a:pt x="147476" y="789753"/>
                </a:lnTo>
                <a:lnTo>
                  <a:pt x="149614" y="794267"/>
                </a:lnTo>
                <a:lnTo>
                  <a:pt x="152228" y="797831"/>
                </a:lnTo>
                <a:lnTo>
                  <a:pt x="155554" y="801395"/>
                </a:lnTo>
                <a:lnTo>
                  <a:pt x="158643" y="803533"/>
                </a:lnTo>
                <a:lnTo>
                  <a:pt x="162206" y="805909"/>
                </a:lnTo>
                <a:lnTo>
                  <a:pt x="165770" y="807572"/>
                </a:lnTo>
                <a:lnTo>
                  <a:pt x="169572" y="808523"/>
                </a:lnTo>
                <a:lnTo>
                  <a:pt x="174086" y="809473"/>
                </a:lnTo>
                <a:lnTo>
                  <a:pt x="178600" y="810186"/>
                </a:lnTo>
                <a:lnTo>
                  <a:pt x="187866" y="810661"/>
                </a:lnTo>
                <a:lnTo>
                  <a:pt x="198083" y="810661"/>
                </a:lnTo>
                <a:lnTo>
                  <a:pt x="236810" y="810661"/>
                </a:lnTo>
                <a:lnTo>
                  <a:pt x="249640" y="811136"/>
                </a:lnTo>
                <a:lnTo>
                  <a:pt x="263183" y="811611"/>
                </a:lnTo>
                <a:lnTo>
                  <a:pt x="270310" y="811611"/>
                </a:lnTo>
                <a:lnTo>
                  <a:pt x="276963" y="811136"/>
                </a:lnTo>
                <a:lnTo>
                  <a:pt x="283140" y="810186"/>
                </a:lnTo>
                <a:lnTo>
                  <a:pt x="289793" y="808523"/>
                </a:lnTo>
                <a:lnTo>
                  <a:pt x="295495" y="806147"/>
                </a:lnTo>
                <a:lnTo>
                  <a:pt x="301435" y="803058"/>
                </a:lnTo>
                <a:lnTo>
                  <a:pt x="304524" y="801395"/>
                </a:lnTo>
                <a:lnTo>
                  <a:pt x="307137" y="799256"/>
                </a:lnTo>
                <a:lnTo>
                  <a:pt x="309275" y="796881"/>
                </a:lnTo>
                <a:lnTo>
                  <a:pt x="312126" y="794267"/>
                </a:lnTo>
                <a:lnTo>
                  <a:pt x="314265" y="791178"/>
                </a:lnTo>
                <a:lnTo>
                  <a:pt x="316403" y="788090"/>
                </a:lnTo>
                <a:lnTo>
                  <a:pt x="318304" y="784051"/>
                </a:lnTo>
                <a:lnTo>
                  <a:pt x="319967" y="780012"/>
                </a:lnTo>
                <a:lnTo>
                  <a:pt x="321868" y="775973"/>
                </a:lnTo>
                <a:lnTo>
                  <a:pt x="323056" y="771221"/>
                </a:lnTo>
                <a:lnTo>
                  <a:pt x="324481" y="765756"/>
                </a:lnTo>
                <a:lnTo>
                  <a:pt x="325907" y="760529"/>
                </a:lnTo>
                <a:lnTo>
                  <a:pt x="325907" y="827530"/>
                </a:lnTo>
                <a:lnTo>
                  <a:pt x="310226" y="835608"/>
                </a:lnTo>
                <a:lnTo>
                  <a:pt x="295970" y="843686"/>
                </a:lnTo>
                <a:lnTo>
                  <a:pt x="282665" y="850339"/>
                </a:lnTo>
                <a:lnTo>
                  <a:pt x="276488" y="852952"/>
                </a:lnTo>
                <a:lnTo>
                  <a:pt x="270310" y="855565"/>
                </a:lnTo>
                <a:lnTo>
                  <a:pt x="266271" y="857942"/>
                </a:lnTo>
                <a:lnTo>
                  <a:pt x="262708" y="860080"/>
                </a:lnTo>
                <a:lnTo>
                  <a:pt x="259619" y="862693"/>
                </a:lnTo>
                <a:lnTo>
                  <a:pt x="256768" y="865544"/>
                </a:lnTo>
                <a:lnTo>
                  <a:pt x="254154" y="868633"/>
                </a:lnTo>
                <a:lnTo>
                  <a:pt x="252491" y="871722"/>
                </a:lnTo>
                <a:lnTo>
                  <a:pt x="250590" y="874810"/>
                </a:lnTo>
                <a:lnTo>
                  <a:pt x="249402" y="877899"/>
                </a:lnTo>
                <a:lnTo>
                  <a:pt x="248452" y="880988"/>
                </a:lnTo>
                <a:lnTo>
                  <a:pt x="247977" y="884076"/>
                </a:lnTo>
                <a:lnTo>
                  <a:pt x="247977" y="887165"/>
                </a:lnTo>
                <a:lnTo>
                  <a:pt x="248452" y="890016"/>
                </a:lnTo>
                <a:lnTo>
                  <a:pt x="249402" y="893105"/>
                </a:lnTo>
                <a:lnTo>
                  <a:pt x="250075" y="895572"/>
                </a:lnTo>
                <a:lnTo>
                  <a:pt x="474750" y="895572"/>
                </a:lnTo>
                <a:lnTo>
                  <a:pt x="475827" y="894768"/>
                </a:lnTo>
                <a:lnTo>
                  <a:pt x="486993" y="882889"/>
                </a:lnTo>
                <a:lnTo>
                  <a:pt x="497210" y="870296"/>
                </a:lnTo>
                <a:lnTo>
                  <a:pt x="506951" y="857942"/>
                </a:lnTo>
                <a:lnTo>
                  <a:pt x="515742" y="844636"/>
                </a:lnTo>
                <a:lnTo>
                  <a:pt x="523820" y="831094"/>
                </a:lnTo>
                <a:lnTo>
                  <a:pt x="531898" y="816838"/>
                </a:lnTo>
                <a:lnTo>
                  <a:pt x="539026" y="802583"/>
                </a:lnTo>
                <a:lnTo>
                  <a:pt x="545678" y="788565"/>
                </a:lnTo>
                <a:lnTo>
                  <a:pt x="552331" y="773359"/>
                </a:lnTo>
                <a:lnTo>
                  <a:pt x="558033" y="758628"/>
                </a:lnTo>
                <a:lnTo>
                  <a:pt x="563498" y="743185"/>
                </a:lnTo>
                <a:lnTo>
                  <a:pt x="568725" y="727979"/>
                </a:lnTo>
                <a:lnTo>
                  <a:pt x="573714" y="712298"/>
                </a:lnTo>
                <a:lnTo>
                  <a:pt x="577991" y="696855"/>
                </a:lnTo>
                <a:lnTo>
                  <a:pt x="586544" y="665255"/>
                </a:lnTo>
                <a:lnTo>
                  <a:pt x="586069" y="663117"/>
                </a:lnTo>
                <a:lnTo>
                  <a:pt x="584881" y="660266"/>
                </a:lnTo>
                <a:lnTo>
                  <a:pt x="582980" y="657177"/>
                </a:lnTo>
                <a:lnTo>
                  <a:pt x="580367" y="654088"/>
                </a:lnTo>
                <a:lnTo>
                  <a:pt x="574902" y="647911"/>
                </a:lnTo>
                <a:lnTo>
                  <a:pt x="570150" y="642922"/>
                </a:lnTo>
                <a:lnTo>
                  <a:pt x="565636" y="636744"/>
                </a:lnTo>
                <a:lnTo>
                  <a:pt x="560647" y="631517"/>
                </a:lnTo>
                <a:lnTo>
                  <a:pt x="555420" y="626053"/>
                </a:lnTo>
                <a:lnTo>
                  <a:pt x="550193" y="621301"/>
                </a:lnTo>
                <a:lnTo>
                  <a:pt x="544253" y="616787"/>
                </a:lnTo>
                <a:lnTo>
                  <a:pt x="538075" y="612272"/>
                </a:lnTo>
                <a:lnTo>
                  <a:pt x="525721" y="603719"/>
                </a:lnTo>
                <a:lnTo>
                  <a:pt x="563023" y="619875"/>
                </a:lnTo>
                <a:lnTo>
                  <a:pt x="581317" y="628191"/>
                </a:lnTo>
                <a:lnTo>
                  <a:pt x="599374" y="636744"/>
                </a:lnTo>
                <a:lnTo>
                  <a:pt x="607927" y="641259"/>
                </a:lnTo>
                <a:lnTo>
                  <a:pt x="616718" y="646010"/>
                </a:lnTo>
                <a:lnTo>
                  <a:pt x="625271" y="651000"/>
                </a:lnTo>
                <a:lnTo>
                  <a:pt x="633349" y="656227"/>
                </a:lnTo>
                <a:lnTo>
                  <a:pt x="641665" y="662167"/>
                </a:lnTo>
                <a:lnTo>
                  <a:pt x="649268" y="668344"/>
                </a:lnTo>
                <a:lnTo>
                  <a:pt x="656871" y="674996"/>
                </a:lnTo>
                <a:lnTo>
                  <a:pt x="664474" y="682124"/>
                </a:lnTo>
                <a:lnTo>
                  <a:pt x="668988" y="686163"/>
                </a:lnTo>
                <a:lnTo>
                  <a:pt x="672790" y="690202"/>
                </a:lnTo>
                <a:lnTo>
                  <a:pt x="677304" y="693291"/>
                </a:lnTo>
                <a:lnTo>
                  <a:pt x="682293" y="696855"/>
                </a:lnTo>
                <a:lnTo>
                  <a:pt x="686570" y="699468"/>
                </a:lnTo>
                <a:lnTo>
                  <a:pt x="691559" y="702082"/>
                </a:lnTo>
                <a:lnTo>
                  <a:pt x="696549" y="703983"/>
                </a:lnTo>
                <a:lnTo>
                  <a:pt x="701300" y="705646"/>
                </a:lnTo>
                <a:lnTo>
                  <a:pt x="706290" y="707071"/>
                </a:lnTo>
                <a:lnTo>
                  <a:pt x="711042" y="708497"/>
                </a:lnTo>
                <a:lnTo>
                  <a:pt x="716506" y="708734"/>
                </a:lnTo>
                <a:lnTo>
                  <a:pt x="721258" y="708734"/>
                </a:lnTo>
                <a:lnTo>
                  <a:pt x="726723" y="708497"/>
                </a:lnTo>
                <a:lnTo>
                  <a:pt x="731712" y="707546"/>
                </a:lnTo>
                <a:lnTo>
                  <a:pt x="736939" y="706121"/>
                </a:lnTo>
                <a:lnTo>
                  <a:pt x="742166" y="704458"/>
                </a:lnTo>
                <a:lnTo>
                  <a:pt x="749294" y="702082"/>
                </a:lnTo>
                <a:lnTo>
                  <a:pt x="756184" y="699468"/>
                </a:lnTo>
                <a:lnTo>
                  <a:pt x="762361" y="696380"/>
                </a:lnTo>
                <a:lnTo>
                  <a:pt x="768063" y="692816"/>
                </a:lnTo>
                <a:lnTo>
                  <a:pt x="773528" y="689252"/>
                </a:lnTo>
                <a:lnTo>
                  <a:pt x="778755" y="684738"/>
                </a:lnTo>
                <a:lnTo>
                  <a:pt x="783269" y="680461"/>
                </a:lnTo>
                <a:lnTo>
                  <a:pt x="787308" y="674996"/>
                </a:lnTo>
                <a:lnTo>
                  <a:pt x="791110" y="669769"/>
                </a:lnTo>
                <a:lnTo>
                  <a:pt x="794436" y="663830"/>
                </a:lnTo>
                <a:lnTo>
                  <a:pt x="797050" y="657652"/>
                </a:lnTo>
                <a:lnTo>
                  <a:pt x="799188" y="651000"/>
                </a:lnTo>
                <a:lnTo>
                  <a:pt x="801089" y="643872"/>
                </a:lnTo>
                <a:lnTo>
                  <a:pt x="802277" y="636744"/>
                </a:lnTo>
                <a:lnTo>
                  <a:pt x="803227" y="628666"/>
                </a:lnTo>
                <a:lnTo>
                  <a:pt x="803227" y="620826"/>
                </a:lnTo>
                <a:lnTo>
                  <a:pt x="801089" y="622489"/>
                </a:lnTo>
                <a:lnTo>
                  <a:pt x="798238" y="623914"/>
                </a:lnTo>
                <a:lnTo>
                  <a:pt x="793011" y="626053"/>
                </a:lnTo>
                <a:lnTo>
                  <a:pt x="790397" y="627478"/>
                </a:lnTo>
                <a:lnTo>
                  <a:pt x="788496" y="628191"/>
                </a:lnTo>
                <a:lnTo>
                  <a:pt x="787308" y="630092"/>
                </a:lnTo>
                <a:lnTo>
                  <a:pt x="786833" y="631755"/>
                </a:lnTo>
                <a:lnTo>
                  <a:pt x="785408" y="635794"/>
                </a:lnTo>
                <a:lnTo>
                  <a:pt x="784220" y="639833"/>
                </a:lnTo>
                <a:lnTo>
                  <a:pt x="780656" y="646485"/>
                </a:lnTo>
                <a:lnTo>
                  <a:pt x="776617" y="653138"/>
                </a:lnTo>
                <a:lnTo>
                  <a:pt x="772103" y="659078"/>
                </a:lnTo>
                <a:lnTo>
                  <a:pt x="762361" y="670007"/>
                </a:lnTo>
                <a:lnTo>
                  <a:pt x="757847" y="675947"/>
                </a:lnTo>
                <a:lnTo>
                  <a:pt x="753333" y="682124"/>
                </a:lnTo>
                <a:lnTo>
                  <a:pt x="750244" y="684738"/>
                </a:lnTo>
                <a:lnTo>
                  <a:pt x="747155" y="687589"/>
                </a:lnTo>
                <a:lnTo>
                  <a:pt x="744067" y="689252"/>
                </a:lnTo>
                <a:lnTo>
                  <a:pt x="740978" y="690915"/>
                </a:lnTo>
                <a:lnTo>
                  <a:pt x="737890" y="691865"/>
                </a:lnTo>
                <a:lnTo>
                  <a:pt x="734801" y="692816"/>
                </a:lnTo>
                <a:lnTo>
                  <a:pt x="731950" y="693291"/>
                </a:lnTo>
                <a:lnTo>
                  <a:pt x="728861" y="693291"/>
                </a:lnTo>
                <a:lnTo>
                  <a:pt x="723634" y="692816"/>
                </a:lnTo>
                <a:lnTo>
                  <a:pt x="718169" y="691390"/>
                </a:lnTo>
                <a:lnTo>
                  <a:pt x="713418" y="689727"/>
                </a:lnTo>
                <a:lnTo>
                  <a:pt x="708903" y="687826"/>
                </a:lnTo>
                <a:lnTo>
                  <a:pt x="706765" y="687589"/>
                </a:lnTo>
                <a:lnTo>
                  <a:pt x="704864" y="687114"/>
                </a:lnTo>
                <a:lnTo>
                  <a:pt x="703201" y="686163"/>
                </a:lnTo>
                <a:lnTo>
                  <a:pt x="701776" y="684738"/>
                </a:lnTo>
                <a:lnTo>
                  <a:pt x="698687" y="681649"/>
                </a:lnTo>
                <a:lnTo>
                  <a:pt x="696549" y="678085"/>
                </a:lnTo>
                <a:lnTo>
                  <a:pt x="694648" y="673571"/>
                </a:lnTo>
                <a:lnTo>
                  <a:pt x="693460" y="668819"/>
                </a:lnTo>
                <a:lnTo>
                  <a:pt x="692510" y="664305"/>
                </a:lnTo>
                <a:lnTo>
                  <a:pt x="692510" y="659790"/>
                </a:lnTo>
                <a:lnTo>
                  <a:pt x="692510" y="647436"/>
                </a:lnTo>
                <a:lnTo>
                  <a:pt x="693460" y="635319"/>
                </a:lnTo>
                <a:lnTo>
                  <a:pt x="694173" y="624389"/>
                </a:lnTo>
                <a:lnTo>
                  <a:pt x="695598" y="612748"/>
                </a:lnTo>
                <a:lnTo>
                  <a:pt x="699162" y="591364"/>
                </a:lnTo>
                <a:lnTo>
                  <a:pt x="703676" y="570456"/>
                </a:lnTo>
                <a:lnTo>
                  <a:pt x="720070" y="574971"/>
                </a:lnTo>
                <a:lnTo>
                  <a:pt x="736939" y="579247"/>
                </a:lnTo>
                <a:lnTo>
                  <a:pt x="770677" y="589226"/>
                </a:lnTo>
                <a:lnTo>
                  <a:pt x="788021" y="593503"/>
                </a:lnTo>
                <a:lnTo>
                  <a:pt x="805365" y="597542"/>
                </a:lnTo>
                <a:lnTo>
                  <a:pt x="823660" y="601106"/>
                </a:lnTo>
                <a:lnTo>
                  <a:pt x="841954" y="603719"/>
                </a:lnTo>
                <a:lnTo>
                  <a:pt x="861437" y="606570"/>
                </a:lnTo>
                <a:lnTo>
                  <a:pt x="880682" y="608233"/>
                </a:lnTo>
                <a:lnTo>
                  <a:pt x="889948" y="608708"/>
                </a:lnTo>
                <a:lnTo>
                  <a:pt x="898976" y="608708"/>
                </a:lnTo>
                <a:lnTo>
                  <a:pt x="908242" y="608708"/>
                </a:lnTo>
                <a:lnTo>
                  <a:pt x="916795" y="608233"/>
                </a:lnTo>
                <a:lnTo>
                  <a:pt x="925586" y="607283"/>
                </a:lnTo>
                <a:lnTo>
                  <a:pt x="934140" y="606095"/>
                </a:lnTo>
                <a:lnTo>
                  <a:pt x="942455" y="604669"/>
                </a:lnTo>
                <a:lnTo>
                  <a:pt x="950533" y="603006"/>
                </a:lnTo>
                <a:lnTo>
                  <a:pt x="958611" y="600630"/>
                </a:lnTo>
                <a:lnTo>
                  <a:pt x="966452" y="598017"/>
                </a:lnTo>
                <a:lnTo>
                  <a:pt x="974055" y="595403"/>
                </a:lnTo>
                <a:lnTo>
                  <a:pt x="981658" y="591840"/>
                </a:lnTo>
                <a:lnTo>
                  <a:pt x="989261" y="588276"/>
                </a:lnTo>
                <a:lnTo>
                  <a:pt x="996388" y="584237"/>
                </a:lnTo>
                <a:lnTo>
                  <a:pt x="1003041" y="579247"/>
                </a:lnTo>
                <a:lnTo>
                  <a:pt x="1009694" y="574495"/>
                </a:lnTo>
                <a:lnTo>
                  <a:pt x="1016346" y="569031"/>
                </a:lnTo>
                <a:lnTo>
                  <a:pt x="1022998" y="562853"/>
                </a:lnTo>
                <a:lnTo>
                  <a:pt x="1029176" y="556676"/>
                </a:lnTo>
                <a:lnTo>
                  <a:pt x="1035116" y="549548"/>
                </a:lnTo>
                <a:lnTo>
                  <a:pt x="1040818" y="541945"/>
                </a:lnTo>
                <a:lnTo>
                  <a:pt x="1046520" y="534342"/>
                </a:lnTo>
                <a:lnTo>
                  <a:pt x="1051985" y="526027"/>
                </a:lnTo>
                <a:lnTo>
                  <a:pt x="1056737" y="516523"/>
                </a:lnTo>
                <a:lnTo>
                  <a:pt x="1061726" y="507257"/>
                </a:lnTo>
                <a:lnTo>
                  <a:pt x="1066715" y="497041"/>
                </a:lnTo>
                <a:lnTo>
                  <a:pt x="1070992" y="486349"/>
                </a:lnTo>
                <a:lnTo>
                  <a:pt x="1075506" y="475182"/>
                </a:lnTo>
                <a:lnTo>
                  <a:pt x="1079070" y="462828"/>
                </a:lnTo>
                <a:lnTo>
                  <a:pt x="1082634" y="449998"/>
                </a:lnTo>
                <a:lnTo>
                  <a:pt x="1084772" y="437405"/>
                </a:lnTo>
                <a:lnTo>
                  <a:pt x="1087148" y="425050"/>
                </a:lnTo>
                <a:lnTo>
                  <a:pt x="1088811" y="411983"/>
                </a:lnTo>
                <a:lnTo>
                  <a:pt x="1089762" y="399628"/>
                </a:lnTo>
                <a:lnTo>
                  <a:pt x="1090712" y="386798"/>
                </a:lnTo>
                <a:lnTo>
                  <a:pt x="1090712" y="373731"/>
                </a:lnTo>
                <a:lnTo>
                  <a:pt x="1090712" y="360901"/>
                </a:lnTo>
                <a:lnTo>
                  <a:pt x="1089762" y="348071"/>
                </a:lnTo>
                <a:lnTo>
                  <a:pt x="1088811" y="335004"/>
                </a:lnTo>
                <a:lnTo>
                  <a:pt x="1088099" y="321698"/>
                </a:lnTo>
                <a:lnTo>
                  <a:pt x="1084772" y="295563"/>
                </a:lnTo>
                <a:lnTo>
                  <a:pt x="1080971" y="268478"/>
                </a:lnTo>
                <a:lnTo>
                  <a:pt x="1078595" y="258262"/>
                </a:lnTo>
                <a:lnTo>
                  <a:pt x="1075981" y="248283"/>
                </a:lnTo>
                <a:lnTo>
                  <a:pt x="1072417" y="238542"/>
                </a:lnTo>
                <a:lnTo>
                  <a:pt x="1069329" y="229275"/>
                </a:lnTo>
                <a:lnTo>
                  <a:pt x="1061251" y="210031"/>
                </a:lnTo>
                <a:lnTo>
                  <a:pt x="1053173" y="190073"/>
                </a:lnTo>
                <a:lnTo>
                  <a:pt x="1051034" y="186034"/>
                </a:lnTo>
                <a:lnTo>
                  <a:pt x="1048896" y="182470"/>
                </a:lnTo>
                <a:lnTo>
                  <a:pt x="1046045" y="179381"/>
                </a:lnTo>
                <a:lnTo>
                  <a:pt x="1043906" y="176768"/>
                </a:lnTo>
                <a:lnTo>
                  <a:pt x="1041293" y="174630"/>
                </a:lnTo>
                <a:lnTo>
                  <a:pt x="1038680" y="172729"/>
                </a:lnTo>
                <a:lnTo>
                  <a:pt x="1035828" y="171303"/>
                </a:lnTo>
                <a:lnTo>
                  <a:pt x="1032740" y="170591"/>
                </a:lnTo>
                <a:lnTo>
                  <a:pt x="1030126" y="170591"/>
                </a:lnTo>
                <a:lnTo>
                  <a:pt x="1027038" y="170591"/>
                </a:lnTo>
                <a:lnTo>
                  <a:pt x="1024424" y="171303"/>
                </a:lnTo>
                <a:lnTo>
                  <a:pt x="1021335" y="172729"/>
                </a:lnTo>
                <a:lnTo>
                  <a:pt x="1018247" y="174867"/>
                </a:lnTo>
                <a:lnTo>
                  <a:pt x="1014920" y="177718"/>
                </a:lnTo>
                <a:lnTo>
                  <a:pt x="1011832" y="180807"/>
                </a:lnTo>
                <a:lnTo>
                  <a:pt x="1008743" y="184846"/>
                </a:lnTo>
                <a:lnTo>
                  <a:pt x="991874" y="201240"/>
                </a:lnTo>
                <a:lnTo>
                  <a:pt x="983321" y="209318"/>
                </a:lnTo>
                <a:lnTo>
                  <a:pt x="974530" y="216683"/>
                </a:lnTo>
                <a:lnTo>
                  <a:pt x="965739" y="223811"/>
                </a:lnTo>
                <a:lnTo>
                  <a:pt x="956236" y="230226"/>
                </a:lnTo>
                <a:lnTo>
                  <a:pt x="946494" y="235928"/>
                </a:lnTo>
                <a:lnTo>
                  <a:pt x="941505" y="238066"/>
                </a:lnTo>
                <a:lnTo>
                  <a:pt x="936753" y="240442"/>
                </a:lnTo>
                <a:lnTo>
                  <a:pt x="932239" y="242581"/>
                </a:lnTo>
                <a:lnTo>
                  <a:pt x="928675" y="245669"/>
                </a:lnTo>
                <a:lnTo>
                  <a:pt x="925111" y="249233"/>
                </a:lnTo>
                <a:lnTo>
                  <a:pt x="922022" y="252797"/>
                </a:lnTo>
                <a:lnTo>
                  <a:pt x="919884" y="257311"/>
                </a:lnTo>
                <a:lnTo>
                  <a:pt x="918934" y="259925"/>
                </a:lnTo>
                <a:lnTo>
                  <a:pt x="918459" y="262538"/>
                </a:lnTo>
                <a:lnTo>
                  <a:pt x="918459" y="265389"/>
                </a:lnTo>
                <a:lnTo>
                  <a:pt x="918459" y="268003"/>
                </a:lnTo>
                <a:lnTo>
                  <a:pt x="918934" y="271091"/>
                </a:lnTo>
                <a:lnTo>
                  <a:pt x="919884" y="274180"/>
                </a:lnTo>
                <a:lnTo>
                  <a:pt x="921547" y="282258"/>
                </a:lnTo>
                <a:lnTo>
                  <a:pt x="922973" y="290574"/>
                </a:lnTo>
                <a:lnTo>
                  <a:pt x="923923" y="299127"/>
                </a:lnTo>
                <a:lnTo>
                  <a:pt x="924161" y="307443"/>
                </a:lnTo>
                <a:lnTo>
                  <a:pt x="924161" y="315996"/>
                </a:lnTo>
                <a:lnTo>
                  <a:pt x="923923" y="324550"/>
                </a:lnTo>
                <a:lnTo>
                  <a:pt x="922973" y="332865"/>
                </a:lnTo>
                <a:lnTo>
                  <a:pt x="922022" y="340943"/>
                </a:lnTo>
                <a:lnTo>
                  <a:pt x="920597" y="349259"/>
                </a:lnTo>
                <a:lnTo>
                  <a:pt x="918934" y="357812"/>
                </a:lnTo>
                <a:lnTo>
                  <a:pt x="914420" y="374681"/>
                </a:lnTo>
                <a:lnTo>
                  <a:pt x="909192" y="391075"/>
                </a:lnTo>
                <a:lnTo>
                  <a:pt x="903253" y="408182"/>
                </a:lnTo>
                <a:lnTo>
                  <a:pt x="903253" y="397965"/>
                </a:lnTo>
                <a:lnTo>
                  <a:pt x="904203" y="387274"/>
                </a:lnTo>
                <a:lnTo>
                  <a:pt x="906104" y="367078"/>
                </a:lnTo>
                <a:lnTo>
                  <a:pt x="907767" y="347596"/>
                </a:lnTo>
                <a:lnTo>
                  <a:pt x="908717" y="338567"/>
                </a:lnTo>
                <a:lnTo>
                  <a:pt x="908717" y="329777"/>
                </a:lnTo>
                <a:lnTo>
                  <a:pt x="908717" y="325738"/>
                </a:lnTo>
                <a:lnTo>
                  <a:pt x="907767" y="322649"/>
                </a:lnTo>
                <a:lnTo>
                  <a:pt x="906817" y="319560"/>
                </a:lnTo>
                <a:lnTo>
                  <a:pt x="905154" y="316471"/>
                </a:lnTo>
                <a:lnTo>
                  <a:pt x="903728" y="314096"/>
                </a:lnTo>
                <a:lnTo>
                  <a:pt x="901590" y="311957"/>
                </a:lnTo>
                <a:lnTo>
                  <a:pt x="897551" y="307443"/>
                </a:lnTo>
                <a:lnTo>
                  <a:pt x="895412" y="309344"/>
                </a:lnTo>
                <a:lnTo>
                  <a:pt x="892561" y="310769"/>
                </a:lnTo>
                <a:lnTo>
                  <a:pt x="887334" y="313383"/>
                </a:lnTo>
                <a:lnTo>
                  <a:pt x="884721" y="314096"/>
                </a:lnTo>
                <a:lnTo>
                  <a:pt x="882820" y="315521"/>
                </a:lnTo>
                <a:lnTo>
                  <a:pt x="881632" y="316947"/>
                </a:lnTo>
                <a:lnTo>
                  <a:pt x="881157" y="318610"/>
                </a:lnTo>
                <a:lnTo>
                  <a:pt x="872604" y="331915"/>
                </a:lnTo>
                <a:lnTo>
                  <a:pt x="864288" y="346646"/>
                </a:lnTo>
                <a:lnTo>
                  <a:pt x="856210" y="361376"/>
                </a:lnTo>
                <a:lnTo>
                  <a:pt x="847656" y="374681"/>
                </a:lnTo>
                <a:lnTo>
                  <a:pt x="841954" y="374681"/>
                </a:lnTo>
                <a:lnTo>
                  <a:pt x="846468" y="357812"/>
                </a:lnTo>
                <a:lnTo>
                  <a:pt x="850508" y="339518"/>
                </a:lnTo>
                <a:lnTo>
                  <a:pt x="854784" y="319560"/>
                </a:lnTo>
                <a:lnTo>
                  <a:pt x="858823" y="296514"/>
                </a:lnTo>
                <a:lnTo>
                  <a:pt x="848132" y="303879"/>
                </a:lnTo>
                <a:lnTo>
                  <a:pt x="840054" y="310294"/>
                </a:lnTo>
                <a:lnTo>
                  <a:pt x="833163" y="316947"/>
                </a:lnTo>
                <a:lnTo>
                  <a:pt x="825560" y="324550"/>
                </a:lnTo>
                <a:lnTo>
                  <a:pt x="823185" y="326688"/>
                </a:lnTo>
                <a:lnTo>
                  <a:pt x="821522" y="329301"/>
                </a:lnTo>
                <a:lnTo>
                  <a:pt x="817007" y="335954"/>
                </a:lnTo>
                <a:lnTo>
                  <a:pt x="812968" y="344032"/>
                </a:lnTo>
                <a:lnTo>
                  <a:pt x="808929" y="352585"/>
                </a:lnTo>
                <a:lnTo>
                  <a:pt x="809880" y="343557"/>
                </a:lnTo>
                <a:lnTo>
                  <a:pt x="811305" y="335479"/>
                </a:lnTo>
                <a:lnTo>
                  <a:pt x="812493" y="328826"/>
                </a:lnTo>
                <a:lnTo>
                  <a:pt x="814394" y="323124"/>
                </a:lnTo>
                <a:lnTo>
                  <a:pt x="816532" y="317659"/>
                </a:lnTo>
                <a:lnTo>
                  <a:pt x="819146" y="313383"/>
                </a:lnTo>
                <a:lnTo>
                  <a:pt x="822709" y="309344"/>
                </a:lnTo>
                <a:lnTo>
                  <a:pt x="826748" y="306255"/>
                </a:lnTo>
                <a:lnTo>
                  <a:pt x="832213" y="303166"/>
                </a:lnTo>
                <a:lnTo>
                  <a:pt x="838390" y="300315"/>
                </a:lnTo>
                <a:lnTo>
                  <a:pt x="845518" y="298177"/>
                </a:lnTo>
                <a:lnTo>
                  <a:pt x="854071" y="295563"/>
                </a:lnTo>
                <a:lnTo>
                  <a:pt x="875217" y="290574"/>
                </a:lnTo>
                <a:lnTo>
                  <a:pt x="903253" y="285347"/>
                </a:lnTo>
                <a:lnTo>
                  <a:pt x="886384" y="268478"/>
                </a:lnTo>
                <a:lnTo>
                  <a:pt x="879731" y="270141"/>
                </a:lnTo>
                <a:lnTo>
                  <a:pt x="873079" y="271091"/>
                </a:lnTo>
                <a:lnTo>
                  <a:pt x="867376" y="271567"/>
                </a:lnTo>
                <a:lnTo>
                  <a:pt x="862387" y="271091"/>
                </a:lnTo>
                <a:lnTo>
                  <a:pt x="857398" y="269666"/>
                </a:lnTo>
                <a:lnTo>
                  <a:pt x="853596" y="268003"/>
                </a:lnTo>
                <a:lnTo>
                  <a:pt x="849557" y="265627"/>
                </a:lnTo>
                <a:lnTo>
                  <a:pt x="846468" y="262538"/>
                </a:lnTo>
                <a:lnTo>
                  <a:pt x="843380" y="259450"/>
                </a:lnTo>
                <a:lnTo>
                  <a:pt x="840529" y="255411"/>
                </a:lnTo>
                <a:lnTo>
                  <a:pt x="838390" y="251134"/>
                </a:lnTo>
                <a:lnTo>
                  <a:pt x="836490" y="246620"/>
                </a:lnTo>
                <a:lnTo>
                  <a:pt x="834827" y="241155"/>
                </a:lnTo>
                <a:lnTo>
                  <a:pt x="833401" y="235453"/>
                </a:lnTo>
                <a:lnTo>
                  <a:pt x="831263" y="223336"/>
                </a:lnTo>
                <a:lnTo>
                  <a:pt x="897551" y="206942"/>
                </a:lnTo>
                <a:lnTo>
                  <a:pt x="888997" y="194112"/>
                </a:lnTo>
                <a:lnTo>
                  <a:pt x="880682" y="181282"/>
                </a:lnTo>
                <a:lnTo>
                  <a:pt x="871416" y="168690"/>
                </a:lnTo>
                <a:lnTo>
                  <a:pt x="866901" y="162988"/>
                </a:lnTo>
                <a:lnTo>
                  <a:pt x="861437" y="157048"/>
                </a:lnTo>
                <a:lnTo>
                  <a:pt x="856210" y="151821"/>
                </a:lnTo>
                <a:lnTo>
                  <a:pt x="850745" y="146831"/>
                </a:lnTo>
                <a:lnTo>
                  <a:pt x="844568" y="142555"/>
                </a:lnTo>
                <a:lnTo>
                  <a:pt x="838390" y="138516"/>
                </a:lnTo>
                <a:lnTo>
                  <a:pt x="831738" y="134952"/>
                </a:lnTo>
                <a:lnTo>
                  <a:pt x="824610" y="132338"/>
                </a:lnTo>
                <a:lnTo>
                  <a:pt x="817007" y="129963"/>
                </a:lnTo>
                <a:lnTo>
                  <a:pt x="808929" y="128774"/>
                </a:lnTo>
                <a:lnTo>
                  <a:pt x="806791" y="128299"/>
                </a:lnTo>
                <a:lnTo>
                  <a:pt x="804652" y="127824"/>
                </a:lnTo>
                <a:lnTo>
                  <a:pt x="802752" y="126399"/>
                </a:lnTo>
                <a:lnTo>
                  <a:pt x="801089" y="125211"/>
                </a:lnTo>
                <a:lnTo>
                  <a:pt x="799663" y="123310"/>
                </a:lnTo>
                <a:lnTo>
                  <a:pt x="798713" y="121647"/>
                </a:lnTo>
                <a:lnTo>
                  <a:pt x="798000" y="119271"/>
                </a:lnTo>
                <a:lnTo>
                  <a:pt x="798000" y="117608"/>
                </a:lnTo>
                <a:lnTo>
                  <a:pt x="785408" y="106916"/>
                </a:lnTo>
                <a:lnTo>
                  <a:pt x="772578" y="95749"/>
                </a:lnTo>
                <a:lnTo>
                  <a:pt x="747155" y="72703"/>
                </a:lnTo>
                <a:lnTo>
                  <a:pt x="733850" y="61061"/>
                </a:lnTo>
                <a:lnTo>
                  <a:pt x="720545" y="49894"/>
                </a:lnTo>
                <a:lnTo>
                  <a:pt x="706765" y="38728"/>
                </a:lnTo>
                <a:lnTo>
                  <a:pt x="692510" y="28036"/>
                </a:lnTo>
                <a:lnTo>
                  <a:pt x="679442" y="21859"/>
                </a:lnTo>
                <a:lnTo>
                  <a:pt x="666137" y="16632"/>
                </a:lnTo>
                <a:lnTo>
                  <a:pt x="652832" y="11642"/>
                </a:lnTo>
                <a:lnTo>
                  <a:pt x="639527" y="7603"/>
                </a:lnTo>
                <a:lnTo>
                  <a:pt x="626222" y="4514"/>
                </a:lnTo>
                <a:lnTo>
                  <a:pt x="612917" y="1901"/>
                </a:lnTo>
                <a:lnTo>
                  <a:pt x="599374" y="475"/>
                </a:lnTo>
                <a:close/>
              </a:path>
            </a:pathLst>
          </a:custGeom>
          <a:solidFill>
            <a:schemeClr val="bg1">
              <a:alpha val="25000"/>
            </a:schemeClr>
          </a:solidFill>
          <a:ln>
            <a:noFill/>
          </a:ln>
        </p:spPr>
        <p:txBody>
          <a:bodyPr vert="horz" wrap="square" lIns="89642" tIns="44821" rIns="89642" bIns="44821" numCol="1" anchor="t" anchorCtr="0" compatLnSpc="1">
            <a:prstTxWarp prst="textNoShape">
              <a:avLst/>
            </a:prstTxWarp>
            <a:noAutofit/>
          </a:bodyPr>
          <a:lstStyle/>
          <a:p>
            <a:pPr defTabSz="914367"/>
            <a:endParaRPr lang="en-IN" sz="1765" dirty="0">
              <a:solidFill>
                <a:srgbClr val="000000"/>
              </a:solidFill>
            </a:endParaRPr>
          </a:p>
        </p:txBody>
      </p:sp>
      <p:sp>
        <p:nvSpPr>
          <p:cNvPr id="7" name="Rectangle 6"/>
          <p:cNvSpPr/>
          <p:nvPr/>
        </p:nvSpPr>
        <p:spPr>
          <a:xfrm>
            <a:off x="8929" y="1213304"/>
            <a:ext cx="5220355" cy="1558760"/>
          </a:xfrm>
          <a:prstGeom prst="rect">
            <a:avLst/>
          </a:prstGeom>
        </p:spPr>
        <p:txBody>
          <a:bodyPr wrap="square" lIns="268927">
            <a:spAutoFit/>
          </a:bodyPr>
          <a:lstStyle/>
          <a:p>
            <a:pPr defTabSz="914102" fontAlgn="base">
              <a:lnSpc>
                <a:spcPct val="90000"/>
              </a:lnSpc>
              <a:spcBef>
                <a:spcPct val="0"/>
              </a:spcBef>
              <a:spcAft>
                <a:spcPct val="0"/>
              </a:spcAft>
            </a:pPr>
            <a:r>
              <a:rPr lang="en-US" sz="5294" dirty="0" smtClean="0">
                <a:solidFill>
                  <a:srgbClr val="FFFFFF"/>
                </a:solidFill>
                <a:latin typeface="Segoe UI Light"/>
                <a:ea typeface="Segoe UI" pitchFamily="34" charset="0"/>
                <a:cs typeface="Segoe UI" pitchFamily="34" charset="0"/>
              </a:rPr>
              <a:t>Spark</a:t>
            </a:r>
          </a:p>
          <a:p>
            <a:pPr defTabSz="914102" fontAlgn="base">
              <a:lnSpc>
                <a:spcPct val="90000"/>
              </a:lnSpc>
              <a:spcBef>
                <a:spcPct val="0"/>
              </a:spcBef>
              <a:spcAft>
                <a:spcPct val="0"/>
              </a:spcAft>
            </a:pPr>
            <a:r>
              <a:rPr lang="en-US" sz="5294" dirty="0" smtClean="0">
                <a:solidFill>
                  <a:srgbClr val="FFFFFF"/>
                </a:solidFill>
                <a:latin typeface="Segoe UI Light"/>
                <a:ea typeface="Segoe UI" pitchFamily="34" charset="0"/>
                <a:cs typeface="Segoe UI" pitchFamily="34" charset="0"/>
              </a:rPr>
              <a:t>Concepts</a:t>
            </a:r>
            <a:endParaRPr lang="en-US" sz="5294" dirty="0">
              <a:solidFill>
                <a:srgbClr val="FFFFFF"/>
              </a:solidFill>
              <a:latin typeface="Segoe UI Light"/>
              <a:ea typeface="Segoe UI" pitchFamily="34" charset="0"/>
              <a:cs typeface="Segoe UI" pitchFamily="34" charset="0"/>
            </a:endParaRPr>
          </a:p>
        </p:txBody>
      </p:sp>
      <p:sp>
        <p:nvSpPr>
          <p:cNvPr id="2" name="Slide Number Placeholder 1"/>
          <p:cNvSpPr>
            <a:spLocks noGrp="1"/>
          </p:cNvSpPr>
          <p:nvPr>
            <p:ph type="sldNum" sz="quarter" idx="11"/>
          </p:nvPr>
        </p:nvSpPr>
        <p:spPr/>
        <p:txBody>
          <a:bodyPr/>
          <a:lstStyle/>
          <a:p>
            <a:pPr>
              <a:defRPr/>
            </a:pPr>
            <a:fld id="{F8A0AC42-AA1D-4944-8D96-660DE70C7E1B}" type="slidenum">
              <a:rPr lang="en-IN"/>
              <a:pPr>
                <a:defRPr/>
              </a:pPr>
              <a:t>12</a:t>
            </a:fld>
            <a:endParaRPr lang="en-IN" dirty="0"/>
          </a:p>
        </p:txBody>
      </p:sp>
      <p:sp>
        <p:nvSpPr>
          <p:cNvPr id="8" name="TextBox 7"/>
          <p:cNvSpPr txBox="1"/>
          <p:nvPr/>
        </p:nvSpPr>
        <p:spPr>
          <a:xfrm>
            <a:off x="5220356" y="2145069"/>
            <a:ext cx="6553002" cy="2192055"/>
          </a:xfrm>
          <a:prstGeom prst="rect">
            <a:avLst/>
          </a:prstGeom>
          <a:noFill/>
        </p:spPr>
        <p:txBody>
          <a:bodyPr wrap="square" lIns="268927" tIns="143428" rIns="179285" bIns="143428" rtlCol="0">
            <a:noAutofit/>
          </a:bodyPr>
          <a:lstStyle/>
          <a:p>
            <a:pPr marL="52912" lvl="1" defTabSz="913770" fontAlgn="base">
              <a:spcBef>
                <a:spcPts val="1176"/>
              </a:spcBef>
              <a:buClr>
                <a:srgbClr val="68217A">
                  <a:lumMod val="50000"/>
                </a:srgbClr>
              </a:buClr>
            </a:pPr>
            <a:r>
              <a:rPr lang="en-US" sz="3137" dirty="0" smtClean="0">
                <a:ln>
                  <a:solidFill>
                    <a:srgbClr val="FFFFFF">
                      <a:alpha val="0"/>
                    </a:srgbClr>
                  </a:solidFill>
                </a:ln>
                <a:solidFill>
                  <a:srgbClr val="68217A"/>
                </a:solidFill>
                <a:latin typeface="Segoe UI Light"/>
                <a:ea typeface="Segoe UI" pitchFamily="34" charset="0"/>
                <a:cs typeface="Segoe UI" pitchFamily="34" charset="0"/>
              </a:rPr>
              <a:t>Agenda</a:t>
            </a:r>
            <a:endParaRPr lang="en-US" sz="3137" dirty="0">
              <a:ln>
                <a:solidFill>
                  <a:srgbClr val="FFFFFF">
                    <a:alpha val="0"/>
                  </a:srgbClr>
                </a:solidFill>
              </a:ln>
              <a:solidFill>
                <a:srgbClr val="68217A"/>
              </a:solidFill>
              <a:latin typeface="Segoe UI Light"/>
              <a:ea typeface="Segoe UI" pitchFamily="34" charset="0"/>
              <a:cs typeface="Segoe UI" pitchFamily="34" charset="0"/>
            </a:endParaRPr>
          </a:p>
          <a:p>
            <a:pPr marL="558686" lvl="1" indent="-448193" defTabSz="913770" fontAlgn="base">
              <a:buClr>
                <a:srgbClr val="68217A">
                  <a:lumMod val="50000"/>
                </a:srgbClr>
              </a:buClr>
              <a:buBlip>
                <a:blip r:embed="rId2"/>
              </a:buBlip>
            </a:pPr>
            <a:r>
              <a:rPr lang="en-US" sz="2353" dirty="0" smtClean="0">
                <a:ln>
                  <a:solidFill>
                    <a:srgbClr val="FFFFFF">
                      <a:alpha val="0"/>
                    </a:srgbClr>
                  </a:solidFill>
                </a:ln>
                <a:gradFill>
                  <a:gsLst>
                    <a:gs pos="85321">
                      <a:srgbClr val="505050"/>
                    </a:gs>
                    <a:gs pos="57000">
                      <a:srgbClr val="505050"/>
                    </a:gs>
                  </a:gsLst>
                </a:gradFill>
                <a:ea typeface="Segoe UI" pitchFamily="34" charset="0"/>
                <a:cs typeface="Segoe UI" pitchFamily="34" charset="0"/>
              </a:rPr>
              <a:t>Cluster Architecture</a:t>
            </a:r>
          </a:p>
          <a:p>
            <a:pPr marL="558686" lvl="1" indent="-448193" defTabSz="913770" fontAlgn="base">
              <a:buClr>
                <a:srgbClr val="68217A">
                  <a:lumMod val="50000"/>
                </a:srgbClr>
              </a:buClr>
              <a:buBlip>
                <a:blip r:embed="rId2"/>
              </a:buBlip>
            </a:pPr>
            <a:r>
              <a:rPr lang="en-US" sz="2353" dirty="0" smtClean="0">
                <a:ln>
                  <a:solidFill>
                    <a:srgbClr val="FFFFFF">
                      <a:alpha val="0"/>
                    </a:srgbClr>
                  </a:solidFill>
                </a:ln>
                <a:gradFill>
                  <a:gsLst>
                    <a:gs pos="85321">
                      <a:srgbClr val="505050"/>
                    </a:gs>
                    <a:gs pos="57000">
                      <a:srgbClr val="505050"/>
                    </a:gs>
                  </a:gsLst>
                </a:gradFill>
                <a:ea typeface="Segoe UI" pitchFamily="34" charset="0"/>
                <a:cs typeface="Segoe UI" pitchFamily="34" charset="0"/>
              </a:rPr>
              <a:t>RDD Abstraction</a:t>
            </a:r>
          </a:p>
          <a:p>
            <a:pPr marL="558686" lvl="1" indent="-448193" defTabSz="913770" fontAlgn="base">
              <a:buClr>
                <a:srgbClr val="68217A">
                  <a:lumMod val="50000"/>
                </a:srgbClr>
              </a:buClr>
              <a:buBlip>
                <a:blip r:embed="rId2"/>
              </a:buBlip>
            </a:pPr>
            <a:r>
              <a:rPr lang="en-US" sz="2353" dirty="0" smtClean="0">
                <a:ln>
                  <a:solidFill>
                    <a:srgbClr val="FFFFFF">
                      <a:alpha val="0"/>
                    </a:srgbClr>
                  </a:solidFill>
                </a:ln>
                <a:gradFill>
                  <a:gsLst>
                    <a:gs pos="85321">
                      <a:srgbClr val="505050"/>
                    </a:gs>
                    <a:gs pos="57000">
                      <a:srgbClr val="505050"/>
                    </a:gs>
                  </a:gsLst>
                </a:gradFill>
                <a:ea typeface="Segoe UI" pitchFamily="34" charset="0"/>
                <a:cs typeface="Segoe UI" pitchFamily="34" charset="0"/>
              </a:rPr>
              <a:t>RDD operations</a:t>
            </a:r>
          </a:p>
          <a:p>
            <a:pPr marL="558686" lvl="1" indent="-448193" defTabSz="913770" fontAlgn="base">
              <a:buClr>
                <a:srgbClr val="68217A">
                  <a:lumMod val="50000"/>
                </a:srgbClr>
              </a:buClr>
              <a:buBlip>
                <a:blip r:embed="rId2"/>
              </a:buBlip>
            </a:pPr>
            <a:r>
              <a:rPr lang="en-US" sz="2353" dirty="0" smtClean="0">
                <a:ln>
                  <a:solidFill>
                    <a:srgbClr val="FFFFFF">
                      <a:alpha val="0"/>
                    </a:srgbClr>
                  </a:solidFill>
                </a:ln>
                <a:gradFill>
                  <a:gsLst>
                    <a:gs pos="85321">
                      <a:srgbClr val="505050"/>
                    </a:gs>
                    <a:gs pos="57000">
                      <a:srgbClr val="505050"/>
                    </a:gs>
                  </a:gsLst>
                </a:gradFill>
                <a:ea typeface="Segoe UI" pitchFamily="34" charset="0"/>
                <a:cs typeface="Segoe UI" pitchFamily="34" charset="0"/>
              </a:rPr>
              <a:t>Accumulators</a:t>
            </a:r>
          </a:p>
        </p:txBody>
      </p:sp>
    </p:spTree>
    <p:extLst>
      <p:ext uri="{BB962C8B-B14F-4D97-AF65-F5344CB8AC3E}">
        <p14:creationId xmlns:p14="http://schemas.microsoft.com/office/powerpoint/2010/main" val="1540817693"/>
      </p:ext>
    </p:extLst>
  </p:cSld>
  <p:clrMapOvr>
    <a:masterClrMapping/>
  </p:clrMapOvr>
  <p:transition spd="med">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park Cluster Architecture</a:t>
            </a:r>
            <a:endParaRPr lang="en-US" dirty="0"/>
          </a:p>
        </p:txBody>
      </p:sp>
      <p:sp>
        <p:nvSpPr>
          <p:cNvPr id="3" name="Slide Number Placeholder 2"/>
          <p:cNvSpPr>
            <a:spLocks noGrp="1"/>
          </p:cNvSpPr>
          <p:nvPr>
            <p:ph type="sldNum" sz="quarter" idx="11"/>
          </p:nvPr>
        </p:nvSpPr>
        <p:spPr/>
        <p:txBody>
          <a:bodyPr/>
          <a:lstStyle/>
          <a:p>
            <a:pPr>
              <a:defRPr/>
            </a:pPr>
            <a:fld id="{F8A0AC42-AA1D-4944-8D96-660DE70C7E1B}" type="slidenum">
              <a:rPr lang="en-US" smtClean="0"/>
              <a:pPr>
                <a:defRPr/>
              </a:pPr>
              <a:t>13</a:t>
            </a:fld>
            <a:endParaRPr lang="en-US" dirty="0"/>
          </a:p>
        </p:txBody>
      </p:sp>
      <p:sp>
        <p:nvSpPr>
          <p:cNvPr id="5" name="Rectangle 4"/>
          <p:cNvSpPr/>
          <p:nvPr/>
        </p:nvSpPr>
        <p:spPr bwMode="auto">
          <a:xfrm>
            <a:off x="2069644" y="2456734"/>
            <a:ext cx="2586844" cy="62794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smtClean="0">
              <a:solidFill>
                <a:schemeClr val="bg1"/>
              </a:solidFill>
              <a:ea typeface="Segoe UI" pitchFamily="34" charset="0"/>
              <a:cs typeface="Segoe UI" pitchFamily="34" charset="0"/>
            </a:endParaRPr>
          </a:p>
        </p:txBody>
      </p:sp>
      <p:sp>
        <p:nvSpPr>
          <p:cNvPr id="6" name="Rectangle 5"/>
          <p:cNvSpPr/>
          <p:nvPr/>
        </p:nvSpPr>
        <p:spPr bwMode="auto">
          <a:xfrm>
            <a:off x="4866904" y="3768011"/>
            <a:ext cx="1330037" cy="104502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smtClean="0">
              <a:solidFill>
                <a:schemeClr val="bg1"/>
              </a:solidFill>
              <a:latin typeface="+mj-lt"/>
              <a:ea typeface="Segoe UI" pitchFamily="34" charset="0"/>
              <a:cs typeface="Segoe UI" pitchFamily="34" charset="0"/>
            </a:endParaRPr>
          </a:p>
        </p:txBody>
      </p:sp>
      <p:sp>
        <p:nvSpPr>
          <p:cNvPr id="7" name="Rectangle 6"/>
          <p:cNvSpPr/>
          <p:nvPr/>
        </p:nvSpPr>
        <p:spPr bwMode="auto">
          <a:xfrm>
            <a:off x="2698048" y="3768011"/>
            <a:ext cx="1330037" cy="104502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smtClean="0">
              <a:solidFill>
                <a:schemeClr val="bg1"/>
              </a:solidFill>
              <a:latin typeface="+mj-lt"/>
              <a:ea typeface="Segoe UI" pitchFamily="34" charset="0"/>
              <a:cs typeface="Segoe UI" pitchFamily="34" charset="0"/>
            </a:endParaRPr>
          </a:p>
        </p:txBody>
      </p:sp>
      <p:sp>
        <p:nvSpPr>
          <p:cNvPr id="8" name="Rectangle 7"/>
          <p:cNvSpPr/>
          <p:nvPr/>
        </p:nvSpPr>
        <p:spPr bwMode="auto">
          <a:xfrm>
            <a:off x="623454" y="3768011"/>
            <a:ext cx="1330037" cy="104502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smtClean="0">
              <a:solidFill>
                <a:schemeClr val="bg1"/>
              </a:solidFill>
              <a:latin typeface="+mj-lt"/>
              <a:ea typeface="Segoe UI" pitchFamily="34" charset="0"/>
              <a:cs typeface="Segoe UI" pitchFamily="34" charset="0"/>
            </a:endParaRPr>
          </a:p>
        </p:txBody>
      </p:sp>
      <p:sp>
        <p:nvSpPr>
          <p:cNvPr id="9" name="Rounded Rectangle 8"/>
          <p:cNvSpPr/>
          <p:nvPr/>
        </p:nvSpPr>
        <p:spPr bwMode="auto">
          <a:xfrm>
            <a:off x="623454" y="5483992"/>
            <a:ext cx="5741720" cy="902524"/>
          </a:xfrm>
          <a:prstGeom prst="round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smtClean="0">
              <a:solidFill>
                <a:schemeClr val="bg1"/>
              </a:solidFill>
              <a:latin typeface="+mj-lt"/>
              <a:ea typeface="Segoe UI" pitchFamily="34" charset="0"/>
              <a:cs typeface="Segoe UI" pitchFamily="34" charset="0"/>
            </a:endParaRPr>
          </a:p>
        </p:txBody>
      </p:sp>
      <p:sp>
        <p:nvSpPr>
          <p:cNvPr id="10" name="TextBox 9"/>
          <p:cNvSpPr txBox="1"/>
          <p:nvPr/>
        </p:nvSpPr>
        <p:spPr>
          <a:xfrm>
            <a:off x="2282412" y="2573621"/>
            <a:ext cx="2161309" cy="427511"/>
          </a:xfrm>
          <a:prstGeom prst="rect">
            <a:avLst/>
          </a:prstGeom>
          <a:noFill/>
        </p:spPr>
        <p:txBody>
          <a:bodyPr wrap="none" lIns="182880" tIns="146304" rIns="182880" bIns="146304" rtlCol="0" anchor="ctr">
            <a:noAutofit/>
          </a:bodyPr>
          <a:lstStyle/>
          <a:p>
            <a:pPr algn="ctr">
              <a:lnSpc>
                <a:spcPct val="90000"/>
              </a:lnSpc>
              <a:spcAft>
                <a:spcPts val="600"/>
              </a:spcAft>
            </a:pPr>
            <a:r>
              <a:rPr lang="en-US" sz="2400" dirty="0" smtClean="0">
                <a:solidFill>
                  <a:schemeClr val="bg1"/>
                </a:solidFill>
              </a:rPr>
              <a:t>Cluster Manager</a:t>
            </a:r>
          </a:p>
        </p:txBody>
      </p:sp>
      <p:sp>
        <p:nvSpPr>
          <p:cNvPr id="11" name="TextBox 10"/>
          <p:cNvSpPr txBox="1"/>
          <p:nvPr/>
        </p:nvSpPr>
        <p:spPr>
          <a:xfrm>
            <a:off x="831272" y="3372578"/>
            <a:ext cx="914400" cy="320632"/>
          </a:xfrm>
          <a:prstGeom prst="rect">
            <a:avLst/>
          </a:prstGeom>
          <a:noFill/>
        </p:spPr>
        <p:txBody>
          <a:bodyPr wrap="none" lIns="182880" tIns="146304" rIns="182880" bIns="146304" rtlCol="0" anchor="ctr">
            <a:noAutofit/>
          </a:bodyPr>
          <a:lstStyle/>
          <a:p>
            <a:pPr algn="ctr">
              <a:lnSpc>
                <a:spcPct val="90000"/>
              </a:lnSpc>
              <a:spcAft>
                <a:spcPts val="600"/>
              </a:spcAft>
            </a:pPr>
            <a:r>
              <a:rPr lang="en-US" sz="1400" dirty="0" smtClean="0">
                <a:solidFill>
                  <a:schemeClr val="tx1">
                    <a:lumMod val="75000"/>
                    <a:lumOff val="25000"/>
                  </a:schemeClr>
                </a:solidFill>
              </a:rPr>
              <a:t>Worker Node</a:t>
            </a:r>
          </a:p>
        </p:txBody>
      </p:sp>
      <p:sp>
        <p:nvSpPr>
          <p:cNvPr id="12" name="TextBox 11"/>
          <p:cNvSpPr txBox="1"/>
          <p:nvPr/>
        </p:nvSpPr>
        <p:spPr>
          <a:xfrm>
            <a:off x="2836100" y="3372578"/>
            <a:ext cx="914400" cy="320632"/>
          </a:xfrm>
          <a:prstGeom prst="rect">
            <a:avLst/>
          </a:prstGeom>
          <a:noFill/>
        </p:spPr>
        <p:txBody>
          <a:bodyPr wrap="none" lIns="182880" tIns="146304" rIns="182880" bIns="146304" rtlCol="0" anchor="ctr">
            <a:noAutofit/>
          </a:bodyPr>
          <a:lstStyle/>
          <a:p>
            <a:pPr algn="ctr">
              <a:lnSpc>
                <a:spcPct val="90000"/>
              </a:lnSpc>
              <a:spcAft>
                <a:spcPts val="600"/>
              </a:spcAft>
            </a:pPr>
            <a:r>
              <a:rPr lang="en-US" sz="1400" dirty="0" smtClean="0">
                <a:solidFill>
                  <a:schemeClr val="tx1">
                    <a:lumMod val="75000"/>
                    <a:lumOff val="25000"/>
                  </a:schemeClr>
                </a:solidFill>
              </a:rPr>
              <a:t>Worker Node</a:t>
            </a:r>
          </a:p>
        </p:txBody>
      </p:sp>
      <p:sp>
        <p:nvSpPr>
          <p:cNvPr id="13" name="TextBox 12"/>
          <p:cNvSpPr txBox="1"/>
          <p:nvPr/>
        </p:nvSpPr>
        <p:spPr>
          <a:xfrm>
            <a:off x="4950032" y="3372578"/>
            <a:ext cx="914400" cy="320632"/>
          </a:xfrm>
          <a:prstGeom prst="rect">
            <a:avLst/>
          </a:prstGeom>
          <a:noFill/>
        </p:spPr>
        <p:txBody>
          <a:bodyPr wrap="none" lIns="182880" tIns="146304" rIns="182880" bIns="146304" rtlCol="0" anchor="ctr">
            <a:noAutofit/>
          </a:bodyPr>
          <a:lstStyle/>
          <a:p>
            <a:pPr algn="ctr">
              <a:lnSpc>
                <a:spcPct val="90000"/>
              </a:lnSpc>
              <a:spcAft>
                <a:spcPts val="600"/>
              </a:spcAft>
            </a:pPr>
            <a:r>
              <a:rPr lang="en-US" sz="1400" dirty="0" smtClean="0">
                <a:solidFill>
                  <a:schemeClr val="tx1">
                    <a:lumMod val="75000"/>
                    <a:lumOff val="25000"/>
                  </a:schemeClr>
                </a:solidFill>
              </a:rPr>
              <a:t>Worker Node</a:t>
            </a:r>
          </a:p>
        </p:txBody>
      </p:sp>
      <p:sp>
        <p:nvSpPr>
          <p:cNvPr id="14" name="TextBox 13"/>
          <p:cNvSpPr txBox="1"/>
          <p:nvPr/>
        </p:nvSpPr>
        <p:spPr>
          <a:xfrm>
            <a:off x="3044040" y="5933270"/>
            <a:ext cx="914400" cy="427511"/>
          </a:xfrm>
          <a:prstGeom prst="rect">
            <a:avLst/>
          </a:prstGeom>
          <a:noFill/>
        </p:spPr>
        <p:txBody>
          <a:bodyPr wrap="none" lIns="182880" tIns="146304" rIns="182880" bIns="146304" rtlCol="0" anchor="ctr">
            <a:noAutofit/>
          </a:bodyPr>
          <a:lstStyle/>
          <a:p>
            <a:pPr algn="ctr">
              <a:lnSpc>
                <a:spcPct val="90000"/>
              </a:lnSpc>
              <a:spcAft>
                <a:spcPts val="600"/>
              </a:spcAft>
            </a:pPr>
            <a:r>
              <a:rPr lang="en-US" sz="2400" dirty="0" smtClean="0">
                <a:solidFill>
                  <a:schemeClr val="bg1"/>
                </a:solidFill>
              </a:rPr>
              <a:t>HDFS</a:t>
            </a:r>
          </a:p>
        </p:txBody>
      </p:sp>
      <p:sp>
        <p:nvSpPr>
          <p:cNvPr id="15" name="Rectangle 14"/>
          <p:cNvSpPr/>
          <p:nvPr/>
        </p:nvSpPr>
        <p:spPr bwMode="auto">
          <a:xfrm>
            <a:off x="883598" y="5576481"/>
            <a:ext cx="809748" cy="33752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smtClean="0">
              <a:solidFill>
                <a:schemeClr val="bg1"/>
              </a:solidFill>
              <a:latin typeface="+mj-lt"/>
              <a:ea typeface="Segoe UI" pitchFamily="34" charset="0"/>
              <a:cs typeface="Segoe UI" pitchFamily="34" charset="0"/>
            </a:endParaRPr>
          </a:p>
        </p:txBody>
      </p:sp>
      <p:sp>
        <p:nvSpPr>
          <p:cNvPr id="16" name="Rectangle 15"/>
          <p:cNvSpPr/>
          <p:nvPr/>
        </p:nvSpPr>
        <p:spPr bwMode="auto">
          <a:xfrm>
            <a:off x="1960912" y="5764505"/>
            <a:ext cx="722910" cy="33752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smtClean="0">
              <a:solidFill>
                <a:schemeClr val="bg1"/>
              </a:solidFill>
              <a:latin typeface="+mj-lt"/>
              <a:ea typeface="Segoe UI" pitchFamily="34" charset="0"/>
              <a:cs typeface="Segoe UI" pitchFamily="34" charset="0"/>
            </a:endParaRPr>
          </a:p>
        </p:txBody>
      </p:sp>
      <p:sp>
        <p:nvSpPr>
          <p:cNvPr id="17" name="Rectangle 16"/>
          <p:cNvSpPr/>
          <p:nvPr/>
        </p:nvSpPr>
        <p:spPr bwMode="auto">
          <a:xfrm>
            <a:off x="5149932" y="5576481"/>
            <a:ext cx="763980" cy="33752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smtClean="0">
              <a:solidFill>
                <a:schemeClr val="bg1"/>
              </a:solidFill>
              <a:latin typeface="+mj-lt"/>
              <a:ea typeface="Segoe UI" pitchFamily="34" charset="0"/>
              <a:cs typeface="Segoe UI" pitchFamily="34" charset="0"/>
            </a:endParaRPr>
          </a:p>
        </p:txBody>
      </p:sp>
      <p:sp>
        <p:nvSpPr>
          <p:cNvPr id="18" name="Rectangle 17"/>
          <p:cNvSpPr/>
          <p:nvPr/>
        </p:nvSpPr>
        <p:spPr bwMode="auto">
          <a:xfrm>
            <a:off x="2996540" y="5576481"/>
            <a:ext cx="704601" cy="33752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smtClean="0">
              <a:solidFill>
                <a:schemeClr val="bg1"/>
              </a:solidFill>
              <a:latin typeface="+mj-lt"/>
              <a:ea typeface="Segoe UI" pitchFamily="34" charset="0"/>
              <a:cs typeface="Segoe UI" pitchFamily="34" charset="0"/>
            </a:endParaRPr>
          </a:p>
        </p:txBody>
      </p:sp>
      <p:sp>
        <p:nvSpPr>
          <p:cNvPr id="19" name="Rectangle 18"/>
          <p:cNvSpPr/>
          <p:nvPr/>
        </p:nvSpPr>
        <p:spPr bwMode="auto">
          <a:xfrm>
            <a:off x="4166258" y="5735879"/>
            <a:ext cx="704601" cy="33752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smtClean="0">
              <a:solidFill>
                <a:schemeClr val="bg1"/>
              </a:solidFill>
              <a:latin typeface="+mj-lt"/>
              <a:ea typeface="Segoe UI" pitchFamily="34" charset="0"/>
              <a:cs typeface="Segoe UI" pitchFamily="34" charset="0"/>
            </a:endParaRPr>
          </a:p>
        </p:txBody>
      </p:sp>
      <p:cxnSp>
        <p:nvCxnSpPr>
          <p:cNvPr id="21" name="Straight Arrow Connector 20"/>
          <p:cNvCxnSpPr/>
          <p:nvPr/>
        </p:nvCxnSpPr>
        <p:spPr>
          <a:xfrm flipV="1">
            <a:off x="1288472" y="4813039"/>
            <a:ext cx="1" cy="644692"/>
          </a:xfrm>
          <a:prstGeom prst="straightConnector1">
            <a:avLst/>
          </a:prstGeom>
          <a:ln w="38100">
            <a:solidFill>
              <a:schemeClr val="tx2">
                <a:lumMod val="75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p:cNvCxnSpPr/>
          <p:nvPr/>
        </p:nvCxnSpPr>
        <p:spPr>
          <a:xfrm flipV="1">
            <a:off x="3363066" y="4822938"/>
            <a:ext cx="1" cy="644692"/>
          </a:xfrm>
          <a:prstGeom prst="straightConnector1">
            <a:avLst/>
          </a:prstGeom>
          <a:ln w="38100">
            <a:solidFill>
              <a:schemeClr val="tx2">
                <a:lumMod val="75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p:cNvCxnSpPr/>
          <p:nvPr/>
        </p:nvCxnSpPr>
        <p:spPr>
          <a:xfrm flipV="1">
            <a:off x="5531922" y="4820962"/>
            <a:ext cx="1" cy="644692"/>
          </a:xfrm>
          <a:prstGeom prst="straightConnector1">
            <a:avLst/>
          </a:prstGeom>
          <a:ln w="38100">
            <a:solidFill>
              <a:schemeClr val="tx2">
                <a:lumMod val="75000"/>
              </a:schemeClr>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4" name="Rectangle 23"/>
          <p:cNvSpPr/>
          <p:nvPr/>
        </p:nvSpPr>
        <p:spPr bwMode="auto">
          <a:xfrm>
            <a:off x="883598" y="4406841"/>
            <a:ext cx="809748" cy="33752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smtClean="0">
              <a:solidFill>
                <a:schemeClr val="bg1"/>
              </a:solidFill>
              <a:latin typeface="+mj-lt"/>
              <a:ea typeface="Segoe UI" pitchFamily="34" charset="0"/>
              <a:cs typeface="Segoe UI" pitchFamily="34" charset="0"/>
            </a:endParaRPr>
          </a:p>
        </p:txBody>
      </p:sp>
      <p:sp>
        <p:nvSpPr>
          <p:cNvPr id="26" name="Rectangle 25"/>
          <p:cNvSpPr/>
          <p:nvPr/>
        </p:nvSpPr>
        <p:spPr bwMode="auto">
          <a:xfrm>
            <a:off x="2943966" y="4406840"/>
            <a:ext cx="809748" cy="33752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smtClean="0">
              <a:solidFill>
                <a:schemeClr val="bg1"/>
              </a:solidFill>
              <a:latin typeface="+mj-lt"/>
              <a:ea typeface="Segoe UI" pitchFamily="34" charset="0"/>
              <a:cs typeface="Segoe UI" pitchFamily="34" charset="0"/>
            </a:endParaRPr>
          </a:p>
        </p:txBody>
      </p:sp>
      <p:sp>
        <p:nvSpPr>
          <p:cNvPr id="27" name="Rectangle 26"/>
          <p:cNvSpPr/>
          <p:nvPr/>
        </p:nvSpPr>
        <p:spPr bwMode="auto">
          <a:xfrm>
            <a:off x="5127048" y="4384081"/>
            <a:ext cx="809748" cy="33752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smtClean="0">
              <a:solidFill>
                <a:schemeClr val="bg1"/>
              </a:solidFill>
              <a:latin typeface="+mj-lt"/>
              <a:ea typeface="Segoe UI" pitchFamily="34" charset="0"/>
              <a:cs typeface="Segoe UI" pitchFamily="34" charset="0"/>
            </a:endParaRPr>
          </a:p>
        </p:txBody>
      </p:sp>
      <p:sp>
        <p:nvSpPr>
          <p:cNvPr id="28" name="Rectangle 27"/>
          <p:cNvSpPr/>
          <p:nvPr/>
        </p:nvSpPr>
        <p:spPr bwMode="auto">
          <a:xfrm>
            <a:off x="893497" y="3953600"/>
            <a:ext cx="799849" cy="337529"/>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smtClean="0">
              <a:solidFill>
                <a:schemeClr val="bg1"/>
              </a:solidFill>
              <a:latin typeface="+mj-lt"/>
              <a:ea typeface="Segoe UI" pitchFamily="34" charset="0"/>
              <a:cs typeface="Segoe UI" pitchFamily="34" charset="0"/>
            </a:endParaRPr>
          </a:p>
        </p:txBody>
      </p:sp>
      <p:sp>
        <p:nvSpPr>
          <p:cNvPr id="29" name="Rectangle 28"/>
          <p:cNvSpPr/>
          <p:nvPr/>
        </p:nvSpPr>
        <p:spPr bwMode="auto">
          <a:xfrm>
            <a:off x="2940752" y="3948120"/>
            <a:ext cx="809748" cy="337529"/>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smtClean="0">
              <a:solidFill>
                <a:schemeClr val="bg1"/>
              </a:solidFill>
              <a:latin typeface="+mj-lt"/>
              <a:ea typeface="Segoe UI" pitchFamily="34" charset="0"/>
              <a:cs typeface="Segoe UI" pitchFamily="34" charset="0"/>
            </a:endParaRPr>
          </a:p>
        </p:txBody>
      </p:sp>
      <p:sp>
        <p:nvSpPr>
          <p:cNvPr id="30" name="Rectangle 29"/>
          <p:cNvSpPr/>
          <p:nvPr/>
        </p:nvSpPr>
        <p:spPr bwMode="auto">
          <a:xfrm>
            <a:off x="5127048" y="3911575"/>
            <a:ext cx="809748" cy="337529"/>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smtClean="0">
              <a:solidFill>
                <a:schemeClr val="bg1"/>
              </a:solidFill>
              <a:latin typeface="+mj-lt"/>
              <a:ea typeface="Segoe UI" pitchFamily="34" charset="0"/>
              <a:cs typeface="Segoe UI" pitchFamily="34" charset="0"/>
            </a:endParaRPr>
          </a:p>
        </p:txBody>
      </p:sp>
      <p:sp>
        <p:nvSpPr>
          <p:cNvPr id="31" name="TextBox 30"/>
          <p:cNvSpPr txBox="1"/>
          <p:nvPr/>
        </p:nvSpPr>
        <p:spPr>
          <a:xfrm>
            <a:off x="964746" y="4010004"/>
            <a:ext cx="677137" cy="239100"/>
          </a:xfrm>
          <a:prstGeom prst="rect">
            <a:avLst/>
          </a:prstGeom>
          <a:noFill/>
        </p:spPr>
        <p:txBody>
          <a:bodyPr wrap="none" lIns="182880" tIns="146304" rIns="182880" bIns="146304" rtlCol="0" anchor="ctr">
            <a:noAutofit/>
          </a:bodyPr>
          <a:lstStyle/>
          <a:p>
            <a:pPr algn="ctr">
              <a:lnSpc>
                <a:spcPct val="90000"/>
              </a:lnSpc>
              <a:spcAft>
                <a:spcPts val="600"/>
              </a:spcAft>
            </a:pPr>
            <a:r>
              <a:rPr lang="en-US" sz="1200" dirty="0" smtClean="0">
                <a:gradFill>
                  <a:gsLst>
                    <a:gs pos="2917">
                      <a:schemeClr val="tx1"/>
                    </a:gs>
                    <a:gs pos="30000">
                      <a:schemeClr val="tx1"/>
                    </a:gs>
                  </a:gsLst>
                  <a:lin ang="5400000" scaled="0"/>
                </a:gradFill>
              </a:rPr>
              <a:t>Cache </a:t>
            </a:r>
          </a:p>
        </p:txBody>
      </p:sp>
      <p:sp>
        <p:nvSpPr>
          <p:cNvPr id="33" name="TextBox 32"/>
          <p:cNvSpPr txBox="1"/>
          <p:nvPr/>
        </p:nvSpPr>
        <p:spPr>
          <a:xfrm>
            <a:off x="2960915" y="3963032"/>
            <a:ext cx="753960" cy="294903"/>
          </a:xfrm>
          <a:prstGeom prst="rect">
            <a:avLst/>
          </a:prstGeom>
          <a:noFill/>
        </p:spPr>
        <p:txBody>
          <a:bodyPr wrap="none" lIns="182880" tIns="146304" rIns="182880" bIns="146304" rtlCol="0" anchor="ctr">
            <a:noAutofit/>
          </a:bodyPr>
          <a:lstStyle/>
          <a:p>
            <a:pPr algn="ctr">
              <a:lnSpc>
                <a:spcPct val="90000"/>
              </a:lnSpc>
              <a:spcAft>
                <a:spcPts val="600"/>
              </a:spcAft>
            </a:pPr>
            <a:r>
              <a:rPr lang="en-US" sz="1200" dirty="0" smtClean="0">
                <a:gradFill>
                  <a:gsLst>
                    <a:gs pos="2917">
                      <a:schemeClr val="tx1"/>
                    </a:gs>
                    <a:gs pos="30000">
                      <a:schemeClr val="tx1"/>
                    </a:gs>
                  </a:gsLst>
                  <a:lin ang="5400000" scaled="0"/>
                </a:gradFill>
              </a:rPr>
              <a:t>Cache </a:t>
            </a:r>
          </a:p>
        </p:txBody>
      </p:sp>
      <p:sp>
        <p:nvSpPr>
          <p:cNvPr id="34" name="TextBox 33"/>
          <p:cNvSpPr txBox="1"/>
          <p:nvPr/>
        </p:nvSpPr>
        <p:spPr>
          <a:xfrm>
            <a:off x="5149932" y="3998059"/>
            <a:ext cx="786864" cy="155301"/>
          </a:xfrm>
          <a:prstGeom prst="rect">
            <a:avLst/>
          </a:prstGeom>
          <a:noFill/>
        </p:spPr>
        <p:txBody>
          <a:bodyPr wrap="none" lIns="182880" tIns="146304" rIns="182880" bIns="146304" rtlCol="0" anchor="ctr">
            <a:noAutofit/>
          </a:bodyPr>
          <a:lstStyle/>
          <a:p>
            <a:pPr algn="ctr">
              <a:lnSpc>
                <a:spcPct val="90000"/>
              </a:lnSpc>
              <a:spcAft>
                <a:spcPts val="600"/>
              </a:spcAft>
            </a:pPr>
            <a:r>
              <a:rPr lang="en-US" sz="1200" dirty="0" smtClean="0">
                <a:gradFill>
                  <a:gsLst>
                    <a:gs pos="2917">
                      <a:schemeClr val="tx1"/>
                    </a:gs>
                    <a:gs pos="30000">
                      <a:schemeClr val="tx1"/>
                    </a:gs>
                  </a:gsLst>
                  <a:lin ang="5400000" scaled="0"/>
                </a:gradFill>
              </a:rPr>
              <a:t>Cache</a:t>
            </a:r>
          </a:p>
        </p:txBody>
      </p:sp>
      <p:sp>
        <p:nvSpPr>
          <p:cNvPr id="35" name="TextBox 34"/>
          <p:cNvSpPr txBox="1"/>
          <p:nvPr/>
        </p:nvSpPr>
        <p:spPr>
          <a:xfrm>
            <a:off x="5226261" y="4482965"/>
            <a:ext cx="647194" cy="203545"/>
          </a:xfrm>
          <a:prstGeom prst="rect">
            <a:avLst/>
          </a:prstGeom>
          <a:noFill/>
        </p:spPr>
        <p:txBody>
          <a:bodyPr wrap="none" lIns="182880" tIns="146304" rIns="182880" bIns="146304" rtlCol="0" anchor="ctr">
            <a:noAutofit/>
          </a:bodyPr>
          <a:lstStyle/>
          <a:p>
            <a:pPr algn="ctr">
              <a:lnSpc>
                <a:spcPct val="90000"/>
              </a:lnSpc>
              <a:spcAft>
                <a:spcPts val="600"/>
              </a:spcAft>
            </a:pPr>
            <a:r>
              <a:rPr lang="en-US" sz="1200" dirty="0" smtClean="0">
                <a:gradFill>
                  <a:gsLst>
                    <a:gs pos="2917">
                      <a:schemeClr val="tx1"/>
                    </a:gs>
                    <a:gs pos="30000">
                      <a:schemeClr val="tx1"/>
                    </a:gs>
                  </a:gsLst>
                  <a:lin ang="5400000" scaled="0"/>
                </a:gradFill>
              </a:rPr>
              <a:t>Task</a:t>
            </a:r>
          </a:p>
        </p:txBody>
      </p:sp>
      <p:sp>
        <p:nvSpPr>
          <p:cNvPr id="36" name="TextBox 35"/>
          <p:cNvSpPr txBox="1"/>
          <p:nvPr/>
        </p:nvSpPr>
        <p:spPr>
          <a:xfrm>
            <a:off x="2940259" y="4492863"/>
            <a:ext cx="784632" cy="171271"/>
          </a:xfrm>
          <a:prstGeom prst="rect">
            <a:avLst/>
          </a:prstGeom>
          <a:noFill/>
        </p:spPr>
        <p:txBody>
          <a:bodyPr wrap="none" lIns="182880" tIns="146304" rIns="182880" bIns="146304" rtlCol="0" anchor="ctr">
            <a:noAutofit/>
          </a:bodyPr>
          <a:lstStyle/>
          <a:p>
            <a:pPr algn="ctr">
              <a:lnSpc>
                <a:spcPct val="90000"/>
              </a:lnSpc>
              <a:spcAft>
                <a:spcPts val="600"/>
              </a:spcAft>
            </a:pPr>
            <a:r>
              <a:rPr lang="en-US" sz="1200" dirty="0" smtClean="0">
                <a:gradFill>
                  <a:gsLst>
                    <a:gs pos="2917">
                      <a:schemeClr val="tx1"/>
                    </a:gs>
                    <a:gs pos="30000">
                      <a:schemeClr val="tx1"/>
                    </a:gs>
                  </a:gsLst>
                  <a:lin ang="5400000" scaled="0"/>
                </a:gradFill>
              </a:rPr>
              <a:t>Task</a:t>
            </a:r>
          </a:p>
        </p:txBody>
      </p:sp>
      <p:sp>
        <p:nvSpPr>
          <p:cNvPr id="37" name="TextBox 36"/>
          <p:cNvSpPr txBox="1"/>
          <p:nvPr/>
        </p:nvSpPr>
        <p:spPr>
          <a:xfrm>
            <a:off x="939015" y="4447411"/>
            <a:ext cx="677137" cy="239100"/>
          </a:xfrm>
          <a:prstGeom prst="rect">
            <a:avLst/>
          </a:prstGeom>
          <a:noFill/>
        </p:spPr>
        <p:txBody>
          <a:bodyPr wrap="none" lIns="182880" tIns="146304" rIns="182880" bIns="146304" rtlCol="0" anchor="ctr">
            <a:noAutofit/>
          </a:bodyPr>
          <a:lstStyle/>
          <a:p>
            <a:pPr algn="ctr">
              <a:lnSpc>
                <a:spcPct val="90000"/>
              </a:lnSpc>
              <a:spcAft>
                <a:spcPts val="600"/>
              </a:spcAft>
            </a:pPr>
            <a:r>
              <a:rPr lang="en-US" sz="1200" dirty="0" smtClean="0">
                <a:gradFill>
                  <a:gsLst>
                    <a:gs pos="2917">
                      <a:schemeClr val="tx1"/>
                    </a:gs>
                    <a:gs pos="30000">
                      <a:schemeClr val="tx1"/>
                    </a:gs>
                  </a:gsLst>
                  <a:lin ang="5400000" scaled="0"/>
                </a:gradFill>
              </a:rPr>
              <a:t>Task</a:t>
            </a:r>
          </a:p>
        </p:txBody>
      </p:sp>
      <p:sp>
        <p:nvSpPr>
          <p:cNvPr id="38" name="TextBox 37"/>
          <p:cNvSpPr txBox="1"/>
          <p:nvPr/>
        </p:nvSpPr>
        <p:spPr>
          <a:xfrm>
            <a:off x="948912" y="5015835"/>
            <a:ext cx="677137" cy="239100"/>
          </a:xfrm>
          <a:prstGeom prst="rect">
            <a:avLst/>
          </a:prstGeom>
          <a:solidFill>
            <a:schemeClr val="bg1"/>
          </a:solidFill>
        </p:spPr>
        <p:txBody>
          <a:bodyPr wrap="none" lIns="182880" tIns="146304" rIns="182880" bIns="146304" rtlCol="0" anchor="ctr">
            <a:noAutofit/>
          </a:bodyPr>
          <a:lstStyle/>
          <a:p>
            <a:pPr algn="ctr">
              <a:lnSpc>
                <a:spcPct val="90000"/>
              </a:lnSpc>
              <a:spcAft>
                <a:spcPts val="600"/>
              </a:spcAft>
            </a:pPr>
            <a:r>
              <a:rPr lang="en-US" sz="1200" dirty="0" smtClean="0">
                <a:gradFill>
                  <a:gsLst>
                    <a:gs pos="2917">
                      <a:schemeClr val="tx1"/>
                    </a:gs>
                    <a:gs pos="30000">
                      <a:schemeClr val="tx1"/>
                    </a:gs>
                  </a:gsLst>
                  <a:lin ang="5400000" scaled="0"/>
                </a:gradFill>
              </a:rPr>
              <a:t>Read</a:t>
            </a:r>
          </a:p>
        </p:txBody>
      </p:sp>
      <p:sp>
        <p:nvSpPr>
          <p:cNvPr id="39" name="TextBox 38"/>
          <p:cNvSpPr txBox="1"/>
          <p:nvPr/>
        </p:nvSpPr>
        <p:spPr>
          <a:xfrm>
            <a:off x="2989489" y="5013857"/>
            <a:ext cx="677137" cy="239100"/>
          </a:xfrm>
          <a:prstGeom prst="rect">
            <a:avLst/>
          </a:prstGeom>
          <a:solidFill>
            <a:schemeClr val="bg1"/>
          </a:solidFill>
        </p:spPr>
        <p:txBody>
          <a:bodyPr wrap="none" lIns="182880" tIns="146304" rIns="182880" bIns="146304" rtlCol="0" anchor="ctr">
            <a:noAutofit/>
          </a:bodyPr>
          <a:lstStyle/>
          <a:p>
            <a:pPr algn="ctr">
              <a:lnSpc>
                <a:spcPct val="90000"/>
              </a:lnSpc>
              <a:spcAft>
                <a:spcPts val="600"/>
              </a:spcAft>
            </a:pPr>
            <a:r>
              <a:rPr lang="en-US" sz="1200" dirty="0" smtClean="0">
                <a:gradFill>
                  <a:gsLst>
                    <a:gs pos="2917">
                      <a:schemeClr val="tx1"/>
                    </a:gs>
                    <a:gs pos="30000">
                      <a:schemeClr val="tx1"/>
                    </a:gs>
                  </a:gsLst>
                  <a:lin ang="5400000" scaled="0"/>
                </a:gradFill>
              </a:rPr>
              <a:t>Read</a:t>
            </a:r>
          </a:p>
        </p:txBody>
      </p:sp>
      <p:sp>
        <p:nvSpPr>
          <p:cNvPr id="40" name="TextBox 39"/>
          <p:cNvSpPr txBox="1"/>
          <p:nvPr/>
        </p:nvSpPr>
        <p:spPr>
          <a:xfrm>
            <a:off x="5196318" y="5023754"/>
            <a:ext cx="677137" cy="239100"/>
          </a:xfrm>
          <a:prstGeom prst="rect">
            <a:avLst/>
          </a:prstGeom>
          <a:solidFill>
            <a:schemeClr val="bg1"/>
          </a:solidFill>
        </p:spPr>
        <p:txBody>
          <a:bodyPr wrap="none" lIns="182880" tIns="146304" rIns="182880" bIns="146304" rtlCol="0" anchor="ctr">
            <a:noAutofit/>
          </a:bodyPr>
          <a:lstStyle/>
          <a:p>
            <a:pPr algn="ctr">
              <a:lnSpc>
                <a:spcPct val="90000"/>
              </a:lnSpc>
              <a:spcAft>
                <a:spcPts val="600"/>
              </a:spcAft>
            </a:pPr>
            <a:r>
              <a:rPr lang="en-US" sz="1200" dirty="0" smtClean="0">
                <a:gradFill>
                  <a:gsLst>
                    <a:gs pos="2917">
                      <a:schemeClr val="tx1"/>
                    </a:gs>
                    <a:gs pos="30000">
                      <a:schemeClr val="tx1"/>
                    </a:gs>
                  </a:gsLst>
                  <a:lin ang="5400000" scaled="0"/>
                </a:gradFill>
              </a:rPr>
              <a:t>Read</a:t>
            </a:r>
          </a:p>
        </p:txBody>
      </p:sp>
      <p:cxnSp>
        <p:nvCxnSpPr>
          <p:cNvPr id="42" name="Straight Arrow Connector 41"/>
          <p:cNvCxnSpPr>
            <a:stCxn id="5" idx="2"/>
          </p:cNvCxnSpPr>
          <p:nvPr/>
        </p:nvCxnSpPr>
        <p:spPr>
          <a:xfrm flipH="1">
            <a:off x="1945572" y="3084676"/>
            <a:ext cx="1417494" cy="670957"/>
          </a:xfrm>
          <a:prstGeom prst="straightConnector1">
            <a:avLst/>
          </a:prstGeom>
          <a:ln w="28575">
            <a:solidFill>
              <a:schemeClr val="tx1">
                <a:lumMod val="75000"/>
                <a:lumOff val="2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4" name="Straight Arrow Connector 43"/>
          <p:cNvCxnSpPr>
            <a:stCxn id="5" idx="2"/>
            <a:endCxn id="7" idx="0"/>
          </p:cNvCxnSpPr>
          <p:nvPr/>
        </p:nvCxnSpPr>
        <p:spPr>
          <a:xfrm>
            <a:off x="3363066" y="3084676"/>
            <a:ext cx="1" cy="683335"/>
          </a:xfrm>
          <a:prstGeom prst="straightConnector1">
            <a:avLst/>
          </a:prstGeom>
          <a:ln w="28575">
            <a:solidFill>
              <a:schemeClr val="tx1">
                <a:lumMod val="75000"/>
                <a:lumOff val="2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0" name="Straight Arrow Connector 49"/>
          <p:cNvCxnSpPr>
            <a:stCxn id="5" idx="2"/>
            <a:endCxn id="6" idx="0"/>
          </p:cNvCxnSpPr>
          <p:nvPr/>
        </p:nvCxnSpPr>
        <p:spPr>
          <a:xfrm>
            <a:off x="3363066" y="3084676"/>
            <a:ext cx="2168857" cy="683335"/>
          </a:xfrm>
          <a:prstGeom prst="straightConnector1">
            <a:avLst/>
          </a:prstGeom>
          <a:ln w="28575">
            <a:solidFill>
              <a:schemeClr val="tx1">
                <a:lumMod val="75000"/>
                <a:lumOff val="2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51" name="TextBox 50"/>
          <p:cNvSpPr txBox="1"/>
          <p:nvPr/>
        </p:nvSpPr>
        <p:spPr>
          <a:xfrm>
            <a:off x="6731081" y="1578196"/>
            <a:ext cx="5156980" cy="3905685"/>
          </a:xfrm>
          <a:prstGeom prst="rect">
            <a:avLst/>
          </a:prstGeom>
        </p:spPr>
        <p:txBody>
          <a:bodyPr wrap="square">
            <a:spAutoFit/>
          </a:bodyPr>
          <a:lstStyle>
            <a:defPPr>
              <a:defRPr lang="en-US"/>
            </a:defPPr>
            <a:lvl2pPr marL="52912" lvl="1" defTabSz="913770" fontAlgn="base">
              <a:spcBef>
                <a:spcPts val="588"/>
              </a:spcBef>
              <a:spcAft>
                <a:spcPts val="588"/>
              </a:spcAft>
              <a:buClr>
                <a:srgbClr val="68217A">
                  <a:lumMod val="50000"/>
                </a:srgbClr>
              </a:buClr>
              <a:tabLst>
                <a:tab pos="645523" algn="l"/>
              </a:tabLst>
              <a:defRPr sz="2353">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558686" lvl="1" indent="-448193">
              <a:lnSpc>
                <a:spcPct val="90000"/>
              </a:lnSpc>
              <a:spcAft>
                <a:spcPts val="600"/>
              </a:spcAft>
              <a:buBlip>
                <a:blip r:embed="rId2"/>
              </a:buBlip>
            </a:pPr>
            <a:r>
              <a:rPr lang="en-US" sz="2200" dirty="0" smtClean="0"/>
              <a:t>‘Driver’ runs </a:t>
            </a:r>
            <a:r>
              <a:rPr lang="en-US" sz="2200" dirty="0"/>
              <a:t>the </a:t>
            </a:r>
            <a:r>
              <a:rPr lang="en-US" sz="2200" dirty="0" smtClean="0"/>
              <a:t>user’s </a:t>
            </a:r>
            <a:r>
              <a:rPr lang="en-US" sz="2200" dirty="0"/>
              <a:t>‘main’ function and executes the various parallel operations on the worker nodes.  </a:t>
            </a:r>
          </a:p>
          <a:p>
            <a:pPr marL="558686" lvl="1" indent="-448193">
              <a:lnSpc>
                <a:spcPct val="90000"/>
              </a:lnSpc>
              <a:spcAft>
                <a:spcPts val="600"/>
              </a:spcAft>
              <a:buBlip>
                <a:blip r:embed="rId2"/>
              </a:buBlip>
            </a:pPr>
            <a:r>
              <a:rPr lang="en-US" sz="2200" dirty="0"/>
              <a:t>The results of the operations are collected by the driver</a:t>
            </a:r>
          </a:p>
          <a:p>
            <a:pPr marL="558686" lvl="1" indent="-448193">
              <a:lnSpc>
                <a:spcPct val="90000"/>
              </a:lnSpc>
              <a:spcAft>
                <a:spcPts val="600"/>
              </a:spcAft>
              <a:buBlip>
                <a:blip r:embed="rId2"/>
              </a:buBlip>
            </a:pPr>
            <a:r>
              <a:rPr lang="en-US" sz="2200" dirty="0"/>
              <a:t>The worker nodes read and write data </a:t>
            </a:r>
            <a:r>
              <a:rPr lang="en-US" sz="2200" dirty="0" smtClean="0"/>
              <a:t>from/to </a:t>
            </a:r>
            <a:r>
              <a:rPr lang="en-US" sz="2200" dirty="0"/>
              <a:t>HDFS.</a:t>
            </a:r>
          </a:p>
          <a:p>
            <a:pPr marL="558686" lvl="1" indent="-448193">
              <a:lnSpc>
                <a:spcPct val="90000"/>
              </a:lnSpc>
              <a:spcAft>
                <a:spcPts val="600"/>
              </a:spcAft>
              <a:buBlip>
                <a:blip r:embed="rId2"/>
              </a:buBlip>
            </a:pPr>
            <a:r>
              <a:rPr lang="en-US" sz="2200" dirty="0"/>
              <a:t>Worker node </a:t>
            </a:r>
            <a:r>
              <a:rPr lang="en-US" sz="2200" dirty="0" smtClean="0"/>
              <a:t>also cache transformed data </a:t>
            </a:r>
            <a:r>
              <a:rPr lang="en-US" sz="2200" dirty="0"/>
              <a:t>in memory as RDDs</a:t>
            </a:r>
          </a:p>
        </p:txBody>
      </p:sp>
      <p:sp>
        <p:nvSpPr>
          <p:cNvPr id="72" name="Rectangle 71"/>
          <p:cNvSpPr/>
          <p:nvPr/>
        </p:nvSpPr>
        <p:spPr bwMode="auto">
          <a:xfrm>
            <a:off x="2086469" y="1306921"/>
            <a:ext cx="2553194" cy="717877"/>
          </a:xfrm>
          <a:prstGeom prst="rect">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smtClean="0">
              <a:solidFill>
                <a:schemeClr val="bg1"/>
              </a:solidFill>
              <a:ea typeface="Segoe UI" pitchFamily="34" charset="0"/>
              <a:cs typeface="Segoe UI" pitchFamily="34" charset="0"/>
            </a:endParaRPr>
          </a:p>
        </p:txBody>
      </p:sp>
      <p:cxnSp>
        <p:nvCxnSpPr>
          <p:cNvPr id="79" name="Straight Arrow Connector 78"/>
          <p:cNvCxnSpPr>
            <a:stCxn id="72" idx="2"/>
            <a:endCxn id="5" idx="0"/>
          </p:cNvCxnSpPr>
          <p:nvPr/>
        </p:nvCxnSpPr>
        <p:spPr>
          <a:xfrm>
            <a:off x="3363066" y="2024798"/>
            <a:ext cx="0" cy="431936"/>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80" name="TextBox 79"/>
          <p:cNvSpPr txBox="1"/>
          <p:nvPr/>
        </p:nvSpPr>
        <p:spPr>
          <a:xfrm>
            <a:off x="2315189" y="1432073"/>
            <a:ext cx="2161309" cy="427511"/>
          </a:xfrm>
          <a:prstGeom prst="rect">
            <a:avLst/>
          </a:prstGeom>
          <a:noFill/>
        </p:spPr>
        <p:txBody>
          <a:bodyPr wrap="none" lIns="182880" tIns="146304" rIns="182880" bIns="146304" rtlCol="0" anchor="ctr">
            <a:noAutofit/>
          </a:bodyPr>
          <a:lstStyle/>
          <a:p>
            <a:pPr algn="ctr">
              <a:lnSpc>
                <a:spcPct val="90000"/>
              </a:lnSpc>
              <a:spcAft>
                <a:spcPts val="600"/>
              </a:spcAft>
            </a:pPr>
            <a:r>
              <a:rPr lang="en-US" sz="2400" dirty="0" smtClean="0">
                <a:solidFill>
                  <a:schemeClr val="bg1"/>
                </a:solidFill>
              </a:rPr>
              <a:t>Driver Program</a:t>
            </a:r>
            <a:br>
              <a:rPr lang="en-US" sz="2400" dirty="0" smtClean="0">
                <a:solidFill>
                  <a:schemeClr val="bg1"/>
                </a:solidFill>
              </a:rPr>
            </a:br>
            <a:r>
              <a:rPr lang="en-US" sz="2000" dirty="0" smtClean="0">
                <a:solidFill>
                  <a:schemeClr val="bg1"/>
                </a:solidFill>
              </a:rPr>
              <a:t>SparkContext</a:t>
            </a:r>
          </a:p>
        </p:txBody>
      </p:sp>
    </p:spTree>
    <p:extLst>
      <p:ext uri="{BB962C8B-B14F-4D97-AF65-F5344CB8AC3E}">
        <p14:creationId xmlns:p14="http://schemas.microsoft.com/office/powerpoint/2010/main" val="2885724431"/>
      </p:ext>
    </p:extLst>
  </p:cSld>
  <p:clrMapOvr>
    <a:masterClrMapping/>
  </p:clrMapOvr>
  <p:transition spd="med">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park Cluster Architecture - Driver</a:t>
            </a:r>
            <a:endParaRPr lang="en-US" dirty="0"/>
          </a:p>
        </p:txBody>
      </p:sp>
      <p:sp>
        <p:nvSpPr>
          <p:cNvPr id="3" name="Slide Number Placeholder 2"/>
          <p:cNvSpPr>
            <a:spLocks noGrp="1"/>
          </p:cNvSpPr>
          <p:nvPr>
            <p:ph type="sldNum" sz="quarter" idx="11"/>
          </p:nvPr>
        </p:nvSpPr>
        <p:spPr/>
        <p:txBody>
          <a:bodyPr/>
          <a:lstStyle/>
          <a:p>
            <a:pPr>
              <a:defRPr/>
            </a:pPr>
            <a:fld id="{F8A0AC42-AA1D-4944-8D96-660DE70C7E1B}" type="slidenum">
              <a:rPr lang="en-US" smtClean="0"/>
              <a:pPr>
                <a:defRPr/>
              </a:pPr>
              <a:t>14</a:t>
            </a:fld>
            <a:endParaRPr lang="en-US" dirty="0"/>
          </a:p>
        </p:txBody>
      </p:sp>
      <p:sp>
        <p:nvSpPr>
          <p:cNvPr id="5" name="Rectangle 4"/>
          <p:cNvSpPr/>
          <p:nvPr/>
        </p:nvSpPr>
        <p:spPr bwMode="auto">
          <a:xfrm>
            <a:off x="2057768" y="2772909"/>
            <a:ext cx="2586844" cy="62794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smtClean="0">
              <a:solidFill>
                <a:schemeClr val="bg1"/>
              </a:solidFill>
              <a:latin typeface="+mj-lt"/>
              <a:ea typeface="Segoe UI" pitchFamily="34" charset="0"/>
              <a:cs typeface="Segoe UI" pitchFamily="34" charset="0"/>
            </a:endParaRPr>
          </a:p>
        </p:txBody>
      </p:sp>
      <p:sp>
        <p:nvSpPr>
          <p:cNvPr id="6" name="Rectangle 5"/>
          <p:cNvSpPr/>
          <p:nvPr/>
        </p:nvSpPr>
        <p:spPr bwMode="auto">
          <a:xfrm>
            <a:off x="4855028" y="4084186"/>
            <a:ext cx="1330037" cy="144285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smtClean="0">
              <a:solidFill>
                <a:schemeClr val="bg1"/>
              </a:solidFill>
              <a:latin typeface="+mj-lt"/>
              <a:ea typeface="Segoe UI" pitchFamily="34" charset="0"/>
              <a:cs typeface="Segoe UI" pitchFamily="34" charset="0"/>
            </a:endParaRPr>
          </a:p>
        </p:txBody>
      </p:sp>
      <p:sp>
        <p:nvSpPr>
          <p:cNvPr id="7" name="Rectangle 6"/>
          <p:cNvSpPr/>
          <p:nvPr/>
        </p:nvSpPr>
        <p:spPr bwMode="auto">
          <a:xfrm>
            <a:off x="2686172" y="4084186"/>
            <a:ext cx="1330037" cy="144285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smtClean="0">
              <a:solidFill>
                <a:schemeClr val="bg1"/>
              </a:solidFill>
              <a:latin typeface="+mj-lt"/>
              <a:ea typeface="Segoe UI" pitchFamily="34" charset="0"/>
              <a:cs typeface="Segoe UI" pitchFamily="34" charset="0"/>
            </a:endParaRPr>
          </a:p>
        </p:txBody>
      </p:sp>
      <p:sp>
        <p:nvSpPr>
          <p:cNvPr id="8" name="Rectangle 7"/>
          <p:cNvSpPr/>
          <p:nvPr/>
        </p:nvSpPr>
        <p:spPr bwMode="auto">
          <a:xfrm>
            <a:off x="611578" y="4084186"/>
            <a:ext cx="1330037" cy="144285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smtClean="0">
              <a:solidFill>
                <a:schemeClr val="bg1"/>
              </a:solidFill>
              <a:latin typeface="+mj-lt"/>
              <a:ea typeface="Segoe UI" pitchFamily="34" charset="0"/>
              <a:cs typeface="Segoe UI" pitchFamily="34" charset="0"/>
            </a:endParaRPr>
          </a:p>
        </p:txBody>
      </p:sp>
      <p:sp>
        <p:nvSpPr>
          <p:cNvPr id="10" name="TextBox 9"/>
          <p:cNvSpPr txBox="1"/>
          <p:nvPr/>
        </p:nvSpPr>
        <p:spPr>
          <a:xfrm>
            <a:off x="2270536" y="2889796"/>
            <a:ext cx="2161309" cy="427511"/>
          </a:xfrm>
          <a:prstGeom prst="rect">
            <a:avLst/>
          </a:prstGeom>
          <a:noFill/>
        </p:spPr>
        <p:txBody>
          <a:bodyPr wrap="none" lIns="182880" tIns="146304" rIns="182880" bIns="146304" rtlCol="0" anchor="ctr">
            <a:noAutofit/>
          </a:bodyPr>
          <a:lstStyle/>
          <a:p>
            <a:pPr algn="ctr">
              <a:lnSpc>
                <a:spcPct val="90000"/>
              </a:lnSpc>
              <a:spcAft>
                <a:spcPts val="600"/>
              </a:spcAft>
            </a:pPr>
            <a:r>
              <a:rPr lang="en-US" sz="2400" dirty="0" smtClean="0">
                <a:solidFill>
                  <a:schemeClr val="bg1"/>
                </a:solidFill>
              </a:rPr>
              <a:t>Cluster Manager</a:t>
            </a:r>
          </a:p>
        </p:txBody>
      </p:sp>
      <p:sp>
        <p:nvSpPr>
          <p:cNvPr id="11" name="TextBox 10"/>
          <p:cNvSpPr txBox="1"/>
          <p:nvPr/>
        </p:nvSpPr>
        <p:spPr>
          <a:xfrm>
            <a:off x="819396" y="3688753"/>
            <a:ext cx="914400" cy="320632"/>
          </a:xfrm>
          <a:prstGeom prst="rect">
            <a:avLst/>
          </a:prstGeom>
          <a:noFill/>
        </p:spPr>
        <p:txBody>
          <a:bodyPr wrap="none" lIns="182880" tIns="146304" rIns="182880" bIns="146304" rtlCol="0" anchor="ctr">
            <a:noAutofit/>
          </a:bodyPr>
          <a:lstStyle/>
          <a:p>
            <a:pPr algn="ctr">
              <a:lnSpc>
                <a:spcPct val="90000"/>
              </a:lnSpc>
              <a:spcAft>
                <a:spcPts val="600"/>
              </a:spcAft>
            </a:pPr>
            <a:r>
              <a:rPr lang="en-US" sz="1400" dirty="0" smtClean="0">
                <a:solidFill>
                  <a:schemeClr val="tx1">
                    <a:lumMod val="75000"/>
                    <a:lumOff val="25000"/>
                  </a:schemeClr>
                </a:solidFill>
              </a:rPr>
              <a:t>Worker Node</a:t>
            </a:r>
          </a:p>
        </p:txBody>
      </p:sp>
      <p:sp>
        <p:nvSpPr>
          <p:cNvPr id="12" name="TextBox 11"/>
          <p:cNvSpPr txBox="1"/>
          <p:nvPr/>
        </p:nvSpPr>
        <p:spPr>
          <a:xfrm>
            <a:off x="2824224" y="3688753"/>
            <a:ext cx="914400" cy="320632"/>
          </a:xfrm>
          <a:prstGeom prst="rect">
            <a:avLst/>
          </a:prstGeom>
          <a:noFill/>
        </p:spPr>
        <p:txBody>
          <a:bodyPr wrap="none" lIns="182880" tIns="146304" rIns="182880" bIns="146304" rtlCol="0" anchor="ctr">
            <a:noAutofit/>
          </a:bodyPr>
          <a:lstStyle/>
          <a:p>
            <a:pPr algn="ctr">
              <a:lnSpc>
                <a:spcPct val="90000"/>
              </a:lnSpc>
              <a:spcAft>
                <a:spcPts val="600"/>
              </a:spcAft>
            </a:pPr>
            <a:r>
              <a:rPr lang="en-US" sz="1400" dirty="0" smtClean="0">
                <a:solidFill>
                  <a:schemeClr val="tx1">
                    <a:lumMod val="75000"/>
                    <a:lumOff val="25000"/>
                  </a:schemeClr>
                </a:solidFill>
              </a:rPr>
              <a:t>Worker Node</a:t>
            </a:r>
          </a:p>
        </p:txBody>
      </p:sp>
      <p:sp>
        <p:nvSpPr>
          <p:cNvPr id="13" name="TextBox 12"/>
          <p:cNvSpPr txBox="1"/>
          <p:nvPr/>
        </p:nvSpPr>
        <p:spPr>
          <a:xfrm>
            <a:off x="4938156" y="3688753"/>
            <a:ext cx="914400" cy="320632"/>
          </a:xfrm>
          <a:prstGeom prst="rect">
            <a:avLst/>
          </a:prstGeom>
          <a:noFill/>
        </p:spPr>
        <p:txBody>
          <a:bodyPr wrap="none" lIns="182880" tIns="146304" rIns="182880" bIns="146304" rtlCol="0" anchor="ctr">
            <a:noAutofit/>
          </a:bodyPr>
          <a:lstStyle/>
          <a:p>
            <a:pPr algn="ctr">
              <a:lnSpc>
                <a:spcPct val="90000"/>
              </a:lnSpc>
              <a:spcAft>
                <a:spcPts val="600"/>
              </a:spcAft>
            </a:pPr>
            <a:r>
              <a:rPr lang="en-US" sz="1400" dirty="0" smtClean="0">
                <a:solidFill>
                  <a:schemeClr val="tx1">
                    <a:lumMod val="75000"/>
                    <a:lumOff val="25000"/>
                  </a:schemeClr>
                </a:solidFill>
              </a:rPr>
              <a:t>Worker Node</a:t>
            </a:r>
          </a:p>
        </p:txBody>
      </p:sp>
      <p:sp>
        <p:nvSpPr>
          <p:cNvPr id="24" name="Rectangle 23"/>
          <p:cNvSpPr/>
          <p:nvPr/>
        </p:nvSpPr>
        <p:spPr bwMode="auto">
          <a:xfrm>
            <a:off x="871722" y="4723016"/>
            <a:ext cx="809748" cy="33752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smtClean="0">
              <a:solidFill>
                <a:schemeClr val="bg1"/>
              </a:solidFill>
              <a:latin typeface="+mj-lt"/>
              <a:ea typeface="Segoe UI" pitchFamily="34" charset="0"/>
              <a:cs typeface="Segoe UI" pitchFamily="34" charset="0"/>
            </a:endParaRPr>
          </a:p>
        </p:txBody>
      </p:sp>
      <p:sp>
        <p:nvSpPr>
          <p:cNvPr id="26" name="Rectangle 25"/>
          <p:cNvSpPr/>
          <p:nvPr/>
        </p:nvSpPr>
        <p:spPr bwMode="auto">
          <a:xfrm>
            <a:off x="2932090" y="4723015"/>
            <a:ext cx="809748" cy="33752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smtClean="0">
              <a:solidFill>
                <a:schemeClr val="bg1"/>
              </a:solidFill>
              <a:latin typeface="+mj-lt"/>
              <a:ea typeface="Segoe UI" pitchFamily="34" charset="0"/>
              <a:cs typeface="Segoe UI" pitchFamily="34" charset="0"/>
            </a:endParaRPr>
          </a:p>
        </p:txBody>
      </p:sp>
      <p:sp>
        <p:nvSpPr>
          <p:cNvPr id="27" name="Rectangle 26"/>
          <p:cNvSpPr/>
          <p:nvPr/>
        </p:nvSpPr>
        <p:spPr bwMode="auto">
          <a:xfrm>
            <a:off x="5115172" y="4700256"/>
            <a:ext cx="809748" cy="33752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smtClean="0">
              <a:solidFill>
                <a:schemeClr val="bg1"/>
              </a:solidFill>
              <a:latin typeface="+mj-lt"/>
              <a:ea typeface="Segoe UI" pitchFamily="34" charset="0"/>
              <a:cs typeface="Segoe UI" pitchFamily="34" charset="0"/>
            </a:endParaRPr>
          </a:p>
        </p:txBody>
      </p:sp>
      <p:sp>
        <p:nvSpPr>
          <p:cNvPr id="28" name="Rectangle 27"/>
          <p:cNvSpPr/>
          <p:nvPr/>
        </p:nvSpPr>
        <p:spPr bwMode="auto">
          <a:xfrm>
            <a:off x="881621" y="4269775"/>
            <a:ext cx="799849" cy="337529"/>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smtClean="0">
              <a:solidFill>
                <a:schemeClr val="bg1"/>
              </a:solidFill>
              <a:latin typeface="+mj-lt"/>
              <a:ea typeface="Segoe UI" pitchFamily="34" charset="0"/>
              <a:cs typeface="Segoe UI" pitchFamily="34" charset="0"/>
            </a:endParaRPr>
          </a:p>
        </p:txBody>
      </p:sp>
      <p:sp>
        <p:nvSpPr>
          <p:cNvPr id="29" name="Rectangle 28"/>
          <p:cNvSpPr/>
          <p:nvPr/>
        </p:nvSpPr>
        <p:spPr bwMode="auto">
          <a:xfrm>
            <a:off x="2928876" y="4264295"/>
            <a:ext cx="809748" cy="337529"/>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smtClean="0">
              <a:solidFill>
                <a:schemeClr val="bg1"/>
              </a:solidFill>
              <a:latin typeface="+mj-lt"/>
              <a:ea typeface="Segoe UI" pitchFamily="34" charset="0"/>
              <a:cs typeface="Segoe UI" pitchFamily="34" charset="0"/>
            </a:endParaRPr>
          </a:p>
        </p:txBody>
      </p:sp>
      <p:sp>
        <p:nvSpPr>
          <p:cNvPr id="30" name="Rectangle 29"/>
          <p:cNvSpPr/>
          <p:nvPr/>
        </p:nvSpPr>
        <p:spPr bwMode="auto">
          <a:xfrm>
            <a:off x="5115172" y="4227750"/>
            <a:ext cx="809748" cy="337529"/>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smtClean="0">
              <a:solidFill>
                <a:schemeClr val="bg1"/>
              </a:solidFill>
              <a:latin typeface="+mj-lt"/>
              <a:ea typeface="Segoe UI" pitchFamily="34" charset="0"/>
              <a:cs typeface="Segoe UI" pitchFamily="34" charset="0"/>
            </a:endParaRPr>
          </a:p>
        </p:txBody>
      </p:sp>
      <p:sp>
        <p:nvSpPr>
          <p:cNvPr id="31" name="TextBox 30"/>
          <p:cNvSpPr txBox="1"/>
          <p:nvPr/>
        </p:nvSpPr>
        <p:spPr>
          <a:xfrm>
            <a:off x="952870" y="4326179"/>
            <a:ext cx="677137" cy="239100"/>
          </a:xfrm>
          <a:prstGeom prst="rect">
            <a:avLst/>
          </a:prstGeom>
          <a:noFill/>
        </p:spPr>
        <p:txBody>
          <a:bodyPr wrap="none" lIns="182880" tIns="146304" rIns="182880" bIns="146304" rtlCol="0" anchor="ctr">
            <a:noAutofit/>
          </a:bodyPr>
          <a:lstStyle/>
          <a:p>
            <a:pPr algn="ctr">
              <a:lnSpc>
                <a:spcPct val="90000"/>
              </a:lnSpc>
              <a:spcAft>
                <a:spcPts val="600"/>
              </a:spcAft>
            </a:pPr>
            <a:r>
              <a:rPr lang="en-US" sz="1200" dirty="0" smtClean="0">
                <a:gradFill>
                  <a:gsLst>
                    <a:gs pos="2917">
                      <a:schemeClr val="tx1"/>
                    </a:gs>
                    <a:gs pos="30000">
                      <a:schemeClr val="tx1"/>
                    </a:gs>
                  </a:gsLst>
                  <a:lin ang="5400000" scaled="0"/>
                </a:gradFill>
              </a:rPr>
              <a:t>Cache </a:t>
            </a:r>
          </a:p>
        </p:txBody>
      </p:sp>
      <p:sp>
        <p:nvSpPr>
          <p:cNvPr id="33" name="TextBox 32"/>
          <p:cNvSpPr txBox="1"/>
          <p:nvPr/>
        </p:nvSpPr>
        <p:spPr>
          <a:xfrm>
            <a:off x="2949039" y="4279207"/>
            <a:ext cx="753960" cy="294903"/>
          </a:xfrm>
          <a:prstGeom prst="rect">
            <a:avLst/>
          </a:prstGeom>
          <a:noFill/>
        </p:spPr>
        <p:txBody>
          <a:bodyPr wrap="none" lIns="182880" tIns="146304" rIns="182880" bIns="146304" rtlCol="0" anchor="ctr">
            <a:noAutofit/>
          </a:bodyPr>
          <a:lstStyle/>
          <a:p>
            <a:pPr algn="ctr">
              <a:lnSpc>
                <a:spcPct val="90000"/>
              </a:lnSpc>
              <a:spcAft>
                <a:spcPts val="600"/>
              </a:spcAft>
            </a:pPr>
            <a:r>
              <a:rPr lang="en-US" sz="1200" dirty="0" smtClean="0">
                <a:gradFill>
                  <a:gsLst>
                    <a:gs pos="2917">
                      <a:schemeClr val="tx1"/>
                    </a:gs>
                    <a:gs pos="30000">
                      <a:schemeClr val="tx1"/>
                    </a:gs>
                  </a:gsLst>
                  <a:lin ang="5400000" scaled="0"/>
                </a:gradFill>
              </a:rPr>
              <a:t>Cache </a:t>
            </a:r>
          </a:p>
        </p:txBody>
      </p:sp>
      <p:sp>
        <p:nvSpPr>
          <p:cNvPr id="34" name="TextBox 33"/>
          <p:cNvSpPr txBox="1"/>
          <p:nvPr/>
        </p:nvSpPr>
        <p:spPr>
          <a:xfrm>
            <a:off x="5138056" y="4314234"/>
            <a:ext cx="786864" cy="155301"/>
          </a:xfrm>
          <a:prstGeom prst="rect">
            <a:avLst/>
          </a:prstGeom>
          <a:noFill/>
        </p:spPr>
        <p:txBody>
          <a:bodyPr wrap="none" lIns="182880" tIns="146304" rIns="182880" bIns="146304" rtlCol="0" anchor="ctr">
            <a:noAutofit/>
          </a:bodyPr>
          <a:lstStyle/>
          <a:p>
            <a:pPr algn="ctr">
              <a:lnSpc>
                <a:spcPct val="90000"/>
              </a:lnSpc>
              <a:spcAft>
                <a:spcPts val="600"/>
              </a:spcAft>
            </a:pPr>
            <a:r>
              <a:rPr lang="en-US" sz="1200" dirty="0" smtClean="0">
                <a:gradFill>
                  <a:gsLst>
                    <a:gs pos="2917">
                      <a:schemeClr val="tx1"/>
                    </a:gs>
                    <a:gs pos="30000">
                      <a:schemeClr val="tx1"/>
                    </a:gs>
                  </a:gsLst>
                  <a:lin ang="5400000" scaled="0"/>
                </a:gradFill>
              </a:rPr>
              <a:t>Cache</a:t>
            </a:r>
          </a:p>
        </p:txBody>
      </p:sp>
      <p:sp>
        <p:nvSpPr>
          <p:cNvPr id="35" name="TextBox 34"/>
          <p:cNvSpPr txBox="1"/>
          <p:nvPr/>
        </p:nvSpPr>
        <p:spPr>
          <a:xfrm>
            <a:off x="5214385" y="4799140"/>
            <a:ext cx="647194" cy="203545"/>
          </a:xfrm>
          <a:prstGeom prst="rect">
            <a:avLst/>
          </a:prstGeom>
          <a:noFill/>
        </p:spPr>
        <p:txBody>
          <a:bodyPr wrap="none" lIns="182880" tIns="146304" rIns="182880" bIns="146304" rtlCol="0" anchor="ctr">
            <a:noAutofit/>
          </a:bodyPr>
          <a:lstStyle/>
          <a:p>
            <a:pPr algn="ctr">
              <a:lnSpc>
                <a:spcPct val="90000"/>
              </a:lnSpc>
              <a:spcAft>
                <a:spcPts val="600"/>
              </a:spcAft>
            </a:pPr>
            <a:r>
              <a:rPr lang="en-US" sz="1200" dirty="0" smtClean="0">
                <a:gradFill>
                  <a:gsLst>
                    <a:gs pos="2917">
                      <a:schemeClr val="tx1"/>
                    </a:gs>
                    <a:gs pos="30000">
                      <a:schemeClr val="tx1"/>
                    </a:gs>
                  </a:gsLst>
                  <a:lin ang="5400000" scaled="0"/>
                </a:gradFill>
              </a:rPr>
              <a:t>Task</a:t>
            </a:r>
          </a:p>
        </p:txBody>
      </p:sp>
      <p:sp>
        <p:nvSpPr>
          <p:cNvPr id="36" name="TextBox 35"/>
          <p:cNvSpPr txBox="1"/>
          <p:nvPr/>
        </p:nvSpPr>
        <p:spPr>
          <a:xfrm>
            <a:off x="2928383" y="4809038"/>
            <a:ext cx="784632" cy="171271"/>
          </a:xfrm>
          <a:prstGeom prst="rect">
            <a:avLst/>
          </a:prstGeom>
          <a:noFill/>
        </p:spPr>
        <p:txBody>
          <a:bodyPr wrap="none" lIns="182880" tIns="146304" rIns="182880" bIns="146304" rtlCol="0" anchor="ctr">
            <a:noAutofit/>
          </a:bodyPr>
          <a:lstStyle/>
          <a:p>
            <a:pPr algn="ctr">
              <a:lnSpc>
                <a:spcPct val="90000"/>
              </a:lnSpc>
              <a:spcAft>
                <a:spcPts val="600"/>
              </a:spcAft>
            </a:pPr>
            <a:r>
              <a:rPr lang="en-US" sz="1200" dirty="0" smtClean="0">
                <a:gradFill>
                  <a:gsLst>
                    <a:gs pos="2917">
                      <a:schemeClr val="tx1"/>
                    </a:gs>
                    <a:gs pos="30000">
                      <a:schemeClr val="tx1"/>
                    </a:gs>
                  </a:gsLst>
                  <a:lin ang="5400000" scaled="0"/>
                </a:gradFill>
              </a:rPr>
              <a:t>Task</a:t>
            </a:r>
          </a:p>
        </p:txBody>
      </p:sp>
      <p:sp>
        <p:nvSpPr>
          <p:cNvPr id="37" name="TextBox 36"/>
          <p:cNvSpPr txBox="1"/>
          <p:nvPr/>
        </p:nvSpPr>
        <p:spPr>
          <a:xfrm>
            <a:off x="927139" y="4763586"/>
            <a:ext cx="677137" cy="239100"/>
          </a:xfrm>
          <a:prstGeom prst="rect">
            <a:avLst/>
          </a:prstGeom>
          <a:noFill/>
        </p:spPr>
        <p:txBody>
          <a:bodyPr wrap="none" lIns="182880" tIns="146304" rIns="182880" bIns="146304" rtlCol="0" anchor="ctr">
            <a:noAutofit/>
          </a:bodyPr>
          <a:lstStyle/>
          <a:p>
            <a:pPr algn="ctr">
              <a:lnSpc>
                <a:spcPct val="90000"/>
              </a:lnSpc>
              <a:spcAft>
                <a:spcPts val="600"/>
              </a:spcAft>
            </a:pPr>
            <a:r>
              <a:rPr lang="en-US" sz="1200" dirty="0" smtClean="0">
                <a:gradFill>
                  <a:gsLst>
                    <a:gs pos="2917">
                      <a:schemeClr val="tx1"/>
                    </a:gs>
                    <a:gs pos="30000">
                      <a:schemeClr val="tx1"/>
                    </a:gs>
                  </a:gsLst>
                  <a:lin ang="5400000" scaled="0"/>
                </a:gradFill>
              </a:rPr>
              <a:t>Task</a:t>
            </a:r>
          </a:p>
        </p:txBody>
      </p:sp>
      <p:cxnSp>
        <p:nvCxnSpPr>
          <p:cNvPr id="42" name="Straight Arrow Connector 41"/>
          <p:cNvCxnSpPr>
            <a:stCxn id="5" idx="2"/>
          </p:cNvCxnSpPr>
          <p:nvPr/>
        </p:nvCxnSpPr>
        <p:spPr>
          <a:xfrm flipH="1">
            <a:off x="1933696" y="3400851"/>
            <a:ext cx="1417494" cy="670957"/>
          </a:xfrm>
          <a:prstGeom prst="straightConnector1">
            <a:avLst/>
          </a:prstGeom>
          <a:ln w="28575">
            <a:solidFill>
              <a:schemeClr val="tx1">
                <a:lumMod val="75000"/>
                <a:lumOff val="2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4" name="Straight Arrow Connector 43"/>
          <p:cNvCxnSpPr>
            <a:stCxn id="5" idx="2"/>
            <a:endCxn id="7" idx="0"/>
          </p:cNvCxnSpPr>
          <p:nvPr/>
        </p:nvCxnSpPr>
        <p:spPr>
          <a:xfrm>
            <a:off x="3351190" y="3400851"/>
            <a:ext cx="1" cy="683335"/>
          </a:xfrm>
          <a:prstGeom prst="straightConnector1">
            <a:avLst/>
          </a:prstGeom>
          <a:ln w="28575">
            <a:solidFill>
              <a:schemeClr val="tx1">
                <a:lumMod val="75000"/>
                <a:lumOff val="2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0" name="Straight Arrow Connector 49"/>
          <p:cNvCxnSpPr>
            <a:stCxn id="5" idx="2"/>
            <a:endCxn id="6" idx="0"/>
          </p:cNvCxnSpPr>
          <p:nvPr/>
        </p:nvCxnSpPr>
        <p:spPr>
          <a:xfrm>
            <a:off x="3351190" y="3400851"/>
            <a:ext cx="2168857" cy="683335"/>
          </a:xfrm>
          <a:prstGeom prst="straightConnector1">
            <a:avLst/>
          </a:prstGeom>
          <a:ln w="28575">
            <a:solidFill>
              <a:schemeClr val="tx1">
                <a:lumMod val="75000"/>
                <a:lumOff val="2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51" name="TextBox 50"/>
          <p:cNvSpPr txBox="1"/>
          <p:nvPr/>
        </p:nvSpPr>
        <p:spPr>
          <a:xfrm>
            <a:off x="6731080" y="1578196"/>
            <a:ext cx="5096743" cy="3801041"/>
          </a:xfrm>
          <a:prstGeom prst="rect">
            <a:avLst/>
          </a:prstGeom>
        </p:spPr>
        <p:txBody>
          <a:bodyPr wrap="square">
            <a:spAutoFit/>
          </a:bodyPr>
          <a:lstStyle>
            <a:defPPr>
              <a:defRPr lang="en-US"/>
            </a:defPPr>
            <a:lvl2pPr marL="52912" lvl="1" defTabSz="913770" fontAlgn="base">
              <a:spcBef>
                <a:spcPts val="588"/>
              </a:spcBef>
              <a:spcAft>
                <a:spcPts val="588"/>
              </a:spcAft>
              <a:buClr>
                <a:srgbClr val="68217A">
                  <a:lumMod val="50000"/>
                </a:srgbClr>
              </a:buClr>
              <a:tabLst>
                <a:tab pos="645523" algn="l"/>
              </a:tabLst>
              <a:defRPr sz="2353">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57581">
              <a:lnSpc>
                <a:spcPct val="90000"/>
              </a:lnSpc>
              <a:spcAft>
                <a:spcPts val="600"/>
              </a:spcAft>
            </a:pPr>
            <a:r>
              <a:rPr lang="en-US" sz="2400" dirty="0" smtClean="0">
                <a:solidFill>
                  <a:schemeClr val="tx1">
                    <a:lumMod val="65000"/>
                    <a:lumOff val="35000"/>
                  </a:schemeClr>
                </a:solidFill>
              </a:rPr>
              <a:t>The </a:t>
            </a:r>
            <a:r>
              <a:rPr lang="en-US" sz="2400" dirty="0">
                <a:solidFill>
                  <a:schemeClr val="tx1">
                    <a:lumMod val="65000"/>
                    <a:lumOff val="35000"/>
                  </a:schemeClr>
                </a:solidFill>
              </a:rPr>
              <a:t>driver performs the following:</a:t>
            </a:r>
          </a:p>
          <a:p>
            <a:pPr marL="505774" indent="-448193">
              <a:lnSpc>
                <a:spcPct val="90000"/>
              </a:lnSpc>
              <a:spcAft>
                <a:spcPts val="600"/>
              </a:spcAft>
              <a:buBlip>
                <a:blip r:embed="rId2"/>
              </a:buBlip>
            </a:pPr>
            <a:r>
              <a:rPr lang="en-US" sz="2400" dirty="0" smtClean="0">
                <a:solidFill>
                  <a:schemeClr val="tx1">
                    <a:lumMod val="65000"/>
                    <a:lumOff val="35000"/>
                  </a:schemeClr>
                </a:solidFill>
              </a:rPr>
              <a:t>connects </a:t>
            </a:r>
            <a:r>
              <a:rPr lang="en-US" sz="2400" dirty="0">
                <a:solidFill>
                  <a:schemeClr val="tx1">
                    <a:lumMod val="65000"/>
                    <a:lumOff val="35000"/>
                  </a:schemeClr>
                </a:solidFill>
              </a:rPr>
              <a:t>to a cluster manager to </a:t>
            </a:r>
            <a:r>
              <a:rPr lang="en-US" sz="2400" dirty="0" smtClean="0">
                <a:solidFill>
                  <a:schemeClr val="tx1">
                    <a:lumMod val="65000"/>
                    <a:lumOff val="35000"/>
                  </a:schemeClr>
                </a:solidFill>
              </a:rPr>
              <a:t>allocate resources </a:t>
            </a:r>
            <a:r>
              <a:rPr lang="en-US" sz="2400" dirty="0">
                <a:solidFill>
                  <a:schemeClr val="tx1">
                    <a:lumMod val="65000"/>
                    <a:lumOff val="35000"/>
                  </a:schemeClr>
                </a:solidFill>
              </a:rPr>
              <a:t>across applications</a:t>
            </a:r>
          </a:p>
          <a:p>
            <a:pPr marL="505774" indent="-448193">
              <a:lnSpc>
                <a:spcPct val="90000"/>
              </a:lnSpc>
              <a:spcAft>
                <a:spcPts val="600"/>
              </a:spcAft>
              <a:buBlip>
                <a:blip r:embed="rId2"/>
              </a:buBlip>
            </a:pPr>
            <a:r>
              <a:rPr lang="en-US" sz="2400" dirty="0" smtClean="0">
                <a:solidFill>
                  <a:schemeClr val="tx1">
                    <a:lumMod val="65000"/>
                    <a:lumOff val="35000"/>
                  </a:schemeClr>
                </a:solidFill>
              </a:rPr>
              <a:t>acquires </a:t>
            </a:r>
            <a:r>
              <a:rPr lang="en-US" sz="2400" dirty="0">
                <a:solidFill>
                  <a:schemeClr val="tx1">
                    <a:lumMod val="65000"/>
                    <a:lumOff val="35000"/>
                  </a:schemeClr>
                </a:solidFill>
              </a:rPr>
              <a:t>executors on cluster nodes </a:t>
            </a:r>
            <a:r>
              <a:rPr lang="en-US" sz="2400" dirty="0" smtClean="0">
                <a:solidFill>
                  <a:schemeClr val="tx1">
                    <a:lumMod val="65000"/>
                    <a:lumOff val="35000"/>
                  </a:schemeClr>
                </a:solidFill>
              </a:rPr>
              <a:t>– processes </a:t>
            </a:r>
            <a:r>
              <a:rPr lang="en-US" sz="2400" dirty="0">
                <a:solidFill>
                  <a:schemeClr val="tx1">
                    <a:lumMod val="65000"/>
                    <a:lumOff val="35000"/>
                  </a:schemeClr>
                </a:solidFill>
              </a:rPr>
              <a:t>run compute tasks, cache data</a:t>
            </a:r>
          </a:p>
          <a:p>
            <a:pPr marL="505774" indent="-448193">
              <a:lnSpc>
                <a:spcPct val="90000"/>
              </a:lnSpc>
              <a:spcAft>
                <a:spcPts val="600"/>
              </a:spcAft>
              <a:buBlip>
                <a:blip r:embed="rId2"/>
              </a:buBlip>
            </a:pPr>
            <a:r>
              <a:rPr lang="en-US" sz="2400" dirty="0" smtClean="0">
                <a:solidFill>
                  <a:schemeClr val="tx1">
                    <a:lumMod val="65000"/>
                    <a:lumOff val="35000"/>
                  </a:schemeClr>
                </a:solidFill>
              </a:rPr>
              <a:t>sends </a:t>
            </a:r>
            <a:r>
              <a:rPr lang="en-US" sz="2400" dirty="0">
                <a:solidFill>
                  <a:schemeClr val="tx1">
                    <a:lumMod val="65000"/>
                    <a:lumOff val="35000"/>
                  </a:schemeClr>
                </a:solidFill>
              </a:rPr>
              <a:t>app code to the executors</a:t>
            </a:r>
          </a:p>
          <a:p>
            <a:pPr marL="505774" indent="-448193">
              <a:lnSpc>
                <a:spcPct val="90000"/>
              </a:lnSpc>
              <a:spcAft>
                <a:spcPts val="600"/>
              </a:spcAft>
              <a:buBlip>
                <a:blip r:embed="rId2"/>
              </a:buBlip>
            </a:pPr>
            <a:r>
              <a:rPr lang="en-US" sz="2400" dirty="0" smtClean="0">
                <a:solidFill>
                  <a:schemeClr val="tx1">
                    <a:lumMod val="65000"/>
                    <a:lumOff val="35000"/>
                  </a:schemeClr>
                </a:solidFill>
              </a:rPr>
              <a:t>sends </a:t>
            </a:r>
            <a:r>
              <a:rPr lang="en-US" sz="2400" dirty="0">
                <a:solidFill>
                  <a:schemeClr val="tx1">
                    <a:lumMod val="65000"/>
                    <a:lumOff val="35000"/>
                  </a:schemeClr>
                </a:solidFill>
              </a:rPr>
              <a:t>tasks for the executors to run</a:t>
            </a:r>
          </a:p>
        </p:txBody>
      </p:sp>
      <p:sp>
        <p:nvSpPr>
          <p:cNvPr id="72" name="Rectangle 71"/>
          <p:cNvSpPr/>
          <p:nvPr/>
        </p:nvSpPr>
        <p:spPr bwMode="auto">
          <a:xfrm>
            <a:off x="2074593" y="1623096"/>
            <a:ext cx="2553194" cy="717877"/>
          </a:xfrm>
          <a:prstGeom prst="rect">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smtClean="0">
              <a:solidFill>
                <a:schemeClr val="bg1"/>
              </a:solidFill>
              <a:latin typeface="+mj-lt"/>
              <a:ea typeface="Segoe UI" pitchFamily="34" charset="0"/>
              <a:cs typeface="Segoe UI" pitchFamily="34" charset="0"/>
            </a:endParaRPr>
          </a:p>
        </p:txBody>
      </p:sp>
      <p:cxnSp>
        <p:nvCxnSpPr>
          <p:cNvPr id="79" name="Straight Arrow Connector 78"/>
          <p:cNvCxnSpPr>
            <a:stCxn id="72" idx="2"/>
            <a:endCxn id="5" idx="0"/>
          </p:cNvCxnSpPr>
          <p:nvPr/>
        </p:nvCxnSpPr>
        <p:spPr>
          <a:xfrm>
            <a:off x="3351190" y="2340973"/>
            <a:ext cx="0" cy="431936"/>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80" name="TextBox 79"/>
          <p:cNvSpPr txBox="1"/>
          <p:nvPr/>
        </p:nvSpPr>
        <p:spPr>
          <a:xfrm>
            <a:off x="2303313" y="1748248"/>
            <a:ext cx="2161309" cy="427511"/>
          </a:xfrm>
          <a:prstGeom prst="rect">
            <a:avLst/>
          </a:prstGeom>
          <a:noFill/>
        </p:spPr>
        <p:txBody>
          <a:bodyPr wrap="none" lIns="182880" tIns="146304" rIns="182880" bIns="146304" rtlCol="0" anchor="ctr">
            <a:noAutofit/>
          </a:bodyPr>
          <a:lstStyle/>
          <a:p>
            <a:pPr algn="ctr">
              <a:lnSpc>
                <a:spcPct val="90000"/>
              </a:lnSpc>
              <a:spcAft>
                <a:spcPts val="600"/>
              </a:spcAft>
            </a:pPr>
            <a:r>
              <a:rPr lang="en-US" sz="2400" dirty="0" smtClean="0">
                <a:solidFill>
                  <a:schemeClr val="bg1"/>
                </a:solidFill>
              </a:rPr>
              <a:t>Driver Program</a:t>
            </a:r>
            <a:br>
              <a:rPr lang="en-US" sz="2400" dirty="0" smtClean="0">
                <a:solidFill>
                  <a:schemeClr val="bg1"/>
                </a:solidFill>
              </a:rPr>
            </a:br>
            <a:r>
              <a:rPr lang="en-US" sz="2000" dirty="0" smtClean="0">
                <a:solidFill>
                  <a:schemeClr val="bg1"/>
                </a:solidFill>
              </a:rPr>
              <a:t>SparkContext</a:t>
            </a:r>
          </a:p>
        </p:txBody>
      </p:sp>
      <p:sp>
        <p:nvSpPr>
          <p:cNvPr id="46" name="Rectangle 45"/>
          <p:cNvSpPr/>
          <p:nvPr/>
        </p:nvSpPr>
        <p:spPr bwMode="auto">
          <a:xfrm>
            <a:off x="881620" y="5136673"/>
            <a:ext cx="809748" cy="337529"/>
          </a:xfrm>
          <a:prstGeom prst="rect">
            <a:avLst/>
          </a:prstGeom>
          <a:solidFill>
            <a:schemeClr val="accent4">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smtClean="0">
              <a:solidFill>
                <a:schemeClr val="bg1"/>
              </a:solidFill>
              <a:latin typeface="+mj-lt"/>
              <a:ea typeface="Segoe UI" pitchFamily="34" charset="0"/>
              <a:cs typeface="Segoe UI" pitchFamily="34" charset="0"/>
            </a:endParaRPr>
          </a:p>
        </p:txBody>
      </p:sp>
      <p:sp>
        <p:nvSpPr>
          <p:cNvPr id="47" name="TextBox 46"/>
          <p:cNvSpPr txBox="1"/>
          <p:nvPr/>
        </p:nvSpPr>
        <p:spPr>
          <a:xfrm>
            <a:off x="937037" y="5177243"/>
            <a:ext cx="677137" cy="239100"/>
          </a:xfrm>
          <a:prstGeom prst="rect">
            <a:avLst/>
          </a:prstGeom>
          <a:noFill/>
        </p:spPr>
        <p:txBody>
          <a:bodyPr wrap="none" lIns="182880" tIns="146304" rIns="182880" bIns="146304" rtlCol="0" anchor="ctr">
            <a:noAutofit/>
          </a:bodyPr>
          <a:lstStyle/>
          <a:p>
            <a:pPr algn="ctr">
              <a:lnSpc>
                <a:spcPct val="90000"/>
              </a:lnSpc>
              <a:spcAft>
                <a:spcPts val="600"/>
              </a:spcAft>
            </a:pPr>
            <a:r>
              <a:rPr lang="en-US" sz="1200" dirty="0" smtClean="0">
                <a:gradFill>
                  <a:gsLst>
                    <a:gs pos="2917">
                      <a:schemeClr val="tx1"/>
                    </a:gs>
                    <a:gs pos="30000">
                      <a:schemeClr val="tx1"/>
                    </a:gs>
                  </a:gsLst>
                  <a:lin ang="5400000" scaled="0"/>
                </a:gradFill>
              </a:rPr>
              <a:t>Executor</a:t>
            </a:r>
          </a:p>
        </p:txBody>
      </p:sp>
      <p:sp>
        <p:nvSpPr>
          <p:cNvPr id="48" name="Rectangle 47"/>
          <p:cNvSpPr/>
          <p:nvPr/>
        </p:nvSpPr>
        <p:spPr bwMode="auto">
          <a:xfrm>
            <a:off x="2957823" y="5134694"/>
            <a:ext cx="809748" cy="337529"/>
          </a:xfrm>
          <a:prstGeom prst="rect">
            <a:avLst/>
          </a:prstGeom>
          <a:solidFill>
            <a:schemeClr val="accent4">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smtClean="0">
              <a:solidFill>
                <a:schemeClr val="bg1"/>
              </a:solidFill>
              <a:latin typeface="+mj-lt"/>
              <a:ea typeface="Segoe UI" pitchFamily="34" charset="0"/>
              <a:cs typeface="Segoe UI" pitchFamily="34" charset="0"/>
            </a:endParaRPr>
          </a:p>
        </p:txBody>
      </p:sp>
      <p:sp>
        <p:nvSpPr>
          <p:cNvPr id="49" name="TextBox 48"/>
          <p:cNvSpPr txBox="1"/>
          <p:nvPr/>
        </p:nvSpPr>
        <p:spPr>
          <a:xfrm>
            <a:off x="3013240" y="5175264"/>
            <a:ext cx="677137" cy="239100"/>
          </a:xfrm>
          <a:prstGeom prst="rect">
            <a:avLst/>
          </a:prstGeom>
          <a:noFill/>
        </p:spPr>
        <p:txBody>
          <a:bodyPr wrap="none" lIns="182880" tIns="146304" rIns="182880" bIns="146304" rtlCol="0" anchor="ctr">
            <a:noAutofit/>
          </a:bodyPr>
          <a:lstStyle/>
          <a:p>
            <a:pPr algn="ctr">
              <a:lnSpc>
                <a:spcPct val="90000"/>
              </a:lnSpc>
              <a:spcAft>
                <a:spcPts val="600"/>
              </a:spcAft>
            </a:pPr>
            <a:r>
              <a:rPr lang="en-US" sz="1200" dirty="0" smtClean="0">
                <a:gradFill>
                  <a:gsLst>
                    <a:gs pos="2917">
                      <a:schemeClr val="tx1"/>
                    </a:gs>
                    <a:gs pos="30000">
                      <a:schemeClr val="tx1"/>
                    </a:gs>
                  </a:gsLst>
                  <a:lin ang="5400000" scaled="0"/>
                </a:gradFill>
              </a:rPr>
              <a:t>Executor</a:t>
            </a:r>
          </a:p>
        </p:txBody>
      </p:sp>
      <p:sp>
        <p:nvSpPr>
          <p:cNvPr id="52" name="Rectangle 51"/>
          <p:cNvSpPr/>
          <p:nvPr/>
        </p:nvSpPr>
        <p:spPr bwMode="auto">
          <a:xfrm>
            <a:off x="5140905" y="5120844"/>
            <a:ext cx="809748" cy="337529"/>
          </a:xfrm>
          <a:prstGeom prst="rect">
            <a:avLst/>
          </a:prstGeom>
          <a:solidFill>
            <a:schemeClr val="accent4">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smtClean="0">
              <a:solidFill>
                <a:schemeClr val="bg1"/>
              </a:solidFill>
              <a:latin typeface="+mj-lt"/>
              <a:ea typeface="Segoe UI" pitchFamily="34" charset="0"/>
              <a:cs typeface="Segoe UI" pitchFamily="34" charset="0"/>
            </a:endParaRPr>
          </a:p>
        </p:txBody>
      </p:sp>
      <p:sp>
        <p:nvSpPr>
          <p:cNvPr id="53" name="TextBox 52"/>
          <p:cNvSpPr txBox="1"/>
          <p:nvPr/>
        </p:nvSpPr>
        <p:spPr>
          <a:xfrm>
            <a:off x="5196322" y="5161414"/>
            <a:ext cx="677137" cy="239100"/>
          </a:xfrm>
          <a:prstGeom prst="rect">
            <a:avLst/>
          </a:prstGeom>
          <a:noFill/>
        </p:spPr>
        <p:txBody>
          <a:bodyPr wrap="none" lIns="182880" tIns="146304" rIns="182880" bIns="146304" rtlCol="0" anchor="ctr">
            <a:noAutofit/>
          </a:bodyPr>
          <a:lstStyle/>
          <a:p>
            <a:pPr algn="ctr">
              <a:lnSpc>
                <a:spcPct val="90000"/>
              </a:lnSpc>
              <a:spcAft>
                <a:spcPts val="600"/>
              </a:spcAft>
            </a:pPr>
            <a:r>
              <a:rPr lang="en-US" sz="1200" dirty="0" smtClean="0">
                <a:gradFill>
                  <a:gsLst>
                    <a:gs pos="2917">
                      <a:schemeClr val="tx1"/>
                    </a:gs>
                    <a:gs pos="30000">
                      <a:schemeClr val="tx1"/>
                    </a:gs>
                  </a:gsLst>
                  <a:lin ang="5400000" scaled="0"/>
                </a:gradFill>
              </a:rPr>
              <a:t>Executor</a:t>
            </a:r>
          </a:p>
        </p:txBody>
      </p:sp>
    </p:spTree>
    <p:extLst>
      <p:ext uri="{BB962C8B-B14F-4D97-AF65-F5344CB8AC3E}">
        <p14:creationId xmlns:p14="http://schemas.microsoft.com/office/powerpoint/2010/main" val="932371010"/>
      </p:ext>
    </p:extLst>
  </p:cSld>
  <p:clrMapOvr>
    <a:masterClrMapping/>
  </p:clrMapOvr>
  <p:transition spd="med">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re Abstraction: Resilient Data Sets (RDDs)</a:t>
            </a:r>
            <a:endParaRPr lang="en-US" dirty="0"/>
          </a:p>
        </p:txBody>
      </p:sp>
      <p:sp>
        <p:nvSpPr>
          <p:cNvPr id="3" name="Slide Number Placeholder 2"/>
          <p:cNvSpPr>
            <a:spLocks noGrp="1"/>
          </p:cNvSpPr>
          <p:nvPr>
            <p:ph type="sldNum" sz="quarter" idx="11"/>
          </p:nvPr>
        </p:nvSpPr>
        <p:spPr/>
        <p:txBody>
          <a:bodyPr/>
          <a:lstStyle/>
          <a:p>
            <a:pPr>
              <a:defRPr/>
            </a:pPr>
            <a:fld id="{F8A0AC42-AA1D-4944-8D96-660DE70C7E1B}" type="slidenum">
              <a:rPr lang="en-US" smtClean="0"/>
              <a:pPr>
                <a:defRPr/>
              </a:pPr>
              <a:t>15</a:t>
            </a:fld>
            <a:endParaRPr lang="en-US" dirty="0"/>
          </a:p>
        </p:txBody>
      </p:sp>
      <p:sp>
        <p:nvSpPr>
          <p:cNvPr id="4" name="TextBox 3"/>
          <p:cNvSpPr txBox="1"/>
          <p:nvPr/>
        </p:nvSpPr>
        <p:spPr>
          <a:xfrm>
            <a:off x="417300" y="1450906"/>
            <a:ext cx="11227663" cy="4481227"/>
          </a:xfrm>
          <a:prstGeom prst="rect">
            <a:avLst/>
          </a:prstGeom>
        </p:spPr>
        <p:txBody>
          <a:bodyPr wrap="square">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2"/>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lvl="1"/>
            <a:r>
              <a:rPr lang="en-US" sz="1800" dirty="0" smtClean="0"/>
              <a:t>The primary abstraction in Spark. A fault-tolerant collection of elements stored in memory or on disk that can be </a:t>
            </a:r>
            <a:r>
              <a:rPr lang="en-US" sz="1800" i="1" dirty="0" smtClean="0"/>
              <a:t>operated on in parallel</a:t>
            </a:r>
          </a:p>
          <a:p>
            <a:pPr lvl="1"/>
            <a:r>
              <a:rPr lang="en-US" sz="1800" dirty="0" smtClean="0"/>
              <a:t>Two types:</a:t>
            </a:r>
          </a:p>
          <a:p>
            <a:pPr marL="1200150" lvl="2" indent="-285750">
              <a:spcAft>
                <a:spcPts val="600"/>
              </a:spcAft>
              <a:buFont typeface="Arial" panose="020B0604020202020204" pitchFamily="34" charset="0"/>
              <a:buChar char="•"/>
            </a:pPr>
            <a:r>
              <a:rPr lang="en-US" sz="1600" dirty="0" smtClean="0">
                <a:ln>
                  <a:solidFill>
                    <a:srgbClr val="FFFFFF">
                      <a:alpha val="0"/>
                    </a:srgbClr>
                  </a:solidFill>
                </a:ln>
                <a:gradFill>
                  <a:gsLst>
                    <a:gs pos="85321">
                      <a:srgbClr val="505050"/>
                    </a:gs>
                    <a:gs pos="57000">
                      <a:srgbClr val="505050"/>
                    </a:gs>
                  </a:gsLst>
                </a:gradFill>
                <a:ea typeface="Segoe UI" pitchFamily="34" charset="0"/>
                <a:cs typeface="Segoe UI" pitchFamily="34" charset="0"/>
              </a:rPr>
              <a:t>Parallelized collection: Apply </a:t>
            </a:r>
            <a:r>
              <a:rPr lang="en-US" sz="160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a </a:t>
            </a:r>
            <a:r>
              <a:rPr lang="en-US" sz="1600" i="1" dirty="0">
                <a:ln>
                  <a:solidFill>
                    <a:srgbClr val="FFFFFF">
                      <a:alpha val="0"/>
                    </a:srgbClr>
                  </a:solidFill>
                </a:ln>
                <a:gradFill>
                  <a:gsLst>
                    <a:gs pos="85321">
                      <a:srgbClr val="505050"/>
                    </a:gs>
                    <a:gs pos="57000">
                      <a:srgbClr val="505050"/>
                    </a:gs>
                  </a:gsLst>
                </a:gradFill>
                <a:ea typeface="Segoe UI" pitchFamily="34" charset="0"/>
                <a:cs typeface="Segoe UI" pitchFamily="34" charset="0"/>
              </a:rPr>
              <a:t>parallel</a:t>
            </a:r>
            <a:r>
              <a:rPr lang="en-US" sz="160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 </a:t>
            </a:r>
            <a:r>
              <a:rPr lang="en-US" sz="1600" i="1" dirty="0">
                <a:ln>
                  <a:solidFill>
                    <a:srgbClr val="FFFFFF">
                      <a:alpha val="0"/>
                    </a:srgbClr>
                  </a:solidFill>
                </a:ln>
                <a:gradFill>
                  <a:gsLst>
                    <a:gs pos="85321">
                      <a:srgbClr val="505050"/>
                    </a:gs>
                    <a:gs pos="57000">
                      <a:srgbClr val="505050"/>
                    </a:gs>
                  </a:gsLst>
                </a:gradFill>
                <a:ea typeface="Segoe UI" pitchFamily="34" charset="0"/>
                <a:cs typeface="Segoe UI" pitchFamily="34" charset="0"/>
              </a:rPr>
              <a:t>transformation</a:t>
            </a:r>
            <a:r>
              <a:rPr lang="en-US" sz="160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 to an </a:t>
            </a:r>
            <a:r>
              <a:rPr lang="en-US" sz="1600" dirty="0" smtClean="0">
                <a:ln>
                  <a:solidFill>
                    <a:srgbClr val="FFFFFF">
                      <a:alpha val="0"/>
                    </a:srgbClr>
                  </a:solidFill>
                </a:ln>
                <a:gradFill>
                  <a:gsLst>
                    <a:gs pos="85321">
                      <a:srgbClr val="505050"/>
                    </a:gs>
                    <a:gs pos="57000">
                      <a:srgbClr val="505050"/>
                    </a:gs>
                  </a:gsLst>
                </a:gradFill>
                <a:ea typeface="Segoe UI" pitchFamily="34" charset="0"/>
                <a:cs typeface="Segoe UI" pitchFamily="34" charset="0"/>
              </a:rPr>
              <a:t>existing Scala collection. Have to specify the number of partitions.</a:t>
            </a:r>
            <a:endParaRPr lang="en-US" sz="1600" dirty="0">
              <a:ln>
                <a:solidFill>
                  <a:srgbClr val="FFFFFF">
                    <a:alpha val="0"/>
                  </a:srgbClr>
                </a:solidFill>
              </a:ln>
              <a:gradFill>
                <a:gsLst>
                  <a:gs pos="85321">
                    <a:srgbClr val="505050"/>
                  </a:gs>
                  <a:gs pos="57000">
                    <a:srgbClr val="505050"/>
                  </a:gs>
                </a:gsLst>
              </a:gradFill>
              <a:ea typeface="Segoe UI" pitchFamily="34" charset="0"/>
              <a:cs typeface="Segoe UI" pitchFamily="34" charset="0"/>
            </a:endParaRPr>
          </a:p>
          <a:p>
            <a:pPr marL="1200150" lvl="2" indent="-285750">
              <a:spcAft>
                <a:spcPts val="600"/>
              </a:spcAft>
              <a:buFont typeface="Arial" panose="020B0604020202020204" pitchFamily="34" charset="0"/>
              <a:buChar char="•"/>
            </a:pPr>
            <a:r>
              <a:rPr lang="en-US" sz="160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Hadoop dataset: run functions on each record of a file in Hadoop distributed file system or any other storage system supported by Hadoop</a:t>
            </a:r>
          </a:p>
          <a:p>
            <a:pPr lvl="1"/>
            <a:r>
              <a:rPr lang="en-US" sz="1800" dirty="0" smtClean="0"/>
              <a:t>Can be </a:t>
            </a:r>
            <a:r>
              <a:rPr lang="en-US" sz="1800" i="1" dirty="0" smtClean="0"/>
              <a:t>persisted in memory </a:t>
            </a:r>
            <a:r>
              <a:rPr lang="en-US" sz="1800" dirty="0" smtClean="0"/>
              <a:t>across operations. When an RDD is persisted each node stores any partitions of it that it compute in memory and then reuses them in other actions on the dataset. </a:t>
            </a:r>
          </a:p>
          <a:p>
            <a:pPr marL="1200150" lvl="2" indent="-285750">
              <a:spcAft>
                <a:spcPts val="600"/>
              </a:spcAft>
              <a:buFont typeface="Arial" panose="020B0604020202020204" pitchFamily="34" charset="0"/>
              <a:buChar char="•"/>
            </a:pPr>
            <a:r>
              <a:rPr lang="en-US" sz="160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Can mark a RDD as persistent just by calling the persist() or cache() method.</a:t>
            </a:r>
          </a:p>
          <a:p>
            <a:pPr marL="1200150" lvl="2" indent="-285750">
              <a:spcAft>
                <a:spcPts val="600"/>
              </a:spcAft>
              <a:buFont typeface="Arial" panose="020B0604020202020204" pitchFamily="34" charset="0"/>
              <a:buChar char="•"/>
            </a:pPr>
            <a:r>
              <a:rPr lang="en-US" sz="160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Can specify the storage level: on disk, in-memory, as serialized Java object etc.</a:t>
            </a:r>
          </a:p>
          <a:p>
            <a:pPr lvl="1"/>
            <a:r>
              <a:rPr lang="en-US" sz="1800" dirty="0" smtClean="0"/>
              <a:t>Cached or persistent RDDs</a:t>
            </a:r>
            <a:r>
              <a:rPr lang="en-US" sz="1800" i="1" dirty="0" smtClean="0"/>
              <a:t> are fault </a:t>
            </a:r>
            <a:r>
              <a:rPr lang="en-US" sz="1800" i="1" dirty="0"/>
              <a:t>tolerant without </a:t>
            </a:r>
            <a:r>
              <a:rPr lang="en-US" sz="1800" i="1" dirty="0" smtClean="0"/>
              <a:t>replication</a:t>
            </a:r>
          </a:p>
          <a:p>
            <a:pPr marL="1200150" lvl="2" indent="-285750">
              <a:spcAft>
                <a:spcPts val="600"/>
              </a:spcAft>
              <a:buFont typeface="Arial" panose="020B0604020202020204" pitchFamily="34" charset="0"/>
              <a:buChar char="•"/>
            </a:pPr>
            <a:r>
              <a:rPr lang="en-US" sz="160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Each RDD maintains its lineage i.e. the sequence of transformations that resulted in the RDD.</a:t>
            </a:r>
          </a:p>
          <a:p>
            <a:pPr marL="1200150" lvl="2" indent="-285750">
              <a:spcAft>
                <a:spcPts val="600"/>
              </a:spcAft>
              <a:buFont typeface="Arial" panose="020B0604020202020204" pitchFamily="34" charset="0"/>
              <a:buChar char="•"/>
            </a:pPr>
            <a:r>
              <a:rPr lang="en-US" sz="160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If an RDD is lost because a node crashed, it can be reconstructed by replaying the sequence of operations.</a:t>
            </a:r>
          </a:p>
        </p:txBody>
      </p:sp>
    </p:spTree>
    <p:extLst>
      <p:ext uri="{BB962C8B-B14F-4D97-AF65-F5344CB8AC3E}">
        <p14:creationId xmlns:p14="http://schemas.microsoft.com/office/powerpoint/2010/main" val="1356884783"/>
      </p:ext>
    </p:extLst>
  </p:cSld>
  <p:clrMapOvr>
    <a:masterClrMapping/>
  </p:clrMapOvr>
  <p:transition spd="med">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DDs: Transformations and Actions</a:t>
            </a:r>
            <a:endParaRPr lang="en-US" dirty="0"/>
          </a:p>
        </p:txBody>
      </p:sp>
      <p:sp>
        <p:nvSpPr>
          <p:cNvPr id="3" name="Slide Number Placeholder 2"/>
          <p:cNvSpPr>
            <a:spLocks noGrp="1"/>
          </p:cNvSpPr>
          <p:nvPr>
            <p:ph type="sldNum" sz="quarter" idx="11"/>
          </p:nvPr>
        </p:nvSpPr>
        <p:spPr/>
        <p:txBody>
          <a:bodyPr/>
          <a:lstStyle/>
          <a:p>
            <a:pPr>
              <a:defRPr/>
            </a:pPr>
            <a:fld id="{F8A0AC42-AA1D-4944-8D96-660DE70C7E1B}" type="slidenum">
              <a:rPr lang="en-US" smtClean="0"/>
              <a:pPr>
                <a:defRPr/>
              </a:pPr>
              <a:t>16</a:t>
            </a:fld>
            <a:endParaRPr lang="en-US" dirty="0"/>
          </a:p>
        </p:txBody>
      </p:sp>
      <p:sp>
        <p:nvSpPr>
          <p:cNvPr id="4" name="TextBox 3"/>
          <p:cNvSpPr txBox="1"/>
          <p:nvPr/>
        </p:nvSpPr>
        <p:spPr>
          <a:xfrm>
            <a:off x="268927" y="1287780"/>
            <a:ext cx="11227663" cy="2699200"/>
          </a:xfrm>
          <a:prstGeom prst="rect">
            <a:avLst/>
          </a:prstGeom>
        </p:spPr>
        <p:txBody>
          <a:bodyPr wrap="square">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2"/>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lvl="1"/>
            <a:r>
              <a:rPr lang="en-US" sz="1800" dirty="0" smtClean="0"/>
              <a:t>RDDs support two types of operations: Transformation and Actions</a:t>
            </a:r>
            <a:endParaRPr lang="en-US" sz="1800" i="1" dirty="0" smtClean="0"/>
          </a:p>
          <a:p>
            <a:pPr lvl="1"/>
            <a:r>
              <a:rPr lang="en-US" sz="1800" dirty="0" smtClean="0"/>
              <a:t>Transformations create an new dataset from an existing dataset</a:t>
            </a:r>
          </a:p>
          <a:p>
            <a:pPr marL="1200150" lvl="2" indent="-285750">
              <a:spcAft>
                <a:spcPts val="600"/>
              </a:spcAft>
              <a:buFont typeface="Arial" panose="020B0604020202020204" pitchFamily="34" charset="0"/>
              <a:buChar char="•"/>
            </a:pPr>
            <a:r>
              <a:rPr lang="en-US" sz="1600" dirty="0">
                <a:ln>
                  <a:solidFill>
                    <a:srgbClr val="FFFFFF">
                      <a:alpha val="0"/>
                    </a:srgbClr>
                  </a:solidFill>
                </a:ln>
                <a:solidFill>
                  <a:schemeClr val="tx1">
                    <a:lumMod val="65000"/>
                    <a:lumOff val="35000"/>
                  </a:schemeClr>
                </a:solidFill>
                <a:ea typeface="Segoe UI" pitchFamily="34" charset="0"/>
                <a:cs typeface="Segoe UI" pitchFamily="34" charset="0"/>
              </a:rPr>
              <a:t>Al</a:t>
            </a:r>
            <a:r>
              <a:rPr lang="en-US" sz="160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l transformations are lazy: they do not compute their results right away. The transformations are only computed when an action requires a result to be returned to the driver program.</a:t>
            </a:r>
            <a:r>
              <a:rPr lang="en-US" sz="1600" dirty="0">
                <a:solidFill>
                  <a:schemeClr val="tx1">
                    <a:lumMod val="65000"/>
                    <a:lumOff val="35000"/>
                  </a:schemeClr>
                </a:solidFill>
              </a:rPr>
              <a:t> Obviously </a:t>
            </a:r>
            <a:r>
              <a:rPr lang="en-US" sz="1600" i="1" dirty="0" smtClean="0">
                <a:solidFill>
                  <a:schemeClr val="tx1">
                    <a:lumMod val="65000"/>
                    <a:lumOff val="35000"/>
                  </a:schemeClr>
                </a:solidFill>
              </a:rPr>
              <a:t>does </a:t>
            </a:r>
            <a:r>
              <a:rPr lang="en-US" sz="1600" i="1" dirty="0">
                <a:solidFill>
                  <a:schemeClr val="tx1">
                    <a:lumMod val="65000"/>
                    <a:lumOff val="35000"/>
                  </a:schemeClr>
                </a:solidFill>
              </a:rPr>
              <a:t>not apply to persistent RDDs.</a:t>
            </a:r>
          </a:p>
          <a:p>
            <a:pPr marL="1200150" lvl="2" indent="-285750">
              <a:spcAft>
                <a:spcPts val="600"/>
              </a:spcAft>
              <a:buFont typeface="Arial" panose="020B0604020202020204" pitchFamily="34" charset="0"/>
              <a:buChar char="•"/>
            </a:pPr>
            <a:r>
              <a:rPr lang="en-US" sz="1600" dirty="0" smtClean="0">
                <a:ln>
                  <a:solidFill>
                    <a:srgbClr val="FFFFFF">
                      <a:alpha val="0"/>
                    </a:srgbClr>
                  </a:solidFill>
                </a:ln>
                <a:gradFill>
                  <a:gsLst>
                    <a:gs pos="85321">
                      <a:srgbClr val="505050"/>
                    </a:gs>
                    <a:gs pos="57000">
                      <a:srgbClr val="505050"/>
                    </a:gs>
                  </a:gsLst>
                </a:gradFill>
                <a:ea typeface="Segoe UI" pitchFamily="34" charset="0"/>
                <a:cs typeface="Segoe UI" pitchFamily="34" charset="0"/>
              </a:rPr>
              <a:t>map, filter, sample, union, … [See appendix for full list]  </a:t>
            </a:r>
          </a:p>
          <a:p>
            <a:pPr lvl="1"/>
            <a:r>
              <a:rPr lang="en-US" sz="1800" dirty="0" smtClean="0"/>
              <a:t>Actions return </a:t>
            </a:r>
            <a:r>
              <a:rPr lang="en-US" sz="1800" dirty="0"/>
              <a:t>a value to the driver program after running a computation on the dataset</a:t>
            </a:r>
            <a:r>
              <a:rPr lang="en-US" sz="1800" dirty="0" smtClean="0"/>
              <a:t>.</a:t>
            </a:r>
          </a:p>
          <a:p>
            <a:pPr marL="1200150" lvl="2" indent="-285750">
              <a:spcAft>
                <a:spcPts val="600"/>
              </a:spcAft>
              <a:buFont typeface="Arial" panose="020B0604020202020204" pitchFamily="34" charset="0"/>
              <a:buChar char="•"/>
            </a:pPr>
            <a:r>
              <a:rPr lang="en-US" sz="160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Example: reduce, collect, count, first, </a:t>
            </a:r>
            <a:r>
              <a:rPr lang="en-US" sz="1600" dirty="0" smtClean="0">
                <a:ln>
                  <a:solidFill>
                    <a:srgbClr val="FFFFFF">
                      <a:alpha val="0"/>
                    </a:srgbClr>
                  </a:solidFill>
                </a:ln>
                <a:gradFill>
                  <a:gsLst>
                    <a:gs pos="85321">
                      <a:srgbClr val="505050"/>
                    </a:gs>
                    <a:gs pos="57000">
                      <a:srgbClr val="505050"/>
                    </a:gs>
                  </a:gsLst>
                </a:gradFill>
                <a:ea typeface="Segoe UI" pitchFamily="34" charset="0"/>
                <a:cs typeface="Segoe UI" pitchFamily="34" charset="0"/>
              </a:rPr>
              <a:t>foreach, etc. </a:t>
            </a:r>
            <a:r>
              <a:rPr lang="en-US" sz="160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See appendix for full list]</a:t>
            </a:r>
          </a:p>
        </p:txBody>
      </p:sp>
      <p:grpSp>
        <p:nvGrpSpPr>
          <p:cNvPr id="5" name="Group 4"/>
          <p:cNvGrpSpPr/>
          <p:nvPr/>
        </p:nvGrpSpPr>
        <p:grpSpPr>
          <a:xfrm>
            <a:off x="1254445" y="4300357"/>
            <a:ext cx="9131701" cy="2326168"/>
            <a:chOff x="1254445" y="4300357"/>
            <a:chExt cx="9131701" cy="2326168"/>
          </a:xfrm>
        </p:grpSpPr>
        <p:grpSp>
          <p:nvGrpSpPr>
            <p:cNvPr id="18" name="Group 17"/>
            <p:cNvGrpSpPr/>
            <p:nvPr/>
          </p:nvGrpSpPr>
          <p:grpSpPr>
            <a:xfrm>
              <a:off x="3574464" y="4885317"/>
              <a:ext cx="2022764" cy="1155865"/>
              <a:chOff x="4488864" y="4595750"/>
              <a:chExt cx="2022764" cy="1155865"/>
            </a:xfrm>
          </p:grpSpPr>
          <p:sp>
            <p:nvSpPr>
              <p:cNvPr id="7" name="Rounded Rectangle 6"/>
              <p:cNvSpPr/>
              <p:nvPr/>
            </p:nvSpPr>
            <p:spPr bwMode="auto">
              <a:xfrm>
                <a:off x="4488864" y="4595750"/>
                <a:ext cx="1413164" cy="546265"/>
              </a:xfrm>
              <a:prstGeom prst="roundRect">
                <a:avLst/>
              </a:prstGeom>
              <a:solidFill>
                <a:schemeClr val="accent4"/>
              </a:solidFill>
              <a:ln>
                <a:solidFill>
                  <a:schemeClr val="accent4">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000" b="1" dirty="0" smtClean="0">
                    <a:solidFill>
                      <a:schemeClr val="bg1"/>
                    </a:solidFill>
                    <a:latin typeface="+mj-lt"/>
                    <a:ea typeface="Segoe UI" pitchFamily="34" charset="0"/>
                    <a:cs typeface="Segoe UI" pitchFamily="34" charset="0"/>
                  </a:rPr>
                  <a:t>RDD</a:t>
                </a:r>
              </a:p>
            </p:txBody>
          </p:sp>
          <p:sp>
            <p:nvSpPr>
              <p:cNvPr id="8" name="Rounded Rectangle 7"/>
              <p:cNvSpPr/>
              <p:nvPr/>
            </p:nvSpPr>
            <p:spPr bwMode="auto">
              <a:xfrm>
                <a:off x="4641264" y="4748150"/>
                <a:ext cx="1413164" cy="546265"/>
              </a:xfrm>
              <a:prstGeom prst="roundRect">
                <a:avLst/>
              </a:prstGeom>
              <a:solidFill>
                <a:schemeClr val="accent4"/>
              </a:solidFill>
              <a:ln>
                <a:solidFill>
                  <a:schemeClr val="accent4">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000" b="1" dirty="0" smtClean="0">
                    <a:solidFill>
                      <a:schemeClr val="bg1"/>
                    </a:solidFill>
                    <a:latin typeface="+mj-lt"/>
                    <a:ea typeface="Segoe UI" pitchFamily="34" charset="0"/>
                    <a:cs typeface="Segoe UI" pitchFamily="34" charset="0"/>
                  </a:rPr>
                  <a:t>RDD</a:t>
                </a:r>
              </a:p>
            </p:txBody>
          </p:sp>
          <p:sp>
            <p:nvSpPr>
              <p:cNvPr id="9" name="Rounded Rectangle 8"/>
              <p:cNvSpPr/>
              <p:nvPr/>
            </p:nvSpPr>
            <p:spPr bwMode="auto">
              <a:xfrm>
                <a:off x="4793664" y="4900550"/>
                <a:ext cx="1413164" cy="546265"/>
              </a:xfrm>
              <a:prstGeom prst="roundRect">
                <a:avLst/>
              </a:prstGeom>
              <a:solidFill>
                <a:schemeClr val="accent4"/>
              </a:solidFill>
              <a:ln>
                <a:solidFill>
                  <a:schemeClr val="accent4">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000" b="1" dirty="0" smtClean="0">
                    <a:solidFill>
                      <a:schemeClr val="bg1"/>
                    </a:solidFill>
                    <a:latin typeface="+mj-lt"/>
                    <a:ea typeface="Segoe UI" pitchFamily="34" charset="0"/>
                    <a:cs typeface="Segoe UI" pitchFamily="34" charset="0"/>
                  </a:rPr>
                  <a:t>RDD</a:t>
                </a:r>
              </a:p>
            </p:txBody>
          </p:sp>
          <p:sp>
            <p:nvSpPr>
              <p:cNvPr id="10" name="Rounded Rectangle 9"/>
              <p:cNvSpPr/>
              <p:nvPr/>
            </p:nvSpPr>
            <p:spPr bwMode="auto">
              <a:xfrm>
                <a:off x="4946064" y="5052950"/>
                <a:ext cx="1413164" cy="546265"/>
              </a:xfrm>
              <a:prstGeom prst="roundRect">
                <a:avLst/>
              </a:prstGeom>
              <a:solidFill>
                <a:schemeClr val="accent4"/>
              </a:solidFill>
              <a:ln>
                <a:solidFill>
                  <a:schemeClr val="accent4">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000" b="1" dirty="0" smtClean="0">
                    <a:solidFill>
                      <a:schemeClr val="bg1"/>
                    </a:solidFill>
                    <a:latin typeface="+mj-lt"/>
                    <a:ea typeface="Segoe UI" pitchFamily="34" charset="0"/>
                    <a:cs typeface="Segoe UI" pitchFamily="34" charset="0"/>
                  </a:rPr>
                  <a:t>RDD</a:t>
                </a:r>
              </a:p>
            </p:txBody>
          </p:sp>
          <p:sp>
            <p:nvSpPr>
              <p:cNvPr id="11" name="Rounded Rectangle 10"/>
              <p:cNvSpPr/>
              <p:nvPr/>
            </p:nvSpPr>
            <p:spPr bwMode="auto">
              <a:xfrm>
                <a:off x="5098464" y="5205350"/>
                <a:ext cx="1413164" cy="546265"/>
              </a:xfrm>
              <a:prstGeom prst="roundRect">
                <a:avLst/>
              </a:prstGeom>
              <a:solidFill>
                <a:schemeClr val="accent4"/>
              </a:solidFill>
              <a:ln>
                <a:solidFill>
                  <a:schemeClr val="accent4">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000" dirty="0" smtClean="0">
                    <a:solidFill>
                      <a:schemeClr val="bg1"/>
                    </a:solidFill>
                    <a:ea typeface="Segoe UI" pitchFamily="34" charset="0"/>
                    <a:cs typeface="Segoe UI" pitchFamily="34" charset="0"/>
                  </a:rPr>
                  <a:t>RDD</a:t>
                </a:r>
              </a:p>
            </p:txBody>
          </p:sp>
        </p:grpSp>
        <p:sp>
          <p:nvSpPr>
            <p:cNvPr id="12" name="Rectangle 11"/>
            <p:cNvSpPr/>
            <p:nvPr/>
          </p:nvSpPr>
          <p:spPr bwMode="auto">
            <a:xfrm rot="2818703">
              <a:off x="1499700" y="4873196"/>
              <a:ext cx="1197338" cy="1168233"/>
            </a:xfrm>
            <a:prstGeom prst="rect">
              <a:avLst/>
            </a:prstGeom>
            <a:solidFill>
              <a:schemeClr val="accent6">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smtClean="0">
                <a:solidFill>
                  <a:schemeClr val="bg1"/>
                </a:solidFill>
                <a:latin typeface="+mj-lt"/>
                <a:ea typeface="Segoe UI" pitchFamily="34" charset="0"/>
                <a:cs typeface="Segoe UI" pitchFamily="34" charset="0"/>
              </a:endParaRPr>
            </a:p>
          </p:txBody>
        </p:sp>
        <p:sp>
          <p:nvSpPr>
            <p:cNvPr id="13" name="TextBox 12"/>
            <p:cNvSpPr txBox="1"/>
            <p:nvPr/>
          </p:nvSpPr>
          <p:spPr>
            <a:xfrm>
              <a:off x="1254445" y="5310849"/>
              <a:ext cx="1650671" cy="304800"/>
            </a:xfrm>
            <a:prstGeom prst="rect">
              <a:avLst/>
            </a:prstGeom>
            <a:noFill/>
          </p:spPr>
          <p:txBody>
            <a:bodyPr wrap="none" lIns="182880" tIns="146304" rIns="182880" bIns="146304" rtlCol="0" anchor="ctr">
              <a:noAutofit/>
            </a:bodyPr>
            <a:lstStyle/>
            <a:p>
              <a:pPr>
                <a:lnSpc>
                  <a:spcPct val="90000"/>
                </a:lnSpc>
                <a:spcAft>
                  <a:spcPts val="600"/>
                </a:spcAft>
              </a:pPr>
              <a:r>
                <a:rPr lang="en-US" sz="1600" dirty="0" smtClean="0">
                  <a:solidFill>
                    <a:schemeClr val="bg1"/>
                  </a:solidFill>
                </a:rPr>
                <a:t>transformations</a:t>
              </a:r>
            </a:p>
          </p:txBody>
        </p:sp>
        <p:cxnSp>
          <p:nvCxnSpPr>
            <p:cNvPr id="15" name="Straight Connector 14"/>
            <p:cNvCxnSpPr/>
            <p:nvPr/>
          </p:nvCxnSpPr>
          <p:spPr>
            <a:xfrm flipV="1">
              <a:off x="2096031" y="4300357"/>
              <a:ext cx="2185015" cy="11876"/>
            </a:xfrm>
            <a:prstGeom prst="line">
              <a:avLst/>
            </a:prstGeom>
            <a:ln w="28575">
              <a:solidFill>
                <a:schemeClr val="bg2">
                  <a:lumMod val="50000"/>
                </a:schemeClr>
              </a:solidFill>
              <a:headEnd type="none"/>
              <a:tailEnd type="none"/>
            </a:ln>
          </p:spPr>
          <p:style>
            <a:lnRef idx="1">
              <a:schemeClr val="dk1"/>
            </a:lnRef>
            <a:fillRef idx="0">
              <a:schemeClr val="dk1"/>
            </a:fillRef>
            <a:effectRef idx="0">
              <a:schemeClr val="dk1"/>
            </a:effectRef>
            <a:fontRef idx="minor">
              <a:schemeClr val="tx1"/>
            </a:fontRef>
          </p:style>
        </p:cxnSp>
        <p:cxnSp>
          <p:nvCxnSpPr>
            <p:cNvPr id="17" name="Straight Arrow Connector 16"/>
            <p:cNvCxnSpPr>
              <a:endCxn id="7" idx="0"/>
            </p:cNvCxnSpPr>
            <p:nvPr/>
          </p:nvCxnSpPr>
          <p:spPr>
            <a:xfrm>
              <a:off x="4281046" y="4300358"/>
              <a:ext cx="0" cy="584959"/>
            </a:xfrm>
            <a:prstGeom prst="straightConnector1">
              <a:avLst/>
            </a:prstGeom>
            <a:ln w="28575">
              <a:solidFill>
                <a:schemeClr val="bg2">
                  <a:lumMod val="50000"/>
                </a:schemeClr>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19" name="Straight Arrow Connector 18"/>
            <p:cNvCxnSpPr/>
            <p:nvPr/>
          </p:nvCxnSpPr>
          <p:spPr>
            <a:xfrm flipH="1">
              <a:off x="4886270" y="6041182"/>
              <a:ext cx="4376" cy="573083"/>
            </a:xfrm>
            <a:prstGeom prst="straightConnector1">
              <a:avLst/>
            </a:prstGeom>
            <a:ln w="28575">
              <a:solidFill>
                <a:schemeClr val="bg2">
                  <a:lumMod val="5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flipV="1">
              <a:off x="2079780" y="6626140"/>
              <a:ext cx="2806490" cy="385"/>
            </a:xfrm>
            <a:prstGeom prst="line">
              <a:avLst/>
            </a:prstGeom>
            <a:ln w="28575">
              <a:solidFill>
                <a:schemeClr val="bg2">
                  <a:lumMod val="50000"/>
                </a:schemeClr>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28" name="Straight Connector 27"/>
            <p:cNvCxnSpPr/>
            <p:nvPr/>
          </p:nvCxnSpPr>
          <p:spPr>
            <a:xfrm flipV="1">
              <a:off x="2097629" y="4316247"/>
              <a:ext cx="0" cy="308866"/>
            </a:xfrm>
            <a:prstGeom prst="line">
              <a:avLst/>
            </a:prstGeom>
            <a:ln w="28575">
              <a:solidFill>
                <a:schemeClr val="bg2">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Arrow Connector 30"/>
            <p:cNvCxnSpPr/>
            <p:nvPr/>
          </p:nvCxnSpPr>
          <p:spPr>
            <a:xfrm flipH="1" flipV="1">
              <a:off x="2079780" y="6288417"/>
              <a:ext cx="4377" cy="325849"/>
            </a:xfrm>
            <a:prstGeom prst="straightConnector1">
              <a:avLst/>
            </a:prstGeom>
            <a:ln w="28575">
              <a:solidFill>
                <a:schemeClr val="bg2">
                  <a:lumMod val="50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3" name="Straight Arrow Connector 32"/>
            <p:cNvCxnSpPr/>
            <p:nvPr/>
          </p:nvCxnSpPr>
          <p:spPr>
            <a:xfrm>
              <a:off x="5593284" y="5310849"/>
              <a:ext cx="819396" cy="0"/>
            </a:xfrm>
            <a:prstGeom prst="straightConnector1">
              <a:avLst/>
            </a:prstGeom>
            <a:ln w="38100">
              <a:solidFill>
                <a:schemeClr val="bg2">
                  <a:lumMod val="50000"/>
                </a:schemeClr>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34" name="Rounded Rectangle 33"/>
            <p:cNvSpPr/>
            <p:nvPr/>
          </p:nvSpPr>
          <p:spPr bwMode="auto">
            <a:xfrm>
              <a:off x="8972982" y="5083839"/>
              <a:ext cx="1413164" cy="546265"/>
            </a:xfrm>
            <a:prstGeom prst="roundRect">
              <a:avLst/>
            </a:prstGeom>
            <a:solidFill>
              <a:schemeClr val="accent5">
                <a:lumMod val="75000"/>
              </a:schemeClr>
            </a:solidFill>
            <a:ln>
              <a:solidFill>
                <a:schemeClr val="bg2">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000" dirty="0" smtClean="0">
                  <a:solidFill>
                    <a:schemeClr val="bg1"/>
                  </a:solidFill>
                  <a:ea typeface="Segoe UI" pitchFamily="34" charset="0"/>
                  <a:cs typeface="Segoe UI" pitchFamily="34" charset="0"/>
                </a:rPr>
                <a:t>Value</a:t>
              </a:r>
            </a:p>
          </p:txBody>
        </p:sp>
        <p:sp>
          <p:nvSpPr>
            <p:cNvPr id="37" name="Rectangle 36"/>
            <p:cNvSpPr/>
            <p:nvPr/>
          </p:nvSpPr>
          <p:spPr bwMode="auto">
            <a:xfrm rot="2818703">
              <a:off x="6648419" y="4758401"/>
              <a:ext cx="1197338" cy="116823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smtClean="0">
                <a:solidFill>
                  <a:schemeClr val="bg1"/>
                </a:solidFill>
                <a:latin typeface="+mj-lt"/>
                <a:ea typeface="Segoe UI" pitchFamily="34" charset="0"/>
                <a:cs typeface="Segoe UI" pitchFamily="34" charset="0"/>
              </a:endParaRPr>
            </a:p>
          </p:txBody>
        </p:sp>
        <p:sp>
          <p:nvSpPr>
            <p:cNvPr id="38" name="TextBox 37"/>
            <p:cNvSpPr txBox="1"/>
            <p:nvPr/>
          </p:nvSpPr>
          <p:spPr>
            <a:xfrm>
              <a:off x="6794825" y="5174882"/>
              <a:ext cx="904525" cy="304800"/>
            </a:xfrm>
            <a:prstGeom prst="rect">
              <a:avLst/>
            </a:prstGeom>
            <a:noFill/>
          </p:spPr>
          <p:txBody>
            <a:bodyPr wrap="none" lIns="182880" tIns="146304" rIns="182880" bIns="146304" rtlCol="0" anchor="ctr">
              <a:noAutofit/>
            </a:bodyPr>
            <a:lstStyle/>
            <a:p>
              <a:pPr>
                <a:lnSpc>
                  <a:spcPct val="90000"/>
                </a:lnSpc>
                <a:spcAft>
                  <a:spcPts val="600"/>
                </a:spcAft>
              </a:pPr>
              <a:r>
                <a:rPr lang="en-US" sz="1600" dirty="0" smtClean="0">
                  <a:solidFill>
                    <a:schemeClr val="bg1"/>
                  </a:solidFill>
                </a:rPr>
                <a:t>actions</a:t>
              </a:r>
            </a:p>
          </p:txBody>
        </p:sp>
        <p:cxnSp>
          <p:nvCxnSpPr>
            <p:cNvPr id="39" name="Straight Arrow Connector 38"/>
            <p:cNvCxnSpPr/>
            <p:nvPr/>
          </p:nvCxnSpPr>
          <p:spPr>
            <a:xfrm>
              <a:off x="8108873" y="5380124"/>
              <a:ext cx="819396" cy="0"/>
            </a:xfrm>
            <a:prstGeom prst="straightConnector1">
              <a:avLst/>
            </a:prstGeom>
            <a:ln w="38100">
              <a:solidFill>
                <a:schemeClr val="bg2">
                  <a:lumMod val="50000"/>
                </a:schemeClr>
              </a:solidFill>
              <a:headEnd type="none"/>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008328377"/>
      </p:ext>
    </p:extLst>
  </p:cSld>
  <p:clrMapOvr>
    <a:masterClrMapping/>
  </p:clrMapOvr>
  <p:transition spd="med">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ransformations and Actions: Sample Code</a:t>
            </a:r>
            <a:endParaRPr lang="en-US" dirty="0"/>
          </a:p>
        </p:txBody>
      </p:sp>
      <p:sp>
        <p:nvSpPr>
          <p:cNvPr id="3" name="Slide Number Placeholder 2"/>
          <p:cNvSpPr>
            <a:spLocks noGrp="1"/>
          </p:cNvSpPr>
          <p:nvPr>
            <p:ph type="sldNum" sz="quarter" idx="11"/>
          </p:nvPr>
        </p:nvSpPr>
        <p:spPr/>
        <p:txBody>
          <a:bodyPr/>
          <a:lstStyle/>
          <a:p>
            <a:pPr>
              <a:defRPr/>
            </a:pPr>
            <a:fld id="{F8A0AC42-AA1D-4944-8D96-660DE70C7E1B}" type="slidenum">
              <a:rPr lang="en-US" smtClean="0"/>
              <a:pPr>
                <a:defRPr/>
              </a:pPr>
              <a:t>17</a:t>
            </a:fld>
            <a:endParaRPr lang="en-US" dirty="0"/>
          </a:p>
        </p:txBody>
      </p:sp>
      <p:sp>
        <p:nvSpPr>
          <p:cNvPr id="4" name="TextBox 3"/>
          <p:cNvSpPr txBox="1"/>
          <p:nvPr/>
        </p:nvSpPr>
        <p:spPr>
          <a:xfrm>
            <a:off x="799290" y="2103758"/>
            <a:ext cx="6266526" cy="4333984"/>
          </a:xfrm>
          <a:prstGeom prst="rect">
            <a:avLst/>
          </a:prstGeom>
          <a:solidFill>
            <a:schemeClr val="bg1"/>
          </a:solidFill>
          <a:ln>
            <a:solidFill>
              <a:schemeClr val="tx1">
                <a:lumMod val="75000"/>
                <a:lumOff val="25000"/>
              </a:schemeClr>
            </a:solidFill>
          </a:ln>
        </p:spPr>
        <p:txBody>
          <a:bodyPr wrap="none" lIns="182880" tIns="146304" rIns="182880" bIns="146304" rtlCol="0" anchor="ctr">
            <a:noAutofit/>
          </a:bodyPr>
          <a:lstStyle/>
          <a:p>
            <a:pPr>
              <a:lnSpc>
                <a:spcPts val="2100"/>
              </a:lnSpc>
              <a:spcBef>
                <a:spcPts val="1200"/>
              </a:spcBef>
              <a:spcAft>
                <a:spcPts val="1200"/>
              </a:spcAft>
            </a:pPr>
            <a:r>
              <a:rPr lang="en-US" sz="2000" b="1" dirty="0">
                <a:solidFill>
                  <a:schemeClr val="tx1">
                    <a:lumMod val="65000"/>
                    <a:lumOff val="35000"/>
                  </a:schemeClr>
                </a:solidFill>
              </a:rPr>
              <a:t>val</a:t>
            </a:r>
            <a:r>
              <a:rPr lang="en-US" sz="2000" dirty="0">
                <a:solidFill>
                  <a:schemeClr val="tx1">
                    <a:lumMod val="65000"/>
                    <a:lumOff val="35000"/>
                  </a:schemeClr>
                </a:solidFill>
              </a:rPr>
              <a:t> file = spark.textFile("</a:t>
            </a:r>
            <a:r>
              <a:rPr lang="en-US" sz="2000" dirty="0">
                <a:solidFill>
                  <a:schemeClr val="accent1">
                    <a:lumMod val="75000"/>
                  </a:schemeClr>
                </a:solidFill>
              </a:rPr>
              <a:t>hdfs</a:t>
            </a:r>
            <a:r>
              <a:rPr lang="en-US" sz="2000" dirty="0" smtClean="0">
                <a:solidFill>
                  <a:schemeClr val="accent1">
                    <a:lumMod val="75000"/>
                  </a:schemeClr>
                </a:solidFill>
              </a:rPr>
              <a:t>://...")</a:t>
            </a:r>
            <a:endParaRPr lang="en-US" sz="2000" dirty="0" smtClean="0">
              <a:solidFill>
                <a:schemeClr val="tx1">
                  <a:lumMod val="65000"/>
                  <a:lumOff val="35000"/>
                </a:schemeClr>
              </a:solidFill>
            </a:endParaRPr>
          </a:p>
          <a:p>
            <a:pPr>
              <a:lnSpc>
                <a:spcPts val="2100"/>
              </a:lnSpc>
              <a:spcBef>
                <a:spcPts val="600"/>
              </a:spcBef>
              <a:spcAft>
                <a:spcPts val="1200"/>
              </a:spcAft>
            </a:pPr>
            <a:r>
              <a:rPr lang="en-US" sz="2000" b="1" dirty="0" smtClean="0">
                <a:solidFill>
                  <a:schemeClr val="tx1">
                    <a:lumMod val="65000"/>
                    <a:lumOff val="35000"/>
                  </a:schemeClr>
                </a:solidFill>
              </a:rPr>
              <a:t>val</a:t>
            </a:r>
            <a:r>
              <a:rPr lang="en-US" sz="2000" dirty="0">
                <a:solidFill>
                  <a:schemeClr val="tx1">
                    <a:lumMod val="65000"/>
                    <a:lumOff val="35000"/>
                  </a:schemeClr>
                </a:solidFill>
              </a:rPr>
              <a:t> errors = file.</a:t>
            </a:r>
            <a:r>
              <a:rPr lang="en-US" sz="2000" dirty="0">
                <a:solidFill>
                  <a:schemeClr val="accent1">
                    <a:lumMod val="75000"/>
                  </a:schemeClr>
                </a:solidFill>
              </a:rPr>
              <a:t>filter</a:t>
            </a:r>
            <a:r>
              <a:rPr lang="en-US" sz="2000" dirty="0">
                <a:solidFill>
                  <a:schemeClr val="tx1">
                    <a:lumMod val="65000"/>
                    <a:lumOff val="35000"/>
                  </a:schemeClr>
                </a:solidFill>
              </a:rPr>
              <a:t>(line =&gt; line.contains("ERROR</a:t>
            </a:r>
            <a:r>
              <a:rPr lang="en-US" sz="2000" dirty="0" smtClean="0">
                <a:solidFill>
                  <a:schemeClr val="tx1">
                    <a:lumMod val="65000"/>
                    <a:lumOff val="35000"/>
                  </a:schemeClr>
                </a:solidFill>
              </a:rPr>
              <a:t>"))</a:t>
            </a:r>
          </a:p>
          <a:p>
            <a:pPr>
              <a:lnSpc>
                <a:spcPts val="2100"/>
              </a:lnSpc>
              <a:spcBef>
                <a:spcPts val="600"/>
              </a:spcBef>
            </a:pPr>
            <a:r>
              <a:rPr lang="en-US" sz="2000" i="1" dirty="0">
                <a:solidFill>
                  <a:schemeClr val="accent4">
                    <a:lumMod val="75000"/>
                  </a:schemeClr>
                </a:solidFill>
              </a:rPr>
              <a:t>//Cache errors</a:t>
            </a:r>
          </a:p>
          <a:p>
            <a:pPr>
              <a:lnSpc>
                <a:spcPts val="2100"/>
              </a:lnSpc>
              <a:spcBef>
                <a:spcPts val="600"/>
              </a:spcBef>
              <a:spcAft>
                <a:spcPts val="1200"/>
              </a:spcAft>
            </a:pPr>
            <a:r>
              <a:rPr lang="en-US" sz="2000" dirty="0" smtClean="0">
                <a:solidFill>
                  <a:schemeClr val="tx1">
                    <a:lumMod val="65000"/>
                    <a:lumOff val="35000"/>
                  </a:schemeClr>
                </a:solidFill>
              </a:rPr>
              <a:t>errors.</a:t>
            </a:r>
            <a:r>
              <a:rPr lang="en-US" sz="2000" dirty="0" smtClean="0">
                <a:solidFill>
                  <a:srgbClr val="C00000"/>
                </a:solidFill>
              </a:rPr>
              <a:t>cache</a:t>
            </a:r>
            <a:r>
              <a:rPr lang="en-US" sz="2000" dirty="0" smtClean="0">
                <a:solidFill>
                  <a:schemeClr val="tx1">
                    <a:lumMod val="65000"/>
                    <a:lumOff val="35000"/>
                  </a:schemeClr>
                </a:solidFill>
              </a:rPr>
              <a:t>() </a:t>
            </a:r>
          </a:p>
          <a:p>
            <a:pPr>
              <a:lnSpc>
                <a:spcPts val="2100"/>
              </a:lnSpc>
              <a:spcBef>
                <a:spcPts val="600"/>
              </a:spcBef>
            </a:pPr>
            <a:r>
              <a:rPr lang="en-US" sz="2000" i="1" dirty="0">
                <a:solidFill>
                  <a:schemeClr val="accent4">
                    <a:lumMod val="75000"/>
                  </a:schemeClr>
                </a:solidFill>
              </a:rPr>
              <a:t>// Count all the </a:t>
            </a:r>
            <a:r>
              <a:rPr lang="en-US" sz="2000" i="1" dirty="0" smtClean="0">
                <a:solidFill>
                  <a:schemeClr val="accent4">
                    <a:lumMod val="75000"/>
                  </a:schemeClr>
                </a:solidFill>
              </a:rPr>
              <a:t>errors</a:t>
            </a:r>
            <a:endParaRPr lang="en-US" sz="2000" i="1" dirty="0">
              <a:solidFill>
                <a:schemeClr val="tx1">
                  <a:lumMod val="65000"/>
                  <a:lumOff val="35000"/>
                </a:schemeClr>
              </a:solidFill>
            </a:endParaRPr>
          </a:p>
          <a:p>
            <a:pPr>
              <a:lnSpc>
                <a:spcPts val="2100"/>
              </a:lnSpc>
              <a:spcBef>
                <a:spcPts val="600"/>
              </a:spcBef>
              <a:spcAft>
                <a:spcPts val="1200"/>
              </a:spcAft>
            </a:pPr>
            <a:r>
              <a:rPr lang="en-US" sz="2000" dirty="0" smtClean="0">
                <a:solidFill>
                  <a:schemeClr val="tx1">
                    <a:lumMod val="65000"/>
                    <a:lumOff val="35000"/>
                  </a:schemeClr>
                </a:solidFill>
              </a:rPr>
              <a:t>errors.</a:t>
            </a:r>
            <a:r>
              <a:rPr lang="en-US" sz="2000" dirty="0" smtClean="0">
                <a:solidFill>
                  <a:schemeClr val="accent3">
                    <a:lumMod val="75000"/>
                  </a:schemeClr>
                </a:solidFill>
              </a:rPr>
              <a:t>count</a:t>
            </a:r>
            <a:r>
              <a:rPr lang="en-US" sz="2000" dirty="0" smtClean="0">
                <a:solidFill>
                  <a:schemeClr val="tx1">
                    <a:lumMod val="65000"/>
                    <a:lumOff val="35000"/>
                  </a:schemeClr>
                </a:solidFill>
              </a:rPr>
              <a:t>()</a:t>
            </a:r>
          </a:p>
          <a:p>
            <a:pPr>
              <a:lnSpc>
                <a:spcPts val="2100"/>
              </a:lnSpc>
              <a:spcBef>
                <a:spcPts val="600"/>
              </a:spcBef>
            </a:pPr>
            <a:r>
              <a:rPr lang="en-US" sz="2000" i="1" dirty="0" smtClean="0">
                <a:solidFill>
                  <a:schemeClr val="accent4">
                    <a:lumMod val="75000"/>
                  </a:schemeClr>
                </a:solidFill>
              </a:rPr>
              <a:t>// Count errors mentioning MySQL</a:t>
            </a:r>
            <a:endParaRPr lang="en-US" sz="2000" i="1" dirty="0">
              <a:solidFill>
                <a:schemeClr val="tx1">
                  <a:lumMod val="65000"/>
                  <a:lumOff val="35000"/>
                </a:schemeClr>
              </a:solidFill>
            </a:endParaRPr>
          </a:p>
          <a:p>
            <a:pPr>
              <a:lnSpc>
                <a:spcPts val="2100"/>
              </a:lnSpc>
              <a:spcBef>
                <a:spcPts val="600"/>
              </a:spcBef>
              <a:spcAft>
                <a:spcPts val="1200"/>
              </a:spcAft>
            </a:pPr>
            <a:r>
              <a:rPr lang="en-US" sz="2000" dirty="0" smtClean="0">
                <a:solidFill>
                  <a:schemeClr val="tx1">
                    <a:lumMod val="65000"/>
                    <a:lumOff val="35000"/>
                  </a:schemeClr>
                </a:solidFill>
              </a:rPr>
              <a:t>errors.</a:t>
            </a:r>
            <a:r>
              <a:rPr lang="en-US" sz="2000" dirty="0" smtClean="0">
                <a:solidFill>
                  <a:schemeClr val="accent1">
                    <a:lumMod val="75000"/>
                  </a:schemeClr>
                </a:solidFill>
              </a:rPr>
              <a:t>filter</a:t>
            </a:r>
            <a:r>
              <a:rPr lang="en-US" sz="2000" dirty="0" smtClean="0">
                <a:solidFill>
                  <a:schemeClr val="tx1">
                    <a:lumMod val="65000"/>
                    <a:lumOff val="35000"/>
                  </a:schemeClr>
                </a:solidFill>
              </a:rPr>
              <a:t>(line =&gt; line.contains(“Web")).</a:t>
            </a:r>
            <a:r>
              <a:rPr lang="en-US" sz="2000" dirty="0" smtClean="0">
                <a:solidFill>
                  <a:schemeClr val="accent3">
                    <a:lumMod val="75000"/>
                  </a:schemeClr>
                </a:solidFill>
              </a:rPr>
              <a:t>count</a:t>
            </a:r>
            <a:r>
              <a:rPr lang="en-US" sz="2000" dirty="0" smtClean="0">
                <a:solidFill>
                  <a:schemeClr val="tx1">
                    <a:lumMod val="65000"/>
                    <a:lumOff val="35000"/>
                  </a:schemeClr>
                </a:solidFill>
              </a:rPr>
              <a:t>()</a:t>
            </a:r>
          </a:p>
          <a:p>
            <a:pPr>
              <a:lnSpc>
                <a:spcPts val="2100"/>
              </a:lnSpc>
              <a:spcBef>
                <a:spcPts val="600"/>
              </a:spcBef>
            </a:pPr>
            <a:r>
              <a:rPr lang="en-US" sz="2000" i="1" dirty="0" smtClean="0">
                <a:solidFill>
                  <a:schemeClr val="accent4">
                    <a:lumMod val="75000"/>
                  </a:schemeClr>
                </a:solidFill>
              </a:rPr>
              <a:t>// </a:t>
            </a:r>
            <a:r>
              <a:rPr lang="en-US" sz="2000" i="1" dirty="0">
                <a:solidFill>
                  <a:schemeClr val="accent4">
                    <a:lumMod val="75000"/>
                  </a:schemeClr>
                </a:solidFill>
              </a:rPr>
              <a:t>Fetch the MySQL errors as an array of </a:t>
            </a:r>
            <a:r>
              <a:rPr lang="en-US" sz="2000" i="1" dirty="0" smtClean="0">
                <a:solidFill>
                  <a:schemeClr val="accent4">
                    <a:lumMod val="75000"/>
                  </a:schemeClr>
                </a:solidFill>
              </a:rPr>
              <a:t>strings</a:t>
            </a:r>
            <a:endParaRPr lang="en-US" sz="2000" i="1" dirty="0" smtClean="0">
              <a:solidFill>
                <a:schemeClr val="tx1">
                  <a:lumMod val="65000"/>
                  <a:lumOff val="35000"/>
                </a:schemeClr>
              </a:solidFill>
            </a:endParaRPr>
          </a:p>
          <a:p>
            <a:pPr>
              <a:lnSpc>
                <a:spcPts val="2100"/>
              </a:lnSpc>
              <a:spcBef>
                <a:spcPts val="600"/>
              </a:spcBef>
              <a:spcAft>
                <a:spcPts val="1200"/>
              </a:spcAft>
            </a:pPr>
            <a:r>
              <a:rPr lang="en-US" sz="2000" dirty="0" smtClean="0">
                <a:solidFill>
                  <a:schemeClr val="tx1">
                    <a:lumMod val="65000"/>
                    <a:lumOff val="35000"/>
                  </a:schemeClr>
                </a:solidFill>
              </a:rPr>
              <a:t>errors.</a:t>
            </a:r>
            <a:r>
              <a:rPr lang="en-US" sz="2000" dirty="0" smtClean="0">
                <a:solidFill>
                  <a:schemeClr val="accent1">
                    <a:lumMod val="75000"/>
                  </a:schemeClr>
                </a:solidFill>
              </a:rPr>
              <a:t>filter</a:t>
            </a:r>
            <a:r>
              <a:rPr lang="en-US" sz="2000" dirty="0" smtClean="0">
                <a:solidFill>
                  <a:schemeClr val="tx1">
                    <a:lumMod val="65000"/>
                    <a:lumOff val="35000"/>
                  </a:schemeClr>
                </a:solidFill>
              </a:rPr>
              <a:t>(line </a:t>
            </a:r>
            <a:r>
              <a:rPr lang="en-US" sz="2000" dirty="0">
                <a:solidFill>
                  <a:schemeClr val="tx1">
                    <a:lumMod val="65000"/>
                    <a:lumOff val="35000"/>
                  </a:schemeClr>
                </a:solidFill>
              </a:rPr>
              <a:t>=&gt; line.contains</a:t>
            </a:r>
            <a:r>
              <a:rPr lang="en-US" sz="2000" dirty="0" smtClean="0">
                <a:solidFill>
                  <a:schemeClr val="tx1">
                    <a:lumMod val="65000"/>
                    <a:lumOff val="35000"/>
                  </a:schemeClr>
                </a:solidFill>
              </a:rPr>
              <a:t>(“Error")).</a:t>
            </a:r>
            <a:r>
              <a:rPr lang="en-US" sz="2000" dirty="0">
                <a:solidFill>
                  <a:schemeClr val="accent3">
                    <a:lumMod val="75000"/>
                  </a:schemeClr>
                </a:solidFill>
              </a:rPr>
              <a:t>collec</a:t>
            </a:r>
            <a:r>
              <a:rPr lang="en-US" sz="2000" dirty="0">
                <a:solidFill>
                  <a:schemeClr val="tx1">
                    <a:lumMod val="65000"/>
                    <a:lumOff val="35000"/>
                  </a:schemeClr>
                </a:solidFill>
              </a:rPr>
              <a:t>t()</a:t>
            </a:r>
            <a:endParaRPr lang="en-US" sz="2000" dirty="0" smtClean="0">
              <a:solidFill>
                <a:schemeClr val="tx1">
                  <a:lumMod val="65000"/>
                  <a:lumOff val="35000"/>
                </a:schemeClr>
              </a:solidFill>
            </a:endParaRPr>
          </a:p>
        </p:txBody>
      </p:sp>
      <p:sp>
        <p:nvSpPr>
          <p:cNvPr id="5" name="TextBox 4"/>
          <p:cNvSpPr txBox="1"/>
          <p:nvPr/>
        </p:nvSpPr>
        <p:spPr>
          <a:xfrm>
            <a:off x="799291" y="1395872"/>
            <a:ext cx="6278403" cy="707886"/>
          </a:xfrm>
          <a:prstGeom prst="rect">
            <a:avLst/>
          </a:prstGeom>
          <a:solidFill>
            <a:schemeClr val="bg2">
              <a:lumMod val="50000"/>
            </a:schemeClr>
          </a:solidFill>
        </p:spPr>
        <p:txBody>
          <a:bodyPr wrap="square">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2"/>
              </a:buBlip>
              <a:tabLst>
                <a:tab pos="645523" algn="l"/>
              </a:tabLst>
              <a:defRPr sz="20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vl3pPr marL="1200150" lvl="2" indent="-285750">
              <a:spcAft>
                <a:spcPts val="600"/>
              </a:spcAft>
              <a:buFont typeface="Arial" panose="020B0604020202020204" pitchFamily="34" charset="0"/>
              <a:buChar char="•"/>
              <a:defRPr>
                <a:ln>
                  <a:solidFill>
                    <a:srgbClr val="FFFFFF">
                      <a:alpha val="0"/>
                    </a:srgbClr>
                  </a:solidFill>
                </a:ln>
                <a:solidFill>
                  <a:schemeClr val="tx1">
                    <a:lumMod val="65000"/>
                    <a:lumOff val="35000"/>
                  </a:schemeClr>
                </a:solidFill>
                <a:ea typeface="Segoe UI" pitchFamily="34" charset="0"/>
                <a:cs typeface="Segoe UI" pitchFamily="34" charset="0"/>
              </a:defRPr>
            </a:lvl3pPr>
          </a:lstStyle>
          <a:p>
            <a:pPr algn="ctr"/>
            <a:r>
              <a:rPr lang="en-US" sz="2000" dirty="0">
                <a:ln>
                  <a:solidFill>
                    <a:srgbClr val="FFFFFF">
                      <a:alpha val="0"/>
                    </a:srgbClr>
                  </a:solidFill>
                </a:ln>
                <a:solidFill>
                  <a:schemeClr val="bg1"/>
                </a:solidFill>
                <a:ea typeface="Segoe UI" pitchFamily="34" charset="0"/>
                <a:cs typeface="Segoe UI" pitchFamily="34" charset="0"/>
              </a:rPr>
              <a:t>Sample code to </a:t>
            </a:r>
            <a:r>
              <a:rPr lang="en-US" sz="2000" dirty="0" smtClean="0">
                <a:ln>
                  <a:solidFill>
                    <a:srgbClr val="FFFFFF">
                      <a:alpha val="0"/>
                    </a:srgbClr>
                  </a:solidFill>
                </a:ln>
                <a:solidFill>
                  <a:schemeClr val="bg1"/>
                </a:solidFill>
                <a:ea typeface="Segoe UI" pitchFamily="34" charset="0"/>
                <a:cs typeface="Segoe UI" pitchFamily="34" charset="0"/>
              </a:rPr>
              <a:t>search through error messages in a log file (stored in HDFS)</a:t>
            </a:r>
            <a:endParaRPr lang="en-US" sz="2000" dirty="0">
              <a:ln>
                <a:solidFill>
                  <a:srgbClr val="FFFFFF">
                    <a:alpha val="0"/>
                  </a:srgbClr>
                </a:solidFill>
              </a:ln>
              <a:solidFill>
                <a:schemeClr val="bg1"/>
              </a:solidFill>
              <a:ea typeface="Segoe UI" pitchFamily="34" charset="0"/>
              <a:cs typeface="Segoe UI" pitchFamily="34" charset="0"/>
            </a:endParaRPr>
          </a:p>
        </p:txBody>
      </p:sp>
      <p:sp>
        <p:nvSpPr>
          <p:cNvPr id="6" name="TextBox 5"/>
          <p:cNvSpPr txBox="1"/>
          <p:nvPr/>
        </p:nvSpPr>
        <p:spPr>
          <a:xfrm>
            <a:off x="7897090" y="3232265"/>
            <a:ext cx="3883232" cy="1187532"/>
          </a:xfrm>
          <a:prstGeom prst="rect">
            <a:avLst/>
          </a:prstGeom>
          <a:noFill/>
          <a:ln>
            <a:solidFill>
              <a:schemeClr val="accent1"/>
            </a:solidFill>
          </a:ln>
        </p:spPr>
        <p:txBody>
          <a:bodyPr wrap="none" lIns="182880" tIns="146304" rIns="182880" bIns="146304" rtlCol="0">
            <a:noAutofit/>
          </a:bodyPr>
          <a:lstStyle/>
          <a:p>
            <a:pPr>
              <a:lnSpc>
                <a:spcPct val="90000"/>
              </a:lnSpc>
              <a:spcAft>
                <a:spcPts val="600"/>
              </a:spcAft>
            </a:pPr>
            <a:r>
              <a:rPr lang="en-US" sz="2000" dirty="0">
                <a:ln>
                  <a:solidFill>
                    <a:srgbClr val="FFFFFF">
                      <a:alpha val="0"/>
                    </a:srgbClr>
                  </a:solidFill>
                </a:ln>
                <a:solidFill>
                  <a:schemeClr val="tx1">
                    <a:lumMod val="75000"/>
                    <a:lumOff val="25000"/>
                  </a:schemeClr>
                </a:solidFill>
                <a:latin typeface="Segoe UI Semibold" panose="020B0702040204020203" pitchFamily="34" charset="0"/>
                <a:ea typeface="Segoe UI" pitchFamily="34" charset="0"/>
                <a:cs typeface="Segoe UI" pitchFamily="34" charset="0"/>
              </a:rPr>
              <a:t>Transformation: </a:t>
            </a:r>
            <a:r>
              <a:rPr lang="en-US" sz="2000" dirty="0" smtClean="0">
                <a:ln>
                  <a:solidFill>
                    <a:srgbClr val="FFFFFF">
                      <a:alpha val="0"/>
                    </a:srgbClr>
                  </a:solidFill>
                </a:ln>
                <a:solidFill>
                  <a:schemeClr val="tx1">
                    <a:lumMod val="75000"/>
                    <a:lumOff val="25000"/>
                  </a:schemeClr>
                </a:solidFill>
                <a:ea typeface="Segoe UI" pitchFamily="34" charset="0"/>
                <a:cs typeface="Segoe UI" pitchFamily="34" charset="0"/>
              </a:rPr>
              <a:t>hdfs(), filter()</a:t>
            </a:r>
            <a:endParaRPr lang="en-US" sz="2000" dirty="0">
              <a:ln>
                <a:solidFill>
                  <a:srgbClr val="FFFFFF">
                    <a:alpha val="0"/>
                  </a:srgbClr>
                </a:solidFill>
              </a:ln>
              <a:solidFill>
                <a:schemeClr val="tx1">
                  <a:lumMod val="75000"/>
                  <a:lumOff val="25000"/>
                </a:schemeClr>
              </a:solidFill>
              <a:ea typeface="Segoe UI" pitchFamily="34" charset="0"/>
              <a:cs typeface="Segoe UI" pitchFamily="34" charset="0"/>
            </a:endParaRPr>
          </a:p>
          <a:p>
            <a:pPr>
              <a:lnSpc>
                <a:spcPct val="90000"/>
              </a:lnSpc>
              <a:spcAft>
                <a:spcPts val="600"/>
              </a:spcAft>
            </a:pPr>
            <a:r>
              <a:rPr lang="en-US" sz="2000" dirty="0">
                <a:ln>
                  <a:solidFill>
                    <a:srgbClr val="FFFFFF">
                      <a:alpha val="0"/>
                    </a:srgbClr>
                  </a:solidFill>
                </a:ln>
                <a:solidFill>
                  <a:schemeClr val="tx1">
                    <a:lumMod val="75000"/>
                    <a:lumOff val="25000"/>
                  </a:schemeClr>
                </a:solidFill>
                <a:latin typeface="Segoe UI Semibold" panose="020B0702040204020203" pitchFamily="34" charset="0"/>
                <a:ea typeface="Segoe UI" pitchFamily="34" charset="0"/>
                <a:cs typeface="Segoe UI" pitchFamily="34" charset="0"/>
              </a:rPr>
              <a:t>Action: </a:t>
            </a:r>
            <a:r>
              <a:rPr lang="en-US" sz="2000" dirty="0" smtClean="0">
                <a:ln>
                  <a:solidFill>
                    <a:srgbClr val="FFFFFF">
                      <a:alpha val="0"/>
                    </a:srgbClr>
                  </a:solidFill>
                </a:ln>
                <a:solidFill>
                  <a:schemeClr val="tx1">
                    <a:lumMod val="75000"/>
                    <a:lumOff val="25000"/>
                  </a:schemeClr>
                </a:solidFill>
                <a:ea typeface="Segoe UI" pitchFamily="34" charset="0"/>
                <a:cs typeface="Segoe UI" pitchFamily="34" charset="0"/>
              </a:rPr>
              <a:t>count(), collect()</a:t>
            </a:r>
            <a:endParaRPr lang="en-US" sz="2000" dirty="0">
              <a:ln>
                <a:solidFill>
                  <a:srgbClr val="FFFFFF">
                    <a:alpha val="0"/>
                  </a:srgbClr>
                </a:solidFill>
              </a:ln>
              <a:solidFill>
                <a:schemeClr val="tx1">
                  <a:lumMod val="75000"/>
                  <a:lumOff val="25000"/>
                </a:schemeClr>
              </a:solidFill>
              <a:ea typeface="Segoe UI" pitchFamily="34" charset="0"/>
              <a:cs typeface="Segoe UI" pitchFamily="34" charset="0"/>
            </a:endParaRPr>
          </a:p>
          <a:p>
            <a:pPr>
              <a:lnSpc>
                <a:spcPct val="90000"/>
              </a:lnSpc>
              <a:spcAft>
                <a:spcPts val="600"/>
              </a:spcAft>
            </a:pPr>
            <a:r>
              <a:rPr lang="en-US" sz="2000" dirty="0" smtClean="0">
                <a:ln>
                  <a:solidFill>
                    <a:srgbClr val="FFFFFF">
                      <a:alpha val="0"/>
                    </a:srgbClr>
                  </a:solidFill>
                </a:ln>
                <a:solidFill>
                  <a:schemeClr val="tx1">
                    <a:lumMod val="75000"/>
                    <a:lumOff val="25000"/>
                  </a:schemeClr>
                </a:solidFill>
                <a:latin typeface="Segoe UI Semibold" panose="020B0702040204020203" pitchFamily="34" charset="0"/>
                <a:ea typeface="Segoe UI" pitchFamily="34" charset="0"/>
                <a:cs typeface="Segoe UI" pitchFamily="34" charset="0"/>
              </a:rPr>
              <a:t>Cache()</a:t>
            </a:r>
            <a:r>
              <a:rPr lang="en-US" sz="2000" dirty="0" smtClean="0">
                <a:ln>
                  <a:solidFill>
                    <a:srgbClr val="FFFFFF">
                      <a:alpha val="0"/>
                    </a:srgbClr>
                  </a:solidFill>
                </a:ln>
                <a:solidFill>
                  <a:schemeClr val="tx1">
                    <a:lumMod val="75000"/>
                    <a:lumOff val="25000"/>
                  </a:schemeClr>
                </a:solidFill>
                <a:ea typeface="Segoe UI" pitchFamily="34" charset="0"/>
                <a:cs typeface="Segoe UI" pitchFamily="34" charset="0"/>
              </a:rPr>
              <a:t> </a:t>
            </a:r>
            <a:r>
              <a:rPr lang="en-US" sz="2000" dirty="0">
                <a:ln>
                  <a:solidFill>
                    <a:srgbClr val="FFFFFF">
                      <a:alpha val="0"/>
                    </a:srgbClr>
                  </a:solidFill>
                </a:ln>
                <a:solidFill>
                  <a:schemeClr val="tx1">
                    <a:lumMod val="75000"/>
                    <a:lumOff val="25000"/>
                  </a:schemeClr>
                </a:solidFill>
                <a:ea typeface="Segoe UI" pitchFamily="34" charset="0"/>
                <a:cs typeface="Segoe UI" pitchFamily="34" charset="0"/>
              </a:rPr>
              <a:t>is a method</a:t>
            </a:r>
          </a:p>
        </p:txBody>
      </p:sp>
    </p:spTree>
    <p:extLst>
      <p:ext uri="{BB962C8B-B14F-4D97-AF65-F5344CB8AC3E}">
        <p14:creationId xmlns:p14="http://schemas.microsoft.com/office/powerpoint/2010/main" val="2658219353"/>
      </p:ext>
    </p:extLst>
  </p:cSld>
  <p:clrMapOvr>
    <a:masterClrMapping/>
  </p:clrMapOvr>
  <p:transition spd="med">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DD Transformations (1)</a:t>
            </a:r>
            <a:endParaRPr lang="en-US" dirty="0"/>
          </a:p>
        </p:txBody>
      </p:sp>
      <p:sp>
        <p:nvSpPr>
          <p:cNvPr id="3" name="Slide Number Placeholder 2"/>
          <p:cNvSpPr>
            <a:spLocks noGrp="1"/>
          </p:cNvSpPr>
          <p:nvPr>
            <p:ph type="sldNum" sz="quarter" idx="11"/>
          </p:nvPr>
        </p:nvSpPr>
        <p:spPr/>
        <p:txBody>
          <a:bodyPr/>
          <a:lstStyle/>
          <a:p>
            <a:pPr>
              <a:defRPr/>
            </a:pPr>
            <a:fld id="{F8A0AC42-AA1D-4944-8D96-660DE70C7E1B}" type="slidenum">
              <a:rPr lang="en-US" smtClean="0"/>
              <a:pPr>
                <a:defRPr/>
              </a:pPr>
              <a:t>18</a:t>
            </a:fld>
            <a:endParaRPr lang="en-US" dirty="0"/>
          </a:p>
        </p:txBody>
      </p:sp>
      <p:graphicFrame>
        <p:nvGraphicFramePr>
          <p:cNvPr id="5" name="Table 4"/>
          <p:cNvGraphicFramePr>
            <a:graphicFrameLocks noGrp="1"/>
          </p:cNvGraphicFramePr>
          <p:nvPr>
            <p:extLst>
              <p:ext uri="{D42A27DB-BD31-4B8C-83A1-F6EECF244321}">
                <p14:modId xmlns:p14="http://schemas.microsoft.com/office/powerpoint/2010/main" val="687443309"/>
              </p:ext>
            </p:extLst>
          </p:nvPr>
        </p:nvGraphicFramePr>
        <p:xfrm>
          <a:off x="914400" y="1385936"/>
          <a:ext cx="10162572" cy="4829668"/>
        </p:xfrm>
        <a:graphic>
          <a:graphicData uri="http://schemas.openxmlformats.org/drawingml/2006/table">
            <a:tbl>
              <a:tblPr firstRow="1" bandRow="1">
                <a:tableStyleId>{5C22544A-7EE6-4342-B048-85BDC9FD1C3A}</a:tableStyleId>
              </a:tblPr>
              <a:tblGrid>
                <a:gridCol w="2789499"/>
                <a:gridCol w="7373073"/>
              </a:tblGrid>
              <a:tr h="425290">
                <a:tc>
                  <a:txBody>
                    <a:bodyPr/>
                    <a:lstStyle/>
                    <a:p>
                      <a:pPr algn="ctr"/>
                      <a:r>
                        <a:rPr lang="en-US" dirty="0" smtClean="0"/>
                        <a:t>Transformation</a:t>
                      </a:r>
                      <a:endParaRPr lang="en-US" dirty="0"/>
                    </a:p>
                  </a:txBody>
                  <a:tcPr/>
                </a:tc>
                <a:tc>
                  <a:txBody>
                    <a:bodyPr/>
                    <a:lstStyle/>
                    <a:p>
                      <a:pPr algn="ctr"/>
                      <a:r>
                        <a:rPr lang="en-US" dirty="0" smtClean="0"/>
                        <a:t>Description</a:t>
                      </a:r>
                      <a:endParaRPr lang="en-US" dirty="0"/>
                    </a:p>
                  </a:txBody>
                  <a:tcPr/>
                </a:tc>
              </a:tr>
              <a:tr h="734063">
                <a:tc>
                  <a:txBody>
                    <a:bodyPr/>
                    <a:lstStyle/>
                    <a:p>
                      <a:r>
                        <a:rPr lang="en-US" sz="1600" dirty="0" smtClean="0">
                          <a:solidFill>
                            <a:schemeClr val="tx1">
                              <a:lumMod val="65000"/>
                              <a:lumOff val="35000"/>
                            </a:schemeClr>
                          </a:solidFill>
                          <a:latin typeface="+mn-lt"/>
                        </a:rPr>
                        <a:t>map(</a:t>
                      </a:r>
                      <a:r>
                        <a:rPr lang="en-US" sz="1600" i="1" dirty="0" smtClean="0">
                          <a:solidFill>
                            <a:schemeClr val="tx1">
                              <a:lumMod val="65000"/>
                              <a:lumOff val="35000"/>
                            </a:schemeClr>
                          </a:solidFill>
                          <a:latin typeface="+mn-lt"/>
                        </a:rPr>
                        <a:t>func</a:t>
                      </a:r>
                      <a:r>
                        <a:rPr lang="en-US" sz="1600" dirty="0" smtClean="0">
                          <a:solidFill>
                            <a:schemeClr val="tx1">
                              <a:lumMod val="65000"/>
                              <a:lumOff val="35000"/>
                            </a:schemeClr>
                          </a:solidFill>
                          <a:latin typeface="+mn-lt"/>
                        </a:rPr>
                        <a:t>)</a:t>
                      </a:r>
                      <a:endParaRPr lang="en-US" sz="1600" dirty="0">
                        <a:solidFill>
                          <a:schemeClr val="tx1">
                            <a:lumMod val="65000"/>
                            <a:lumOff val="35000"/>
                          </a:schemeClr>
                        </a:solidFill>
                        <a:latin typeface="+mn-lt"/>
                      </a:endParaRPr>
                    </a:p>
                  </a:txBody>
                  <a:tcPr anchor="ctr"/>
                </a:tc>
                <a:tc>
                  <a:txBody>
                    <a:bodyPr/>
                    <a:lstStyle/>
                    <a:p>
                      <a:r>
                        <a:rPr lang="en-US" sz="1600" dirty="0" smtClean="0">
                          <a:solidFill>
                            <a:schemeClr val="tx1">
                              <a:lumMod val="65000"/>
                              <a:lumOff val="35000"/>
                            </a:schemeClr>
                          </a:solidFill>
                          <a:latin typeface="+mn-lt"/>
                        </a:rPr>
                        <a:t>return a new distributed dataset formed by passing</a:t>
                      </a:r>
                      <a:r>
                        <a:rPr lang="en-US" sz="1600" baseline="0" dirty="0" smtClean="0">
                          <a:solidFill>
                            <a:schemeClr val="tx1">
                              <a:lumMod val="65000"/>
                              <a:lumOff val="35000"/>
                            </a:schemeClr>
                          </a:solidFill>
                          <a:latin typeface="+mn-lt"/>
                        </a:rPr>
                        <a:t> </a:t>
                      </a:r>
                      <a:r>
                        <a:rPr lang="en-US" sz="1600" dirty="0" smtClean="0">
                          <a:solidFill>
                            <a:schemeClr val="tx1">
                              <a:lumMod val="65000"/>
                              <a:lumOff val="35000"/>
                            </a:schemeClr>
                          </a:solidFill>
                          <a:latin typeface="+mn-lt"/>
                        </a:rPr>
                        <a:t>each element of the source through a function </a:t>
                      </a:r>
                      <a:r>
                        <a:rPr lang="en-US" sz="1600" i="1" dirty="0" smtClean="0">
                          <a:solidFill>
                            <a:schemeClr val="tx1">
                              <a:lumMod val="65000"/>
                              <a:lumOff val="35000"/>
                            </a:schemeClr>
                          </a:solidFill>
                          <a:latin typeface="+mn-lt"/>
                        </a:rPr>
                        <a:t>func</a:t>
                      </a:r>
                    </a:p>
                  </a:txBody>
                  <a:tcPr anchor="ctr"/>
                </a:tc>
              </a:tr>
              <a:tr h="734063">
                <a:tc>
                  <a:txBody>
                    <a:bodyPr/>
                    <a:lstStyle/>
                    <a:p>
                      <a:r>
                        <a:rPr lang="en-US" sz="1600" dirty="0" smtClean="0">
                          <a:solidFill>
                            <a:schemeClr val="tx1">
                              <a:lumMod val="65000"/>
                              <a:lumOff val="35000"/>
                            </a:schemeClr>
                          </a:solidFill>
                          <a:latin typeface="+mn-lt"/>
                        </a:rPr>
                        <a:t>filter(</a:t>
                      </a:r>
                      <a:r>
                        <a:rPr lang="en-US" sz="1600" i="1" dirty="0" smtClean="0">
                          <a:solidFill>
                            <a:schemeClr val="tx1">
                              <a:lumMod val="65000"/>
                              <a:lumOff val="35000"/>
                            </a:schemeClr>
                          </a:solidFill>
                          <a:latin typeface="+mn-lt"/>
                        </a:rPr>
                        <a:t>func</a:t>
                      </a:r>
                      <a:r>
                        <a:rPr lang="en-US" sz="1600" dirty="0" smtClean="0">
                          <a:solidFill>
                            <a:schemeClr val="tx1">
                              <a:lumMod val="65000"/>
                              <a:lumOff val="35000"/>
                            </a:schemeClr>
                          </a:solidFill>
                          <a:latin typeface="+mn-lt"/>
                        </a:rPr>
                        <a:t>)</a:t>
                      </a:r>
                      <a:endParaRPr lang="en-US" sz="1600" dirty="0">
                        <a:solidFill>
                          <a:schemeClr val="tx1">
                            <a:lumMod val="65000"/>
                            <a:lumOff val="35000"/>
                          </a:schemeClr>
                        </a:solidFill>
                        <a:latin typeface="+mn-lt"/>
                      </a:endParaRPr>
                    </a:p>
                  </a:txBody>
                  <a:tcPr anchor="ctr"/>
                </a:tc>
                <a:tc>
                  <a:txBody>
                    <a:bodyPr/>
                    <a:lstStyle/>
                    <a:p>
                      <a:r>
                        <a:rPr lang="en-US" sz="1600" dirty="0" smtClean="0">
                          <a:solidFill>
                            <a:schemeClr val="tx1">
                              <a:lumMod val="65000"/>
                              <a:lumOff val="35000"/>
                            </a:schemeClr>
                          </a:solidFill>
                          <a:latin typeface="+mn-lt"/>
                        </a:rPr>
                        <a:t>return a new dataset formed by selecting those</a:t>
                      </a:r>
                      <a:r>
                        <a:rPr lang="en-US" sz="1600" baseline="0" dirty="0" smtClean="0">
                          <a:solidFill>
                            <a:schemeClr val="tx1">
                              <a:lumMod val="65000"/>
                              <a:lumOff val="35000"/>
                            </a:schemeClr>
                          </a:solidFill>
                          <a:latin typeface="+mn-lt"/>
                        </a:rPr>
                        <a:t> </a:t>
                      </a:r>
                      <a:r>
                        <a:rPr lang="en-US" sz="1600" dirty="0" smtClean="0">
                          <a:solidFill>
                            <a:schemeClr val="tx1">
                              <a:lumMod val="65000"/>
                              <a:lumOff val="35000"/>
                            </a:schemeClr>
                          </a:solidFill>
                          <a:latin typeface="+mn-lt"/>
                        </a:rPr>
                        <a:t>elements of the source on which </a:t>
                      </a:r>
                      <a:r>
                        <a:rPr lang="en-US" sz="1600" i="1" dirty="0" smtClean="0">
                          <a:solidFill>
                            <a:schemeClr val="tx1">
                              <a:lumMod val="65000"/>
                              <a:lumOff val="35000"/>
                            </a:schemeClr>
                          </a:solidFill>
                          <a:latin typeface="+mn-lt"/>
                        </a:rPr>
                        <a:t>func </a:t>
                      </a:r>
                      <a:r>
                        <a:rPr lang="en-US" sz="1600" dirty="0" smtClean="0">
                          <a:solidFill>
                            <a:schemeClr val="tx1">
                              <a:lumMod val="65000"/>
                              <a:lumOff val="35000"/>
                            </a:schemeClr>
                          </a:solidFill>
                          <a:latin typeface="+mn-lt"/>
                        </a:rPr>
                        <a:t>returns true</a:t>
                      </a:r>
                    </a:p>
                  </a:txBody>
                  <a:tcPr anchor="ctr"/>
                </a:tc>
              </a:tr>
              <a:tr h="734063">
                <a:tc>
                  <a:txBody>
                    <a:bodyPr/>
                    <a:lstStyle/>
                    <a:p>
                      <a:r>
                        <a:rPr lang="en-US" sz="1600" dirty="0" smtClean="0">
                          <a:solidFill>
                            <a:schemeClr val="tx1">
                              <a:lumMod val="65000"/>
                              <a:lumOff val="35000"/>
                            </a:schemeClr>
                          </a:solidFill>
                          <a:latin typeface="+mn-lt"/>
                        </a:rPr>
                        <a:t>flatmap(</a:t>
                      </a:r>
                      <a:r>
                        <a:rPr lang="en-US" sz="1600" i="1" dirty="0" smtClean="0">
                          <a:solidFill>
                            <a:schemeClr val="tx1">
                              <a:lumMod val="65000"/>
                              <a:lumOff val="35000"/>
                            </a:schemeClr>
                          </a:solidFill>
                          <a:latin typeface="+mn-lt"/>
                        </a:rPr>
                        <a:t>func</a:t>
                      </a:r>
                      <a:r>
                        <a:rPr lang="en-US" sz="1600" dirty="0" smtClean="0">
                          <a:solidFill>
                            <a:schemeClr val="tx1">
                              <a:lumMod val="65000"/>
                              <a:lumOff val="35000"/>
                            </a:schemeClr>
                          </a:solidFill>
                          <a:latin typeface="+mn-lt"/>
                        </a:rPr>
                        <a:t>)</a:t>
                      </a:r>
                      <a:endParaRPr lang="en-US" sz="1600" dirty="0">
                        <a:solidFill>
                          <a:schemeClr val="tx1">
                            <a:lumMod val="65000"/>
                            <a:lumOff val="35000"/>
                          </a:schemeClr>
                        </a:solidFill>
                        <a:latin typeface="+mn-lt"/>
                      </a:endParaRPr>
                    </a:p>
                  </a:txBody>
                  <a:tcPr anchor="ctr"/>
                </a:tc>
                <a:tc>
                  <a:txBody>
                    <a:bodyPr/>
                    <a:lstStyle/>
                    <a:p>
                      <a:r>
                        <a:rPr lang="en-US" sz="1600" dirty="0" smtClean="0">
                          <a:solidFill>
                            <a:schemeClr val="tx1">
                              <a:lumMod val="65000"/>
                              <a:lumOff val="35000"/>
                            </a:schemeClr>
                          </a:solidFill>
                          <a:latin typeface="+mn-lt"/>
                        </a:rPr>
                        <a:t>similar to map, but each input item can be mapped</a:t>
                      </a:r>
                      <a:r>
                        <a:rPr lang="en-US" sz="1600" baseline="0" dirty="0" smtClean="0">
                          <a:solidFill>
                            <a:schemeClr val="tx1">
                              <a:lumMod val="65000"/>
                              <a:lumOff val="35000"/>
                            </a:schemeClr>
                          </a:solidFill>
                          <a:latin typeface="+mn-lt"/>
                        </a:rPr>
                        <a:t> </a:t>
                      </a:r>
                      <a:r>
                        <a:rPr lang="en-US" sz="1600" dirty="0" smtClean="0">
                          <a:solidFill>
                            <a:schemeClr val="tx1">
                              <a:lumMod val="65000"/>
                              <a:lumOff val="35000"/>
                            </a:schemeClr>
                          </a:solidFill>
                          <a:latin typeface="+mn-lt"/>
                        </a:rPr>
                        <a:t>to 0 or more output items (so </a:t>
                      </a:r>
                      <a:r>
                        <a:rPr lang="en-US" sz="1600" i="1" dirty="0" smtClean="0">
                          <a:solidFill>
                            <a:schemeClr val="tx1">
                              <a:lumMod val="65000"/>
                              <a:lumOff val="35000"/>
                            </a:schemeClr>
                          </a:solidFill>
                          <a:latin typeface="+mn-lt"/>
                        </a:rPr>
                        <a:t>func </a:t>
                      </a:r>
                      <a:r>
                        <a:rPr lang="en-US" sz="1600" dirty="0" smtClean="0">
                          <a:solidFill>
                            <a:schemeClr val="tx1">
                              <a:lumMod val="65000"/>
                              <a:lumOff val="35000"/>
                            </a:schemeClr>
                          </a:solidFill>
                          <a:latin typeface="+mn-lt"/>
                        </a:rPr>
                        <a:t>should return a</a:t>
                      </a:r>
                      <a:r>
                        <a:rPr lang="en-US" sz="1600" baseline="0" dirty="0" smtClean="0">
                          <a:solidFill>
                            <a:schemeClr val="tx1">
                              <a:lumMod val="65000"/>
                              <a:lumOff val="35000"/>
                            </a:schemeClr>
                          </a:solidFill>
                          <a:latin typeface="+mn-lt"/>
                        </a:rPr>
                        <a:t> </a:t>
                      </a:r>
                      <a:r>
                        <a:rPr lang="en-US" sz="1600" dirty="0" smtClean="0">
                          <a:solidFill>
                            <a:schemeClr val="tx1">
                              <a:lumMod val="65000"/>
                              <a:lumOff val="35000"/>
                            </a:schemeClr>
                          </a:solidFill>
                          <a:latin typeface="+mn-lt"/>
                        </a:rPr>
                        <a:t>Seq rather than a single item)</a:t>
                      </a:r>
                    </a:p>
                  </a:txBody>
                  <a:tcPr anchor="ctr"/>
                </a:tc>
              </a:tr>
              <a:tr h="734063">
                <a:tc>
                  <a:txBody>
                    <a:bodyPr/>
                    <a:lstStyle/>
                    <a:p>
                      <a:r>
                        <a:rPr lang="en-US" sz="1600" b="0" dirty="0" smtClean="0">
                          <a:solidFill>
                            <a:schemeClr val="tx1">
                              <a:lumMod val="65000"/>
                              <a:lumOff val="35000"/>
                            </a:schemeClr>
                          </a:solidFill>
                          <a:latin typeface="+mn-lt"/>
                        </a:rPr>
                        <a:t>sample(</a:t>
                      </a:r>
                      <a:r>
                        <a:rPr lang="en-US" sz="1600" b="0" i="1" dirty="0" smtClean="0">
                          <a:solidFill>
                            <a:schemeClr val="tx1">
                              <a:lumMod val="65000"/>
                              <a:lumOff val="35000"/>
                            </a:schemeClr>
                          </a:solidFill>
                          <a:latin typeface="+mn-lt"/>
                        </a:rPr>
                        <a:t>withReplacement</a:t>
                      </a:r>
                      <a:r>
                        <a:rPr lang="en-US" sz="1600" b="0" dirty="0" smtClean="0">
                          <a:solidFill>
                            <a:schemeClr val="tx1">
                              <a:lumMod val="65000"/>
                              <a:lumOff val="35000"/>
                            </a:schemeClr>
                          </a:solidFill>
                          <a:latin typeface="+mn-lt"/>
                        </a:rPr>
                        <a:t>,</a:t>
                      </a:r>
                    </a:p>
                    <a:p>
                      <a:r>
                        <a:rPr lang="en-US" sz="1600" b="0" i="1" dirty="0" smtClean="0">
                          <a:solidFill>
                            <a:schemeClr val="tx1">
                              <a:lumMod val="65000"/>
                              <a:lumOff val="35000"/>
                            </a:schemeClr>
                          </a:solidFill>
                          <a:latin typeface="+mn-lt"/>
                        </a:rPr>
                        <a:t>fraction</a:t>
                      </a:r>
                      <a:r>
                        <a:rPr lang="en-US" sz="1600" b="0" dirty="0" smtClean="0">
                          <a:solidFill>
                            <a:schemeClr val="tx1">
                              <a:lumMod val="65000"/>
                              <a:lumOff val="35000"/>
                            </a:schemeClr>
                          </a:solidFill>
                          <a:latin typeface="+mn-lt"/>
                        </a:rPr>
                        <a:t>, </a:t>
                      </a:r>
                      <a:r>
                        <a:rPr lang="en-US" sz="1600" b="0" i="1" dirty="0" smtClean="0">
                          <a:solidFill>
                            <a:schemeClr val="tx1">
                              <a:lumMod val="65000"/>
                              <a:lumOff val="35000"/>
                            </a:schemeClr>
                          </a:solidFill>
                          <a:latin typeface="+mn-lt"/>
                        </a:rPr>
                        <a:t>seed</a:t>
                      </a:r>
                      <a:r>
                        <a:rPr lang="en-US" sz="1600" b="0" dirty="0" smtClean="0">
                          <a:solidFill>
                            <a:schemeClr val="tx1">
                              <a:lumMod val="65000"/>
                              <a:lumOff val="35000"/>
                            </a:schemeClr>
                          </a:solidFill>
                          <a:latin typeface="+mn-lt"/>
                        </a:rPr>
                        <a:t>)</a:t>
                      </a:r>
                    </a:p>
                  </a:txBody>
                  <a:tcPr anchor="ctr"/>
                </a:tc>
                <a:tc>
                  <a:txBody>
                    <a:bodyPr/>
                    <a:lstStyle/>
                    <a:p>
                      <a:r>
                        <a:rPr lang="en-US" sz="1600" dirty="0" smtClean="0">
                          <a:solidFill>
                            <a:schemeClr val="tx1">
                              <a:lumMod val="65000"/>
                              <a:lumOff val="35000"/>
                            </a:schemeClr>
                          </a:solidFill>
                          <a:latin typeface="+mn-lt"/>
                        </a:rPr>
                        <a:t>sample a fraction of the data, with or without</a:t>
                      </a:r>
                      <a:r>
                        <a:rPr lang="en-US" sz="1600" baseline="0" dirty="0" smtClean="0">
                          <a:solidFill>
                            <a:schemeClr val="tx1">
                              <a:lumMod val="65000"/>
                              <a:lumOff val="35000"/>
                            </a:schemeClr>
                          </a:solidFill>
                          <a:latin typeface="+mn-lt"/>
                        </a:rPr>
                        <a:t> </a:t>
                      </a:r>
                      <a:r>
                        <a:rPr lang="en-US" sz="1600" dirty="0" smtClean="0">
                          <a:solidFill>
                            <a:schemeClr val="tx1">
                              <a:lumMod val="65000"/>
                              <a:lumOff val="35000"/>
                            </a:schemeClr>
                          </a:solidFill>
                          <a:latin typeface="+mn-lt"/>
                        </a:rPr>
                        <a:t>replacement, using a given random number generator</a:t>
                      </a:r>
                      <a:r>
                        <a:rPr lang="en-US" sz="1600" baseline="0" dirty="0" smtClean="0">
                          <a:solidFill>
                            <a:schemeClr val="tx1">
                              <a:lumMod val="65000"/>
                              <a:lumOff val="35000"/>
                            </a:schemeClr>
                          </a:solidFill>
                          <a:latin typeface="+mn-lt"/>
                        </a:rPr>
                        <a:t> </a:t>
                      </a:r>
                      <a:r>
                        <a:rPr lang="en-US" sz="1600" i="1" dirty="0" smtClean="0">
                          <a:solidFill>
                            <a:schemeClr val="tx1">
                              <a:lumMod val="65000"/>
                              <a:lumOff val="35000"/>
                            </a:schemeClr>
                          </a:solidFill>
                          <a:latin typeface="+mn-lt"/>
                        </a:rPr>
                        <a:t>seed</a:t>
                      </a:r>
                    </a:p>
                  </a:txBody>
                  <a:tcPr anchor="ctr"/>
                </a:tc>
              </a:tr>
              <a:tr h="734063">
                <a:tc>
                  <a:txBody>
                    <a:bodyPr/>
                    <a:lstStyle/>
                    <a:p>
                      <a:r>
                        <a:rPr lang="en-US" sz="1600" dirty="0" smtClean="0">
                          <a:solidFill>
                            <a:schemeClr val="tx1">
                              <a:lumMod val="65000"/>
                              <a:lumOff val="35000"/>
                            </a:schemeClr>
                          </a:solidFill>
                          <a:latin typeface="+mn-lt"/>
                        </a:rPr>
                        <a:t>union(</a:t>
                      </a:r>
                      <a:r>
                        <a:rPr lang="en-US" sz="1600" i="1" dirty="0" smtClean="0">
                          <a:solidFill>
                            <a:schemeClr val="tx1">
                              <a:lumMod val="65000"/>
                              <a:lumOff val="35000"/>
                            </a:schemeClr>
                          </a:solidFill>
                          <a:latin typeface="+mn-lt"/>
                        </a:rPr>
                        <a:t>otherDataset</a:t>
                      </a:r>
                      <a:r>
                        <a:rPr lang="en-US" sz="1600" dirty="0" smtClean="0">
                          <a:solidFill>
                            <a:schemeClr val="tx1">
                              <a:lumMod val="65000"/>
                              <a:lumOff val="35000"/>
                            </a:schemeClr>
                          </a:solidFill>
                          <a:latin typeface="+mn-lt"/>
                        </a:rPr>
                        <a:t>)</a:t>
                      </a:r>
                      <a:endParaRPr lang="en-US" sz="1600" dirty="0">
                        <a:solidFill>
                          <a:schemeClr val="tx1">
                            <a:lumMod val="65000"/>
                            <a:lumOff val="35000"/>
                          </a:schemeClr>
                        </a:solidFill>
                        <a:latin typeface="+mn-lt"/>
                      </a:endParaRPr>
                    </a:p>
                  </a:txBody>
                  <a:tcPr anchor="ctr"/>
                </a:tc>
                <a:tc>
                  <a:txBody>
                    <a:bodyPr/>
                    <a:lstStyle/>
                    <a:p>
                      <a:r>
                        <a:rPr lang="en-US" sz="1600" dirty="0" smtClean="0">
                          <a:solidFill>
                            <a:schemeClr val="tx1">
                              <a:lumMod val="65000"/>
                              <a:lumOff val="35000"/>
                            </a:schemeClr>
                          </a:solidFill>
                          <a:latin typeface="+mn-lt"/>
                        </a:rPr>
                        <a:t>return a new dataset that contains the union of the</a:t>
                      </a:r>
                    </a:p>
                    <a:p>
                      <a:r>
                        <a:rPr lang="en-US" sz="1600" dirty="0" smtClean="0">
                          <a:solidFill>
                            <a:schemeClr val="tx1">
                              <a:lumMod val="65000"/>
                              <a:lumOff val="35000"/>
                            </a:schemeClr>
                          </a:solidFill>
                          <a:latin typeface="+mn-lt"/>
                        </a:rPr>
                        <a:t>elements in the source dataset and the argument</a:t>
                      </a:r>
                    </a:p>
                  </a:txBody>
                  <a:tcPr anchor="ctr"/>
                </a:tc>
              </a:tr>
              <a:tr h="734063">
                <a:tc>
                  <a:txBody>
                    <a:bodyPr/>
                    <a:lstStyle/>
                    <a:p>
                      <a:r>
                        <a:rPr lang="en-US" sz="1600" dirty="0" smtClean="0">
                          <a:solidFill>
                            <a:schemeClr val="tx1">
                              <a:lumMod val="65000"/>
                              <a:lumOff val="35000"/>
                            </a:schemeClr>
                          </a:solidFill>
                          <a:latin typeface="+mn-lt"/>
                        </a:rPr>
                        <a:t>distinct(([</a:t>
                      </a:r>
                      <a:r>
                        <a:rPr lang="en-US" sz="1600" i="1" dirty="0" smtClean="0">
                          <a:solidFill>
                            <a:schemeClr val="tx1">
                              <a:lumMod val="65000"/>
                              <a:lumOff val="35000"/>
                            </a:schemeClr>
                          </a:solidFill>
                          <a:latin typeface="+mn-lt"/>
                        </a:rPr>
                        <a:t>numTasks</a:t>
                      </a:r>
                      <a:r>
                        <a:rPr lang="en-US" sz="1600" dirty="0" smtClean="0">
                          <a:solidFill>
                            <a:schemeClr val="tx1">
                              <a:lumMod val="65000"/>
                              <a:lumOff val="35000"/>
                            </a:schemeClr>
                          </a:solidFill>
                          <a:latin typeface="+mn-lt"/>
                        </a:rPr>
                        <a:t>]))</a:t>
                      </a:r>
                      <a:endParaRPr lang="en-US" sz="1600" dirty="0">
                        <a:solidFill>
                          <a:schemeClr val="tx1">
                            <a:lumMod val="65000"/>
                            <a:lumOff val="35000"/>
                          </a:schemeClr>
                        </a:solidFill>
                        <a:latin typeface="+mn-lt"/>
                      </a:endParaRPr>
                    </a:p>
                  </a:txBody>
                  <a:tcPr anchor="ctr"/>
                </a:tc>
                <a:tc>
                  <a:txBody>
                    <a:bodyPr/>
                    <a:lstStyle/>
                    <a:p>
                      <a:r>
                        <a:rPr lang="en-US" sz="1600" dirty="0" smtClean="0">
                          <a:solidFill>
                            <a:schemeClr val="tx1">
                              <a:lumMod val="65000"/>
                              <a:lumOff val="35000"/>
                            </a:schemeClr>
                          </a:solidFill>
                          <a:latin typeface="+mn-lt"/>
                        </a:rPr>
                        <a:t>return a new dataset that contains the distinct elements</a:t>
                      </a:r>
                      <a:r>
                        <a:rPr lang="en-US" sz="1600" baseline="0" dirty="0" smtClean="0">
                          <a:solidFill>
                            <a:schemeClr val="tx1">
                              <a:lumMod val="65000"/>
                              <a:lumOff val="35000"/>
                            </a:schemeClr>
                          </a:solidFill>
                          <a:latin typeface="+mn-lt"/>
                        </a:rPr>
                        <a:t> </a:t>
                      </a:r>
                      <a:r>
                        <a:rPr lang="en-US" sz="1600" dirty="0" smtClean="0">
                          <a:solidFill>
                            <a:schemeClr val="tx1">
                              <a:lumMod val="65000"/>
                              <a:lumOff val="35000"/>
                            </a:schemeClr>
                          </a:solidFill>
                          <a:latin typeface="+mn-lt"/>
                        </a:rPr>
                        <a:t>of the source dataset</a:t>
                      </a:r>
                    </a:p>
                  </a:txBody>
                  <a:tcPr anchor="ctr"/>
                </a:tc>
              </a:tr>
            </a:tbl>
          </a:graphicData>
        </a:graphic>
      </p:graphicFrame>
    </p:spTree>
    <p:extLst>
      <p:ext uri="{BB962C8B-B14F-4D97-AF65-F5344CB8AC3E}">
        <p14:creationId xmlns:p14="http://schemas.microsoft.com/office/powerpoint/2010/main" val="2323379199"/>
      </p:ext>
    </p:extLst>
  </p:cSld>
  <p:clrMapOvr>
    <a:masterClrMapping/>
  </p:clrMapOvr>
  <p:transition spd="med">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DD Transformations (2)</a:t>
            </a:r>
            <a:endParaRPr lang="en-US" dirty="0"/>
          </a:p>
        </p:txBody>
      </p:sp>
      <p:sp>
        <p:nvSpPr>
          <p:cNvPr id="3" name="Slide Number Placeholder 2"/>
          <p:cNvSpPr>
            <a:spLocks noGrp="1"/>
          </p:cNvSpPr>
          <p:nvPr>
            <p:ph type="sldNum" sz="quarter" idx="11"/>
          </p:nvPr>
        </p:nvSpPr>
        <p:spPr/>
        <p:txBody>
          <a:bodyPr/>
          <a:lstStyle/>
          <a:p>
            <a:pPr>
              <a:defRPr/>
            </a:pPr>
            <a:fld id="{F8A0AC42-AA1D-4944-8D96-660DE70C7E1B}" type="slidenum">
              <a:rPr lang="en-US" smtClean="0"/>
              <a:pPr>
                <a:defRPr/>
              </a:pPr>
              <a:t>19</a:t>
            </a:fld>
            <a:endParaRPr lang="en-US" dirty="0"/>
          </a:p>
        </p:txBody>
      </p:sp>
      <p:graphicFrame>
        <p:nvGraphicFramePr>
          <p:cNvPr id="5" name="Table 4"/>
          <p:cNvGraphicFramePr>
            <a:graphicFrameLocks noGrp="1"/>
          </p:cNvGraphicFramePr>
          <p:nvPr>
            <p:extLst>
              <p:ext uri="{D42A27DB-BD31-4B8C-83A1-F6EECF244321}">
                <p14:modId xmlns:p14="http://schemas.microsoft.com/office/powerpoint/2010/main" val="768048281"/>
              </p:ext>
            </p:extLst>
          </p:nvPr>
        </p:nvGraphicFramePr>
        <p:xfrm>
          <a:off x="585162" y="1367848"/>
          <a:ext cx="11059800" cy="4577080"/>
        </p:xfrm>
        <a:graphic>
          <a:graphicData uri="http://schemas.openxmlformats.org/drawingml/2006/table">
            <a:tbl>
              <a:tblPr firstRow="1" bandRow="1">
                <a:tableStyleId>{5C22544A-7EE6-4342-B048-85BDC9FD1C3A}</a:tableStyleId>
              </a:tblPr>
              <a:tblGrid>
                <a:gridCol w="3269208"/>
                <a:gridCol w="7790592"/>
              </a:tblGrid>
              <a:tr h="370840">
                <a:tc>
                  <a:txBody>
                    <a:bodyPr/>
                    <a:lstStyle/>
                    <a:p>
                      <a:pPr algn="ctr"/>
                      <a:r>
                        <a:rPr lang="en-US" sz="1800" dirty="0" smtClean="0"/>
                        <a:t>Transformation</a:t>
                      </a:r>
                      <a:endParaRPr lang="en-US" sz="1800" dirty="0"/>
                    </a:p>
                  </a:txBody>
                  <a:tcPr anchor="ctr"/>
                </a:tc>
                <a:tc>
                  <a:txBody>
                    <a:bodyPr/>
                    <a:lstStyle/>
                    <a:p>
                      <a:pPr algn="ctr"/>
                      <a:r>
                        <a:rPr lang="en-US" sz="1800" dirty="0" smtClean="0"/>
                        <a:t>Description</a:t>
                      </a:r>
                      <a:endParaRPr lang="en-US" sz="1800" dirty="0"/>
                    </a:p>
                  </a:txBody>
                  <a:tcPr anchor="ctr"/>
                </a:tc>
              </a:tr>
              <a:tr h="370840">
                <a:tc>
                  <a:txBody>
                    <a:bodyPr/>
                    <a:lstStyle/>
                    <a:p>
                      <a:r>
                        <a:rPr lang="en-US" sz="1600" b="0" dirty="0" smtClean="0">
                          <a:solidFill>
                            <a:schemeClr val="tx1">
                              <a:lumMod val="65000"/>
                              <a:lumOff val="35000"/>
                            </a:schemeClr>
                          </a:solidFill>
                          <a:latin typeface="+mn-lt"/>
                        </a:rPr>
                        <a:t>groupBykey(</a:t>
                      </a:r>
                      <a:r>
                        <a:rPr lang="en-US" sz="1600" b="0" i="1" dirty="0" smtClean="0">
                          <a:solidFill>
                            <a:schemeClr val="tx1">
                              <a:lumMod val="65000"/>
                              <a:lumOff val="35000"/>
                            </a:schemeClr>
                          </a:solidFill>
                          <a:latin typeface="+mn-lt"/>
                        </a:rPr>
                        <a:t>[numTasks])</a:t>
                      </a:r>
                      <a:endParaRPr lang="en-US" sz="1600" b="0" i="1" dirty="0">
                        <a:solidFill>
                          <a:schemeClr val="tx1">
                            <a:lumMod val="65000"/>
                            <a:lumOff val="35000"/>
                          </a:schemeClr>
                        </a:solidFill>
                        <a:latin typeface="+mn-lt"/>
                      </a:endParaRPr>
                    </a:p>
                  </a:txBody>
                  <a:tcPr anchor="ctr"/>
                </a:tc>
                <a:tc>
                  <a:txBody>
                    <a:bodyPr/>
                    <a:lstStyle/>
                    <a:p>
                      <a:r>
                        <a:rPr lang="en-US" sz="1600" b="0" dirty="0" smtClean="0">
                          <a:solidFill>
                            <a:schemeClr val="tx1">
                              <a:lumMod val="65000"/>
                              <a:lumOff val="35000"/>
                            </a:schemeClr>
                          </a:solidFill>
                          <a:latin typeface="+mn-lt"/>
                        </a:rPr>
                        <a:t>when called on a dataset of (K, V) pairs, returns a</a:t>
                      </a:r>
                    </a:p>
                    <a:p>
                      <a:r>
                        <a:rPr lang="en-US" sz="1600" b="0" dirty="0" smtClean="0">
                          <a:solidFill>
                            <a:schemeClr val="tx1">
                              <a:lumMod val="65000"/>
                              <a:lumOff val="35000"/>
                            </a:schemeClr>
                          </a:solidFill>
                          <a:latin typeface="+mn-lt"/>
                        </a:rPr>
                        <a:t>dataset of (K, Seq[V]) pairs</a:t>
                      </a:r>
                    </a:p>
                  </a:txBody>
                  <a:tcPr anchor="ctr"/>
                </a:tc>
              </a:tr>
              <a:tr h="370840">
                <a:tc>
                  <a:txBody>
                    <a:bodyPr/>
                    <a:lstStyle/>
                    <a:p>
                      <a:r>
                        <a:rPr lang="en-US" sz="1600" b="0" dirty="0" smtClean="0">
                          <a:solidFill>
                            <a:schemeClr val="tx1">
                              <a:lumMod val="65000"/>
                              <a:lumOff val="35000"/>
                            </a:schemeClr>
                          </a:solidFill>
                          <a:latin typeface="+mn-lt"/>
                        </a:rPr>
                        <a:t>reduceByKey(</a:t>
                      </a:r>
                      <a:r>
                        <a:rPr lang="en-US" sz="1600" b="0" i="1" dirty="0" smtClean="0">
                          <a:solidFill>
                            <a:schemeClr val="tx1">
                              <a:lumMod val="65000"/>
                              <a:lumOff val="35000"/>
                            </a:schemeClr>
                          </a:solidFill>
                          <a:latin typeface="+mn-lt"/>
                        </a:rPr>
                        <a:t>func,</a:t>
                      </a:r>
                      <a:r>
                        <a:rPr lang="en-US" sz="1600" b="0" i="1" baseline="0" dirty="0" smtClean="0">
                          <a:solidFill>
                            <a:schemeClr val="tx1">
                              <a:lumMod val="65000"/>
                              <a:lumOff val="35000"/>
                            </a:schemeClr>
                          </a:solidFill>
                          <a:latin typeface="+mn-lt"/>
                        </a:rPr>
                        <a:t> </a:t>
                      </a:r>
                      <a:r>
                        <a:rPr lang="en-US" sz="1600" b="0" i="1" dirty="0" smtClean="0">
                          <a:solidFill>
                            <a:schemeClr val="tx1">
                              <a:lumMod val="65000"/>
                              <a:lumOff val="35000"/>
                            </a:schemeClr>
                          </a:solidFill>
                          <a:latin typeface="+mn-lt"/>
                        </a:rPr>
                        <a:t>[numTasks])</a:t>
                      </a:r>
                    </a:p>
                  </a:txBody>
                  <a:tcPr anchor="ctr"/>
                </a:tc>
                <a:tc>
                  <a:txBody>
                    <a:bodyPr/>
                    <a:lstStyle/>
                    <a:p>
                      <a:r>
                        <a:rPr lang="en-US" sz="1600" b="0" dirty="0" smtClean="0">
                          <a:solidFill>
                            <a:schemeClr val="tx1">
                              <a:lumMod val="65000"/>
                              <a:lumOff val="35000"/>
                            </a:schemeClr>
                          </a:solidFill>
                          <a:latin typeface="+mn-lt"/>
                        </a:rPr>
                        <a:t>when called on a dataset of (K, V) pairs, returns</a:t>
                      </a:r>
                      <a:r>
                        <a:rPr lang="en-US" sz="1600" b="0" baseline="0" dirty="0" smtClean="0">
                          <a:solidFill>
                            <a:schemeClr val="tx1">
                              <a:lumMod val="65000"/>
                              <a:lumOff val="35000"/>
                            </a:schemeClr>
                          </a:solidFill>
                          <a:latin typeface="+mn-lt"/>
                        </a:rPr>
                        <a:t> </a:t>
                      </a:r>
                      <a:r>
                        <a:rPr lang="en-US" sz="1600" b="0" dirty="0" smtClean="0">
                          <a:solidFill>
                            <a:schemeClr val="tx1">
                              <a:lumMod val="65000"/>
                              <a:lumOff val="35000"/>
                            </a:schemeClr>
                          </a:solidFill>
                          <a:latin typeface="+mn-lt"/>
                        </a:rPr>
                        <a:t>a dataset of (K, V) pairs where the values for eac</a:t>
                      </a:r>
                      <a:r>
                        <a:rPr lang="en-US" sz="1600" b="0" baseline="0" dirty="0" smtClean="0">
                          <a:solidFill>
                            <a:schemeClr val="tx1">
                              <a:lumMod val="65000"/>
                              <a:lumOff val="35000"/>
                            </a:schemeClr>
                          </a:solidFill>
                          <a:latin typeface="+mn-lt"/>
                        </a:rPr>
                        <a:t>h </a:t>
                      </a:r>
                      <a:r>
                        <a:rPr lang="en-US" sz="1600" b="0" dirty="0" smtClean="0">
                          <a:solidFill>
                            <a:schemeClr val="tx1">
                              <a:lumMod val="65000"/>
                              <a:lumOff val="35000"/>
                            </a:schemeClr>
                          </a:solidFill>
                          <a:latin typeface="+mn-lt"/>
                        </a:rPr>
                        <a:t>key are aggregated using the given reduce function</a:t>
                      </a:r>
                    </a:p>
                  </a:txBody>
                  <a:tcPr anchor="ctr"/>
                </a:tc>
              </a:tr>
              <a:tr h="370840">
                <a:tc>
                  <a:txBody>
                    <a:bodyPr/>
                    <a:lstStyle/>
                    <a:p>
                      <a:r>
                        <a:rPr lang="en-US" sz="1600" b="0" dirty="0" smtClean="0">
                          <a:solidFill>
                            <a:schemeClr val="tx1">
                              <a:lumMod val="65000"/>
                              <a:lumOff val="35000"/>
                            </a:schemeClr>
                          </a:solidFill>
                          <a:latin typeface="+mn-lt"/>
                        </a:rPr>
                        <a:t>sortByKey([</a:t>
                      </a:r>
                      <a:r>
                        <a:rPr lang="en-US" sz="1600" b="0" i="1" dirty="0" smtClean="0">
                          <a:solidFill>
                            <a:schemeClr val="tx1">
                              <a:lumMod val="65000"/>
                              <a:lumOff val="35000"/>
                            </a:schemeClr>
                          </a:solidFill>
                          <a:latin typeface="+mn-lt"/>
                        </a:rPr>
                        <a:t>ascending</a:t>
                      </a:r>
                      <a:r>
                        <a:rPr lang="en-US" sz="1600" b="0" dirty="0" smtClean="0">
                          <a:solidFill>
                            <a:schemeClr val="tx1">
                              <a:lumMod val="65000"/>
                              <a:lumOff val="35000"/>
                            </a:schemeClr>
                          </a:solidFill>
                          <a:latin typeface="+mn-lt"/>
                        </a:rPr>
                        <a:t>],</a:t>
                      </a:r>
                    </a:p>
                    <a:p>
                      <a:r>
                        <a:rPr lang="en-US" sz="1600" b="0" dirty="0" smtClean="0">
                          <a:solidFill>
                            <a:schemeClr val="tx1">
                              <a:lumMod val="65000"/>
                              <a:lumOff val="35000"/>
                            </a:schemeClr>
                          </a:solidFill>
                          <a:latin typeface="+mn-lt"/>
                        </a:rPr>
                        <a:t>[</a:t>
                      </a:r>
                      <a:r>
                        <a:rPr lang="en-US" sz="1600" b="0" i="1" dirty="0" smtClean="0">
                          <a:solidFill>
                            <a:schemeClr val="tx1">
                              <a:lumMod val="65000"/>
                              <a:lumOff val="35000"/>
                            </a:schemeClr>
                          </a:solidFill>
                          <a:latin typeface="+mn-lt"/>
                        </a:rPr>
                        <a:t>numTasks</a:t>
                      </a:r>
                      <a:r>
                        <a:rPr lang="en-US" sz="1600" b="0" dirty="0" smtClean="0">
                          <a:solidFill>
                            <a:schemeClr val="tx1">
                              <a:lumMod val="65000"/>
                              <a:lumOff val="35000"/>
                            </a:schemeClr>
                          </a:solidFill>
                          <a:latin typeface="+mn-lt"/>
                        </a:rPr>
                        <a:t>])</a:t>
                      </a:r>
                    </a:p>
                    <a:p>
                      <a:endParaRPr lang="en-US" sz="1600" b="0" dirty="0">
                        <a:solidFill>
                          <a:schemeClr val="tx1">
                            <a:lumMod val="65000"/>
                            <a:lumOff val="35000"/>
                          </a:schemeClr>
                        </a:solidFill>
                        <a:latin typeface="+mn-lt"/>
                      </a:endParaRPr>
                    </a:p>
                  </a:txBody>
                  <a:tcPr anchor="ctr"/>
                </a:tc>
                <a:tc>
                  <a:txBody>
                    <a:bodyPr/>
                    <a:lstStyle/>
                    <a:p>
                      <a:r>
                        <a:rPr lang="en-US" sz="1600" b="0" dirty="0" smtClean="0">
                          <a:solidFill>
                            <a:schemeClr val="tx1">
                              <a:lumMod val="65000"/>
                              <a:lumOff val="35000"/>
                            </a:schemeClr>
                          </a:solidFill>
                          <a:latin typeface="+mn-lt"/>
                        </a:rPr>
                        <a:t>when called on a dataset of (K, V) pairs where K</a:t>
                      </a:r>
                      <a:r>
                        <a:rPr lang="en-US" sz="1600" b="0" baseline="0" dirty="0" smtClean="0">
                          <a:solidFill>
                            <a:schemeClr val="tx1">
                              <a:lumMod val="65000"/>
                              <a:lumOff val="35000"/>
                            </a:schemeClr>
                          </a:solidFill>
                          <a:latin typeface="+mn-lt"/>
                        </a:rPr>
                        <a:t> </a:t>
                      </a:r>
                      <a:r>
                        <a:rPr lang="en-US" sz="1600" b="0" dirty="0" smtClean="0">
                          <a:solidFill>
                            <a:schemeClr val="tx1">
                              <a:lumMod val="65000"/>
                              <a:lumOff val="35000"/>
                            </a:schemeClr>
                          </a:solidFill>
                          <a:latin typeface="+mn-lt"/>
                        </a:rPr>
                        <a:t>implements Ordered, returns a dataset of (K, V)</a:t>
                      </a:r>
                      <a:r>
                        <a:rPr lang="en-US" sz="1600" b="0" baseline="0" dirty="0" smtClean="0">
                          <a:solidFill>
                            <a:schemeClr val="tx1">
                              <a:lumMod val="65000"/>
                              <a:lumOff val="35000"/>
                            </a:schemeClr>
                          </a:solidFill>
                          <a:latin typeface="+mn-lt"/>
                        </a:rPr>
                        <a:t> </a:t>
                      </a:r>
                      <a:r>
                        <a:rPr lang="en-US" sz="1600" b="0" dirty="0" smtClean="0">
                          <a:solidFill>
                            <a:schemeClr val="tx1">
                              <a:lumMod val="65000"/>
                              <a:lumOff val="35000"/>
                            </a:schemeClr>
                          </a:solidFill>
                          <a:latin typeface="+mn-lt"/>
                        </a:rPr>
                        <a:t>pairs sorted by keys in ascending or descending order,</a:t>
                      </a:r>
                      <a:r>
                        <a:rPr lang="en-US" sz="1600" b="0" baseline="0" dirty="0" smtClean="0">
                          <a:solidFill>
                            <a:schemeClr val="tx1">
                              <a:lumMod val="65000"/>
                              <a:lumOff val="35000"/>
                            </a:schemeClr>
                          </a:solidFill>
                          <a:latin typeface="+mn-lt"/>
                        </a:rPr>
                        <a:t> </a:t>
                      </a:r>
                      <a:r>
                        <a:rPr lang="en-US" sz="1600" b="0" dirty="0" smtClean="0">
                          <a:solidFill>
                            <a:schemeClr val="tx1">
                              <a:lumMod val="65000"/>
                              <a:lumOff val="35000"/>
                            </a:schemeClr>
                          </a:solidFill>
                          <a:latin typeface="+mn-lt"/>
                        </a:rPr>
                        <a:t>as specified in the boolean ascending argument</a:t>
                      </a:r>
                    </a:p>
                  </a:txBody>
                  <a:tcPr anchor="ctr"/>
                </a:tc>
              </a:tr>
              <a:tr h="653799">
                <a:tc>
                  <a:txBody>
                    <a:bodyPr/>
                    <a:lstStyle/>
                    <a:p>
                      <a:r>
                        <a:rPr lang="en-US" sz="1600" b="0" dirty="0" smtClean="0">
                          <a:solidFill>
                            <a:schemeClr val="tx1">
                              <a:lumMod val="65000"/>
                              <a:lumOff val="35000"/>
                            </a:schemeClr>
                          </a:solidFill>
                          <a:latin typeface="+mn-lt"/>
                        </a:rPr>
                        <a:t>join(</a:t>
                      </a:r>
                      <a:r>
                        <a:rPr lang="en-US" sz="1600" b="0" i="1" dirty="0" smtClean="0">
                          <a:solidFill>
                            <a:schemeClr val="tx1">
                              <a:lumMod val="65000"/>
                              <a:lumOff val="35000"/>
                            </a:schemeClr>
                          </a:solidFill>
                          <a:latin typeface="+mn-lt"/>
                        </a:rPr>
                        <a:t>otherDataset</a:t>
                      </a:r>
                      <a:r>
                        <a:rPr lang="en-US" sz="1600" b="0" dirty="0" smtClean="0">
                          <a:solidFill>
                            <a:schemeClr val="tx1">
                              <a:lumMod val="65000"/>
                              <a:lumOff val="35000"/>
                            </a:schemeClr>
                          </a:solidFill>
                          <a:latin typeface="+mn-lt"/>
                        </a:rPr>
                        <a:t>,</a:t>
                      </a:r>
                    </a:p>
                    <a:p>
                      <a:r>
                        <a:rPr lang="en-US" sz="1600" b="0" dirty="0" smtClean="0">
                          <a:solidFill>
                            <a:schemeClr val="tx1">
                              <a:lumMod val="65000"/>
                              <a:lumOff val="35000"/>
                            </a:schemeClr>
                          </a:solidFill>
                          <a:latin typeface="+mn-lt"/>
                        </a:rPr>
                        <a:t>[</a:t>
                      </a:r>
                      <a:r>
                        <a:rPr lang="en-US" sz="1600" b="0" i="1" dirty="0" smtClean="0">
                          <a:solidFill>
                            <a:schemeClr val="tx1">
                              <a:lumMod val="65000"/>
                              <a:lumOff val="35000"/>
                            </a:schemeClr>
                          </a:solidFill>
                          <a:latin typeface="+mn-lt"/>
                        </a:rPr>
                        <a:t>numTasks</a:t>
                      </a:r>
                      <a:r>
                        <a:rPr lang="en-US" sz="1600" b="0" dirty="0" smtClean="0">
                          <a:solidFill>
                            <a:schemeClr val="tx1">
                              <a:lumMod val="65000"/>
                              <a:lumOff val="35000"/>
                            </a:schemeClr>
                          </a:solidFill>
                          <a:latin typeface="+mn-lt"/>
                        </a:rPr>
                        <a:t>])</a:t>
                      </a:r>
                    </a:p>
                    <a:p>
                      <a:endParaRPr lang="en-US" sz="1600" b="0" dirty="0">
                        <a:solidFill>
                          <a:schemeClr val="tx1">
                            <a:lumMod val="65000"/>
                            <a:lumOff val="35000"/>
                          </a:schemeClr>
                        </a:solidFill>
                        <a:latin typeface="+mn-lt"/>
                      </a:endParaRPr>
                    </a:p>
                  </a:txBody>
                  <a:tcPr anchor="ctr"/>
                </a:tc>
                <a:tc>
                  <a:txBody>
                    <a:bodyPr/>
                    <a:lstStyle/>
                    <a:p>
                      <a:r>
                        <a:rPr lang="en-US" sz="1600" b="0" dirty="0" smtClean="0">
                          <a:solidFill>
                            <a:schemeClr val="tx1">
                              <a:lumMod val="65000"/>
                              <a:lumOff val="35000"/>
                            </a:schemeClr>
                          </a:solidFill>
                          <a:latin typeface="+mn-lt"/>
                        </a:rPr>
                        <a:t>when called on datasets of type (K, V) and (K, W),</a:t>
                      </a:r>
                      <a:r>
                        <a:rPr lang="en-US" sz="1600" b="0" baseline="0" dirty="0" smtClean="0">
                          <a:solidFill>
                            <a:schemeClr val="tx1">
                              <a:lumMod val="65000"/>
                              <a:lumOff val="35000"/>
                            </a:schemeClr>
                          </a:solidFill>
                          <a:latin typeface="+mn-lt"/>
                        </a:rPr>
                        <a:t> </a:t>
                      </a:r>
                      <a:r>
                        <a:rPr lang="en-US" sz="1600" b="0" dirty="0" smtClean="0">
                          <a:solidFill>
                            <a:schemeClr val="tx1">
                              <a:lumMod val="65000"/>
                              <a:lumOff val="35000"/>
                            </a:schemeClr>
                          </a:solidFill>
                          <a:latin typeface="+mn-lt"/>
                        </a:rPr>
                        <a:t>returns a dataset of (K, (V, W)) pairs with all pairs</a:t>
                      </a:r>
                      <a:r>
                        <a:rPr lang="en-US" sz="1600" b="0" baseline="0" dirty="0" smtClean="0">
                          <a:solidFill>
                            <a:schemeClr val="tx1">
                              <a:lumMod val="65000"/>
                              <a:lumOff val="35000"/>
                            </a:schemeClr>
                          </a:solidFill>
                          <a:latin typeface="+mn-lt"/>
                        </a:rPr>
                        <a:t> </a:t>
                      </a:r>
                      <a:r>
                        <a:rPr lang="en-US" sz="1600" b="0" dirty="0" smtClean="0">
                          <a:solidFill>
                            <a:schemeClr val="tx1">
                              <a:lumMod val="65000"/>
                              <a:lumOff val="35000"/>
                            </a:schemeClr>
                          </a:solidFill>
                          <a:latin typeface="+mn-lt"/>
                        </a:rPr>
                        <a:t>of elements for each key</a:t>
                      </a:r>
                    </a:p>
                  </a:txBody>
                  <a:tcPr anchor="ctr"/>
                </a:tc>
              </a:tr>
              <a:tr h="370840">
                <a:tc>
                  <a:txBody>
                    <a:bodyPr/>
                    <a:lstStyle/>
                    <a:p>
                      <a:r>
                        <a:rPr lang="en-US" sz="1600" b="0" dirty="0" smtClean="0">
                          <a:solidFill>
                            <a:schemeClr val="tx1">
                              <a:lumMod val="65000"/>
                              <a:lumOff val="35000"/>
                            </a:schemeClr>
                          </a:solidFill>
                          <a:latin typeface="+mn-lt"/>
                        </a:rPr>
                        <a:t>cogroup(</a:t>
                      </a:r>
                      <a:r>
                        <a:rPr lang="en-US" sz="1600" b="0" i="1" dirty="0" smtClean="0">
                          <a:solidFill>
                            <a:schemeClr val="tx1">
                              <a:lumMod val="65000"/>
                              <a:lumOff val="35000"/>
                            </a:schemeClr>
                          </a:solidFill>
                          <a:latin typeface="+mn-lt"/>
                        </a:rPr>
                        <a:t>otherDataset</a:t>
                      </a:r>
                      <a:r>
                        <a:rPr lang="en-US" sz="1600" b="0" dirty="0" smtClean="0">
                          <a:solidFill>
                            <a:schemeClr val="tx1">
                              <a:lumMod val="65000"/>
                              <a:lumOff val="35000"/>
                            </a:schemeClr>
                          </a:solidFill>
                          <a:latin typeface="+mn-lt"/>
                        </a:rPr>
                        <a:t>,</a:t>
                      </a:r>
                    </a:p>
                    <a:p>
                      <a:r>
                        <a:rPr lang="en-US" sz="1600" b="0" dirty="0" smtClean="0">
                          <a:solidFill>
                            <a:schemeClr val="tx1">
                              <a:lumMod val="65000"/>
                              <a:lumOff val="35000"/>
                            </a:schemeClr>
                          </a:solidFill>
                          <a:latin typeface="+mn-lt"/>
                        </a:rPr>
                        <a:t>[</a:t>
                      </a:r>
                      <a:r>
                        <a:rPr lang="en-US" sz="1600" b="0" i="1" dirty="0" smtClean="0">
                          <a:solidFill>
                            <a:schemeClr val="tx1">
                              <a:lumMod val="65000"/>
                              <a:lumOff val="35000"/>
                            </a:schemeClr>
                          </a:solidFill>
                          <a:latin typeface="+mn-lt"/>
                        </a:rPr>
                        <a:t>numTasks</a:t>
                      </a:r>
                      <a:r>
                        <a:rPr lang="en-US" sz="1600" b="0" dirty="0" smtClean="0">
                          <a:solidFill>
                            <a:schemeClr val="tx1">
                              <a:lumMod val="65000"/>
                              <a:lumOff val="35000"/>
                            </a:schemeClr>
                          </a:solidFill>
                          <a:latin typeface="+mn-lt"/>
                        </a:rPr>
                        <a:t>])</a:t>
                      </a:r>
                    </a:p>
                    <a:p>
                      <a:endParaRPr lang="en-US" sz="1600" b="0" dirty="0">
                        <a:solidFill>
                          <a:schemeClr val="tx1">
                            <a:lumMod val="65000"/>
                            <a:lumOff val="35000"/>
                          </a:schemeClr>
                        </a:solidFill>
                        <a:latin typeface="+mn-lt"/>
                      </a:endParaRPr>
                    </a:p>
                  </a:txBody>
                  <a:tcPr anchor="ctr"/>
                </a:tc>
                <a:tc>
                  <a:txBody>
                    <a:bodyPr/>
                    <a:lstStyle/>
                    <a:p>
                      <a:r>
                        <a:rPr lang="en-US" sz="1600" b="0" dirty="0" smtClean="0">
                          <a:solidFill>
                            <a:schemeClr val="tx1">
                              <a:lumMod val="65000"/>
                              <a:lumOff val="35000"/>
                            </a:schemeClr>
                          </a:solidFill>
                          <a:latin typeface="+mn-lt"/>
                        </a:rPr>
                        <a:t>when called on datasets of type (K, V) and (K, W),</a:t>
                      </a:r>
                      <a:r>
                        <a:rPr lang="en-US" sz="1600" b="0" baseline="0" dirty="0" smtClean="0">
                          <a:solidFill>
                            <a:schemeClr val="tx1">
                              <a:lumMod val="65000"/>
                              <a:lumOff val="35000"/>
                            </a:schemeClr>
                          </a:solidFill>
                          <a:latin typeface="+mn-lt"/>
                        </a:rPr>
                        <a:t> </a:t>
                      </a:r>
                      <a:r>
                        <a:rPr lang="en-US" sz="1600" b="0" dirty="0" smtClean="0">
                          <a:solidFill>
                            <a:schemeClr val="tx1">
                              <a:lumMod val="65000"/>
                              <a:lumOff val="35000"/>
                            </a:schemeClr>
                          </a:solidFill>
                          <a:latin typeface="+mn-lt"/>
                        </a:rPr>
                        <a:t>returns a dataset of (K, Seq[V], Seq[W]) tuples –</a:t>
                      </a:r>
                      <a:r>
                        <a:rPr lang="en-US" sz="1600" b="0" baseline="0" dirty="0" smtClean="0">
                          <a:solidFill>
                            <a:schemeClr val="tx1">
                              <a:lumMod val="65000"/>
                              <a:lumOff val="35000"/>
                            </a:schemeClr>
                          </a:solidFill>
                          <a:latin typeface="+mn-lt"/>
                        </a:rPr>
                        <a:t> </a:t>
                      </a:r>
                      <a:r>
                        <a:rPr lang="en-US" sz="1600" b="0" dirty="0" smtClean="0">
                          <a:solidFill>
                            <a:schemeClr val="tx1">
                              <a:lumMod val="65000"/>
                              <a:lumOff val="35000"/>
                            </a:schemeClr>
                          </a:solidFill>
                          <a:latin typeface="+mn-lt"/>
                        </a:rPr>
                        <a:t>also called groupWith</a:t>
                      </a:r>
                    </a:p>
                  </a:txBody>
                  <a:tcPr anchor="ctr"/>
                </a:tc>
              </a:tr>
              <a:tr h="370840">
                <a:tc>
                  <a:txBody>
                    <a:bodyPr/>
                    <a:lstStyle/>
                    <a:p>
                      <a:pPr marL="0" marR="0" indent="0" algn="l" defTabSz="914367" rtl="0" eaLnBrk="1" fontAlgn="auto" latinLnBrk="0" hangingPunct="1">
                        <a:lnSpc>
                          <a:spcPct val="100000"/>
                        </a:lnSpc>
                        <a:spcBef>
                          <a:spcPts val="0"/>
                        </a:spcBef>
                        <a:spcAft>
                          <a:spcPts val="0"/>
                        </a:spcAft>
                        <a:buClrTx/>
                        <a:buSzTx/>
                        <a:buFontTx/>
                        <a:buNone/>
                        <a:tabLst/>
                        <a:defRPr/>
                      </a:pPr>
                      <a:r>
                        <a:rPr lang="en-US" sz="1600" b="0" dirty="0" smtClean="0">
                          <a:solidFill>
                            <a:schemeClr val="tx1">
                              <a:lumMod val="65000"/>
                              <a:lumOff val="35000"/>
                            </a:schemeClr>
                          </a:solidFill>
                          <a:latin typeface="+mn-lt"/>
                        </a:rPr>
                        <a:t>cartesian(</a:t>
                      </a:r>
                      <a:r>
                        <a:rPr lang="en-US" sz="1600" b="0" i="1" dirty="0" smtClean="0">
                          <a:solidFill>
                            <a:schemeClr val="tx1">
                              <a:lumMod val="65000"/>
                              <a:lumOff val="35000"/>
                            </a:schemeClr>
                          </a:solidFill>
                          <a:latin typeface="+mn-lt"/>
                        </a:rPr>
                        <a:t>otherDataset</a:t>
                      </a:r>
                      <a:r>
                        <a:rPr lang="en-US" sz="1600" b="0" dirty="0" smtClean="0">
                          <a:solidFill>
                            <a:schemeClr val="tx1">
                              <a:lumMod val="65000"/>
                              <a:lumOff val="35000"/>
                            </a:schemeClr>
                          </a:solidFill>
                          <a:latin typeface="+mn-lt"/>
                        </a:rPr>
                        <a:t>)</a:t>
                      </a:r>
                    </a:p>
                    <a:p>
                      <a:endParaRPr lang="en-US" sz="1600" b="0" dirty="0">
                        <a:solidFill>
                          <a:schemeClr val="tx1">
                            <a:lumMod val="65000"/>
                            <a:lumOff val="35000"/>
                          </a:schemeClr>
                        </a:solidFill>
                        <a:latin typeface="+mn-lt"/>
                      </a:endParaRPr>
                    </a:p>
                  </a:txBody>
                  <a:tcPr anchor="ctr"/>
                </a:tc>
                <a:tc>
                  <a:txBody>
                    <a:bodyPr/>
                    <a:lstStyle/>
                    <a:p>
                      <a:r>
                        <a:rPr lang="en-US" sz="1600" b="0" dirty="0" smtClean="0">
                          <a:solidFill>
                            <a:schemeClr val="tx1">
                              <a:lumMod val="65000"/>
                              <a:lumOff val="35000"/>
                            </a:schemeClr>
                          </a:solidFill>
                          <a:latin typeface="+mn-lt"/>
                        </a:rPr>
                        <a:t>when called on datasets of types T and U, returns a</a:t>
                      </a:r>
                      <a:r>
                        <a:rPr lang="en-US" sz="1600" b="0" baseline="0" dirty="0" smtClean="0">
                          <a:solidFill>
                            <a:schemeClr val="tx1">
                              <a:lumMod val="65000"/>
                              <a:lumOff val="35000"/>
                            </a:schemeClr>
                          </a:solidFill>
                          <a:latin typeface="+mn-lt"/>
                        </a:rPr>
                        <a:t> </a:t>
                      </a:r>
                      <a:r>
                        <a:rPr lang="en-US" sz="1600" b="0" dirty="0" smtClean="0">
                          <a:solidFill>
                            <a:schemeClr val="tx1">
                              <a:lumMod val="65000"/>
                              <a:lumOff val="35000"/>
                            </a:schemeClr>
                          </a:solidFill>
                          <a:latin typeface="+mn-lt"/>
                        </a:rPr>
                        <a:t>dataset of (T, U) pairs (all pairs of elements)</a:t>
                      </a:r>
                    </a:p>
                  </a:txBody>
                  <a:tcPr anchor="ctr"/>
                </a:tc>
              </a:tr>
            </a:tbl>
          </a:graphicData>
        </a:graphic>
      </p:graphicFrame>
    </p:spTree>
    <p:extLst>
      <p:ext uri="{BB962C8B-B14F-4D97-AF65-F5344CB8AC3E}">
        <p14:creationId xmlns:p14="http://schemas.microsoft.com/office/powerpoint/2010/main" val="4224503387"/>
      </p:ext>
    </p:extLst>
  </p:cSld>
  <p:clrMapOvr>
    <a:masterClrMapping/>
  </p:clrMapOvr>
  <p:transition spd="med">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bwMode="auto">
          <a:xfrm>
            <a:off x="1" y="487"/>
            <a:ext cx="5220356" cy="6857027"/>
          </a:xfrm>
          <a:prstGeom prst="rect">
            <a:avLst/>
          </a:prstGeom>
          <a:solidFill>
            <a:srgbClr val="68217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8927" tIns="143428"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endParaRPr lang="en-US" sz="5294" dirty="0">
              <a:solidFill>
                <a:srgbClr val="FFFFFF"/>
              </a:solidFill>
              <a:latin typeface="Segoe UI Light"/>
              <a:ea typeface="Segoe UI" pitchFamily="34" charset="0"/>
              <a:cs typeface="Segoe UI" pitchFamily="34" charset="0"/>
            </a:endParaRPr>
          </a:p>
          <a:p>
            <a:pPr defTabSz="914102" fontAlgn="base">
              <a:lnSpc>
                <a:spcPct val="90000"/>
              </a:lnSpc>
              <a:spcBef>
                <a:spcPct val="0"/>
              </a:spcBef>
              <a:spcAft>
                <a:spcPct val="0"/>
              </a:spcAft>
            </a:pPr>
            <a:endParaRPr lang="en-US" sz="5294" dirty="0">
              <a:solidFill>
                <a:srgbClr val="FFFFFF"/>
              </a:solidFill>
              <a:latin typeface="Segoe UI Light"/>
              <a:ea typeface="Segoe UI" pitchFamily="34" charset="0"/>
              <a:cs typeface="Segoe UI" pitchFamily="34" charset="0"/>
            </a:endParaRPr>
          </a:p>
        </p:txBody>
      </p:sp>
      <p:sp>
        <p:nvSpPr>
          <p:cNvPr id="5" name="Rectangle 4"/>
          <p:cNvSpPr/>
          <p:nvPr/>
        </p:nvSpPr>
        <p:spPr bwMode="auto">
          <a:xfrm>
            <a:off x="1" y="6319659"/>
            <a:ext cx="5220356" cy="537855"/>
          </a:xfrm>
          <a:prstGeom prst="rect">
            <a:avLst/>
          </a:prstGeom>
          <a:solidFill>
            <a:schemeClr val="accent3">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endParaRPr lang="en-US" sz="2353" kern="0" dirty="0">
              <a:ln>
                <a:solidFill>
                  <a:srgbClr val="FFFFFF">
                    <a:alpha val="0"/>
                  </a:srgbClr>
                </a:solidFill>
              </a:ln>
              <a:solidFill>
                <a:srgbClr val="FFFFFF"/>
              </a:solidFill>
              <a:latin typeface="Segoe UI Semibold" panose="020B0702040204020203" pitchFamily="34" charset="0"/>
              <a:ea typeface="MS PGothic" charset="0"/>
              <a:cs typeface="Segoe UI Semibold" panose="020B0702040204020203" pitchFamily="34" charset="0"/>
            </a:endParaRPr>
          </a:p>
        </p:txBody>
      </p:sp>
      <p:sp>
        <p:nvSpPr>
          <p:cNvPr id="6" name="Freeform 5"/>
          <p:cNvSpPr>
            <a:spLocks/>
          </p:cNvSpPr>
          <p:nvPr/>
        </p:nvSpPr>
        <p:spPr bwMode="auto">
          <a:xfrm flipH="1">
            <a:off x="2619107" y="4183803"/>
            <a:ext cx="2601249" cy="2135857"/>
          </a:xfrm>
          <a:custGeom>
            <a:avLst/>
            <a:gdLst>
              <a:gd name="connsiteX0" fmla="*/ 603413 w 1090712"/>
              <a:gd name="connsiteY0" fmla="*/ 721327 h 895572"/>
              <a:gd name="connsiteX1" fmla="*/ 578466 w 1090712"/>
              <a:gd name="connsiteY1" fmla="*/ 770746 h 895572"/>
              <a:gd name="connsiteX2" fmla="*/ 553519 w 1090712"/>
              <a:gd name="connsiteY2" fmla="*/ 818264 h 895572"/>
              <a:gd name="connsiteX3" fmla="*/ 528334 w 1090712"/>
              <a:gd name="connsiteY3" fmla="*/ 865069 h 895572"/>
              <a:gd name="connsiteX4" fmla="*/ 511825 w 1090712"/>
              <a:gd name="connsiteY4" fmla="*/ 895572 h 895572"/>
              <a:gd name="connsiteX5" fmla="*/ 624528 w 1090712"/>
              <a:gd name="connsiteY5" fmla="*/ 895572 h 895572"/>
              <a:gd name="connsiteX6" fmla="*/ 624796 w 1090712"/>
              <a:gd name="connsiteY6" fmla="*/ 894768 h 895572"/>
              <a:gd name="connsiteX7" fmla="*/ 625271 w 1090712"/>
              <a:gd name="connsiteY7" fmla="*/ 891679 h 895572"/>
              <a:gd name="connsiteX8" fmla="*/ 625747 w 1090712"/>
              <a:gd name="connsiteY8" fmla="*/ 889066 h 895572"/>
              <a:gd name="connsiteX9" fmla="*/ 625747 w 1090712"/>
              <a:gd name="connsiteY9" fmla="*/ 860555 h 895572"/>
              <a:gd name="connsiteX10" fmla="*/ 624796 w 1090712"/>
              <a:gd name="connsiteY10" fmla="*/ 833945 h 895572"/>
              <a:gd name="connsiteX11" fmla="*/ 624321 w 1090712"/>
              <a:gd name="connsiteY11" fmla="*/ 820877 h 895572"/>
              <a:gd name="connsiteX12" fmla="*/ 623608 w 1090712"/>
              <a:gd name="connsiteY12" fmla="*/ 808047 h 895572"/>
              <a:gd name="connsiteX13" fmla="*/ 621708 w 1090712"/>
              <a:gd name="connsiteY13" fmla="*/ 795218 h 895572"/>
              <a:gd name="connsiteX14" fmla="*/ 620044 w 1090712"/>
              <a:gd name="connsiteY14" fmla="*/ 782625 h 895572"/>
              <a:gd name="connsiteX15" fmla="*/ 616005 w 1090712"/>
              <a:gd name="connsiteY15" fmla="*/ 766707 h 895572"/>
              <a:gd name="connsiteX16" fmla="*/ 611966 w 1090712"/>
              <a:gd name="connsiteY16" fmla="*/ 751976 h 895572"/>
              <a:gd name="connsiteX17" fmla="*/ 607452 w 1090712"/>
              <a:gd name="connsiteY17" fmla="*/ 737245 h 895572"/>
              <a:gd name="connsiteX18" fmla="*/ 698212 w 1090712"/>
              <a:gd name="connsiteY18" fmla="*/ 530778 h 895572"/>
              <a:gd name="connsiteX19" fmla="*/ 693460 w 1090712"/>
              <a:gd name="connsiteY19" fmla="*/ 534818 h 895572"/>
              <a:gd name="connsiteX20" fmla="*/ 688471 w 1090712"/>
              <a:gd name="connsiteY20" fmla="*/ 538857 h 895572"/>
              <a:gd name="connsiteX21" fmla="*/ 678254 w 1090712"/>
              <a:gd name="connsiteY21" fmla="*/ 546935 h 895572"/>
              <a:gd name="connsiteX22" fmla="*/ 669226 w 1090712"/>
              <a:gd name="connsiteY22" fmla="*/ 553587 h 895572"/>
              <a:gd name="connsiteX23" fmla="*/ 663048 w 1090712"/>
              <a:gd name="connsiteY23" fmla="*/ 558814 h 895572"/>
              <a:gd name="connsiteX24" fmla="*/ 663048 w 1090712"/>
              <a:gd name="connsiteY24" fmla="*/ 556676 h 895572"/>
              <a:gd name="connsiteX25" fmla="*/ 663523 w 1090712"/>
              <a:gd name="connsiteY25" fmla="*/ 554538 h 895572"/>
              <a:gd name="connsiteX26" fmla="*/ 665424 w 1090712"/>
              <a:gd name="connsiteY26" fmla="*/ 550498 h 895572"/>
              <a:gd name="connsiteX27" fmla="*/ 668038 w 1090712"/>
              <a:gd name="connsiteY27" fmla="*/ 546459 h 895572"/>
              <a:gd name="connsiteX28" fmla="*/ 671602 w 1090712"/>
              <a:gd name="connsiteY28" fmla="*/ 542420 h 895572"/>
              <a:gd name="connsiteX29" fmla="*/ 676829 w 1090712"/>
              <a:gd name="connsiteY29" fmla="*/ 538857 h 895572"/>
              <a:gd name="connsiteX30" fmla="*/ 682768 w 1090712"/>
              <a:gd name="connsiteY30" fmla="*/ 535768 h 895572"/>
              <a:gd name="connsiteX31" fmla="*/ 689896 w 1090712"/>
              <a:gd name="connsiteY31" fmla="*/ 533154 h 895572"/>
              <a:gd name="connsiteX32" fmla="*/ 654257 w 1090712"/>
              <a:gd name="connsiteY32" fmla="*/ 302216 h 895572"/>
              <a:gd name="connsiteX33" fmla="*/ 651882 w 1090712"/>
              <a:gd name="connsiteY33" fmla="*/ 302691 h 895572"/>
              <a:gd name="connsiteX34" fmla="*/ 649268 w 1090712"/>
              <a:gd name="connsiteY34" fmla="*/ 303166 h 895572"/>
              <a:gd name="connsiteX35" fmla="*/ 647130 w 1090712"/>
              <a:gd name="connsiteY35" fmla="*/ 304354 h 895572"/>
              <a:gd name="connsiteX36" fmla="*/ 644516 w 1090712"/>
              <a:gd name="connsiteY36" fmla="*/ 306255 h 895572"/>
              <a:gd name="connsiteX37" fmla="*/ 642140 w 1090712"/>
              <a:gd name="connsiteY37" fmla="*/ 307918 h 895572"/>
              <a:gd name="connsiteX38" fmla="*/ 640002 w 1090712"/>
              <a:gd name="connsiteY38" fmla="*/ 310294 h 895572"/>
              <a:gd name="connsiteX39" fmla="*/ 638101 w 1090712"/>
              <a:gd name="connsiteY39" fmla="*/ 312432 h 895572"/>
              <a:gd name="connsiteX40" fmla="*/ 636913 w 1090712"/>
              <a:gd name="connsiteY40" fmla="*/ 314571 h 895572"/>
              <a:gd name="connsiteX41" fmla="*/ 635963 w 1090712"/>
              <a:gd name="connsiteY41" fmla="*/ 316946 h 895572"/>
              <a:gd name="connsiteX42" fmla="*/ 635963 w 1090712"/>
              <a:gd name="connsiteY42" fmla="*/ 319085 h 895572"/>
              <a:gd name="connsiteX43" fmla="*/ 636913 w 1090712"/>
              <a:gd name="connsiteY43" fmla="*/ 321223 h 895572"/>
              <a:gd name="connsiteX44" fmla="*/ 637626 w 1090712"/>
              <a:gd name="connsiteY44" fmla="*/ 324074 h 895572"/>
              <a:gd name="connsiteX45" fmla="*/ 639527 w 1090712"/>
              <a:gd name="connsiteY45" fmla="*/ 326688 h 895572"/>
              <a:gd name="connsiteX46" fmla="*/ 643091 w 1090712"/>
              <a:gd name="connsiteY46" fmla="*/ 331677 h 895572"/>
              <a:gd name="connsiteX47" fmla="*/ 647130 w 1090712"/>
              <a:gd name="connsiteY47" fmla="*/ 335954 h 895572"/>
              <a:gd name="connsiteX48" fmla="*/ 655920 w 1090712"/>
              <a:gd name="connsiteY48" fmla="*/ 330727 h 895572"/>
              <a:gd name="connsiteX49" fmla="*/ 663999 w 1090712"/>
              <a:gd name="connsiteY49" fmla="*/ 324787 h 895572"/>
              <a:gd name="connsiteX50" fmla="*/ 679917 w 1090712"/>
              <a:gd name="connsiteY50" fmla="*/ 313383 h 895572"/>
              <a:gd name="connsiteX51" fmla="*/ 676354 w 1090712"/>
              <a:gd name="connsiteY51" fmla="*/ 311007 h 895572"/>
              <a:gd name="connsiteX52" fmla="*/ 672790 w 1090712"/>
              <a:gd name="connsiteY52" fmla="*/ 308393 h 895572"/>
              <a:gd name="connsiteX53" fmla="*/ 668988 w 1090712"/>
              <a:gd name="connsiteY53" fmla="*/ 306730 h 895572"/>
              <a:gd name="connsiteX54" fmla="*/ 664949 w 1090712"/>
              <a:gd name="connsiteY54" fmla="*/ 304829 h 895572"/>
              <a:gd name="connsiteX55" fmla="*/ 660910 w 1090712"/>
              <a:gd name="connsiteY55" fmla="*/ 303641 h 895572"/>
              <a:gd name="connsiteX56" fmla="*/ 657346 w 1090712"/>
              <a:gd name="connsiteY56" fmla="*/ 302691 h 895572"/>
              <a:gd name="connsiteX57" fmla="*/ 696549 w 1090712"/>
              <a:gd name="connsiteY57" fmla="*/ 252322 h 895572"/>
              <a:gd name="connsiteX58" fmla="*/ 696786 w 1090712"/>
              <a:gd name="connsiteY58" fmla="*/ 259925 h 895572"/>
              <a:gd name="connsiteX59" fmla="*/ 698212 w 1090712"/>
              <a:gd name="connsiteY59" fmla="*/ 266102 h 895572"/>
              <a:gd name="connsiteX60" fmla="*/ 700113 w 1090712"/>
              <a:gd name="connsiteY60" fmla="*/ 272042 h 895572"/>
              <a:gd name="connsiteX61" fmla="*/ 701776 w 1090712"/>
              <a:gd name="connsiteY61" fmla="*/ 276794 h 895572"/>
              <a:gd name="connsiteX62" fmla="*/ 704389 w 1090712"/>
              <a:gd name="connsiteY62" fmla="*/ 280833 h 895572"/>
              <a:gd name="connsiteX63" fmla="*/ 707240 w 1090712"/>
              <a:gd name="connsiteY63" fmla="*/ 284397 h 895572"/>
              <a:gd name="connsiteX64" fmla="*/ 710329 w 1090712"/>
              <a:gd name="connsiteY64" fmla="*/ 287010 h 895572"/>
              <a:gd name="connsiteX65" fmla="*/ 713418 w 1090712"/>
              <a:gd name="connsiteY65" fmla="*/ 289624 h 895572"/>
              <a:gd name="connsiteX66" fmla="*/ 716506 w 1090712"/>
              <a:gd name="connsiteY66" fmla="*/ 291524 h 895572"/>
              <a:gd name="connsiteX67" fmla="*/ 719595 w 1090712"/>
              <a:gd name="connsiteY67" fmla="*/ 293187 h 895572"/>
              <a:gd name="connsiteX68" fmla="*/ 725772 w 1090712"/>
              <a:gd name="connsiteY68" fmla="*/ 295088 h 895572"/>
              <a:gd name="connsiteX69" fmla="*/ 731237 w 1090712"/>
              <a:gd name="connsiteY69" fmla="*/ 296514 h 895572"/>
              <a:gd name="connsiteX70" fmla="*/ 734801 w 1090712"/>
              <a:gd name="connsiteY70" fmla="*/ 296751 h 895572"/>
              <a:gd name="connsiteX71" fmla="*/ 722209 w 1090712"/>
              <a:gd name="connsiteY71" fmla="*/ 303879 h 895572"/>
              <a:gd name="connsiteX72" fmla="*/ 710804 w 1090712"/>
              <a:gd name="connsiteY72" fmla="*/ 311007 h 895572"/>
              <a:gd name="connsiteX73" fmla="*/ 688471 w 1090712"/>
              <a:gd name="connsiteY73" fmla="*/ 324787 h 895572"/>
              <a:gd name="connsiteX74" fmla="*/ 667563 w 1090712"/>
              <a:gd name="connsiteY74" fmla="*/ 339043 h 895572"/>
              <a:gd name="connsiteX75" fmla="*/ 646179 w 1090712"/>
              <a:gd name="connsiteY75" fmla="*/ 352823 h 895572"/>
              <a:gd name="connsiteX76" fmla="*/ 620044 w 1090712"/>
              <a:gd name="connsiteY76" fmla="*/ 313383 h 895572"/>
              <a:gd name="connsiteX77" fmla="*/ 617668 w 1090712"/>
              <a:gd name="connsiteY77" fmla="*/ 312432 h 895572"/>
              <a:gd name="connsiteX78" fmla="*/ 615055 w 1090712"/>
              <a:gd name="connsiteY78" fmla="*/ 312432 h 895572"/>
              <a:gd name="connsiteX79" fmla="*/ 612441 w 1090712"/>
              <a:gd name="connsiteY79" fmla="*/ 313383 h 895572"/>
              <a:gd name="connsiteX80" fmla="*/ 609353 w 1090712"/>
              <a:gd name="connsiteY80" fmla="*/ 314095 h 895572"/>
              <a:gd name="connsiteX81" fmla="*/ 602938 w 1090712"/>
              <a:gd name="connsiteY81" fmla="*/ 316946 h 895572"/>
              <a:gd name="connsiteX82" fmla="*/ 599849 w 1090712"/>
              <a:gd name="connsiteY82" fmla="*/ 317659 h 895572"/>
              <a:gd name="connsiteX83" fmla="*/ 596760 w 1090712"/>
              <a:gd name="connsiteY83" fmla="*/ 318610 h 895572"/>
              <a:gd name="connsiteX84" fmla="*/ 607927 w 1090712"/>
              <a:gd name="connsiteY84" fmla="*/ 307205 h 895572"/>
              <a:gd name="connsiteX85" fmla="*/ 618619 w 1090712"/>
              <a:gd name="connsiteY85" fmla="*/ 295088 h 895572"/>
              <a:gd name="connsiteX86" fmla="*/ 623846 w 1090712"/>
              <a:gd name="connsiteY86" fmla="*/ 289386 h 895572"/>
              <a:gd name="connsiteX87" fmla="*/ 629786 w 1090712"/>
              <a:gd name="connsiteY87" fmla="*/ 283921 h 895572"/>
              <a:gd name="connsiteX88" fmla="*/ 635963 w 1090712"/>
              <a:gd name="connsiteY88" fmla="*/ 278694 h 895572"/>
              <a:gd name="connsiteX89" fmla="*/ 642140 w 1090712"/>
              <a:gd name="connsiteY89" fmla="*/ 273705 h 895572"/>
              <a:gd name="connsiteX90" fmla="*/ 648793 w 1090712"/>
              <a:gd name="connsiteY90" fmla="*/ 269191 h 895572"/>
              <a:gd name="connsiteX91" fmla="*/ 655446 w 1090712"/>
              <a:gd name="connsiteY91" fmla="*/ 265627 h 895572"/>
              <a:gd name="connsiteX92" fmla="*/ 662098 w 1090712"/>
              <a:gd name="connsiteY92" fmla="*/ 263013 h 895572"/>
              <a:gd name="connsiteX93" fmla="*/ 668988 w 1090712"/>
              <a:gd name="connsiteY93" fmla="*/ 260400 h 895572"/>
              <a:gd name="connsiteX94" fmla="*/ 682768 w 1090712"/>
              <a:gd name="connsiteY94" fmla="*/ 256361 h 895572"/>
              <a:gd name="connsiteX95" fmla="*/ 1030602 w 1090712"/>
              <a:gd name="connsiteY95" fmla="*/ 200289 h 895572"/>
              <a:gd name="connsiteX96" fmla="*/ 1027513 w 1090712"/>
              <a:gd name="connsiteY96" fmla="*/ 207892 h 895572"/>
              <a:gd name="connsiteX97" fmla="*/ 1023949 w 1090712"/>
              <a:gd name="connsiteY97" fmla="*/ 214545 h 895572"/>
              <a:gd name="connsiteX98" fmla="*/ 1019910 w 1090712"/>
              <a:gd name="connsiteY98" fmla="*/ 221197 h 895572"/>
              <a:gd name="connsiteX99" fmla="*/ 1015396 w 1090712"/>
              <a:gd name="connsiteY99" fmla="*/ 226899 h 895572"/>
              <a:gd name="connsiteX100" fmla="*/ 1011119 w 1090712"/>
              <a:gd name="connsiteY100" fmla="*/ 232839 h 895572"/>
              <a:gd name="connsiteX101" fmla="*/ 1006130 w 1090712"/>
              <a:gd name="connsiteY101" fmla="*/ 237591 h 895572"/>
              <a:gd name="connsiteX102" fmla="*/ 1001140 w 1090712"/>
              <a:gd name="connsiteY102" fmla="*/ 242105 h 895572"/>
              <a:gd name="connsiteX103" fmla="*/ 996388 w 1090712"/>
              <a:gd name="connsiteY103" fmla="*/ 246144 h 895572"/>
              <a:gd name="connsiteX104" fmla="*/ 990924 w 1090712"/>
              <a:gd name="connsiteY104" fmla="*/ 249708 h 895572"/>
              <a:gd name="connsiteX105" fmla="*/ 985697 w 1090712"/>
              <a:gd name="connsiteY105" fmla="*/ 252797 h 895572"/>
              <a:gd name="connsiteX106" fmla="*/ 980232 w 1090712"/>
              <a:gd name="connsiteY106" fmla="*/ 254935 h 895572"/>
              <a:gd name="connsiteX107" fmla="*/ 975005 w 1090712"/>
              <a:gd name="connsiteY107" fmla="*/ 256836 h 895572"/>
              <a:gd name="connsiteX108" fmla="*/ 969541 w 1090712"/>
              <a:gd name="connsiteY108" fmla="*/ 258262 h 895572"/>
              <a:gd name="connsiteX109" fmla="*/ 963839 w 1090712"/>
              <a:gd name="connsiteY109" fmla="*/ 258499 h 895572"/>
              <a:gd name="connsiteX110" fmla="*/ 958612 w 1090712"/>
              <a:gd name="connsiteY110" fmla="*/ 258499 h 895572"/>
              <a:gd name="connsiteX111" fmla="*/ 953622 w 1090712"/>
              <a:gd name="connsiteY111" fmla="*/ 257786 h 895572"/>
              <a:gd name="connsiteX112" fmla="*/ 970966 w 1090712"/>
              <a:gd name="connsiteY112" fmla="*/ 244006 h 895572"/>
              <a:gd name="connsiteX113" fmla="*/ 990211 w 1090712"/>
              <a:gd name="connsiteY113" fmla="*/ 229275 h 895572"/>
              <a:gd name="connsiteX114" fmla="*/ 1010169 w 1090712"/>
              <a:gd name="connsiteY114" fmla="*/ 214069 h 895572"/>
              <a:gd name="connsiteX115" fmla="*/ 1020385 w 1090712"/>
              <a:gd name="connsiteY115" fmla="*/ 206942 h 895572"/>
              <a:gd name="connsiteX116" fmla="*/ 389581 w 1090712"/>
              <a:gd name="connsiteY116" fmla="*/ 176768 h 895572"/>
              <a:gd name="connsiteX117" fmla="*/ 397422 w 1090712"/>
              <a:gd name="connsiteY117" fmla="*/ 177243 h 895572"/>
              <a:gd name="connsiteX118" fmla="*/ 414766 w 1090712"/>
              <a:gd name="connsiteY118" fmla="*/ 178906 h 895572"/>
              <a:gd name="connsiteX119" fmla="*/ 405500 w 1090712"/>
              <a:gd name="connsiteY119" fmla="*/ 179856 h 895572"/>
              <a:gd name="connsiteX120" fmla="*/ 396946 w 1090712"/>
              <a:gd name="connsiteY120" fmla="*/ 181995 h 895572"/>
              <a:gd name="connsiteX121" fmla="*/ 389581 w 1090712"/>
              <a:gd name="connsiteY121" fmla="*/ 184371 h 895572"/>
              <a:gd name="connsiteX122" fmla="*/ 381978 w 1090712"/>
              <a:gd name="connsiteY122" fmla="*/ 186984 h 895572"/>
              <a:gd name="connsiteX123" fmla="*/ 375326 w 1090712"/>
              <a:gd name="connsiteY123" fmla="*/ 190548 h 895572"/>
              <a:gd name="connsiteX124" fmla="*/ 368911 w 1090712"/>
              <a:gd name="connsiteY124" fmla="*/ 194112 h 895572"/>
              <a:gd name="connsiteX125" fmla="*/ 363208 w 1090712"/>
              <a:gd name="connsiteY125" fmla="*/ 198626 h 895572"/>
              <a:gd name="connsiteX126" fmla="*/ 357981 w 1090712"/>
              <a:gd name="connsiteY126" fmla="*/ 202903 h 895572"/>
              <a:gd name="connsiteX127" fmla="*/ 352517 w 1090712"/>
              <a:gd name="connsiteY127" fmla="*/ 208367 h 895572"/>
              <a:gd name="connsiteX128" fmla="*/ 348003 w 1090712"/>
              <a:gd name="connsiteY128" fmla="*/ 214070 h 895572"/>
              <a:gd name="connsiteX129" fmla="*/ 343726 w 1090712"/>
              <a:gd name="connsiteY129" fmla="*/ 220247 h 895572"/>
              <a:gd name="connsiteX130" fmla="*/ 339687 w 1090712"/>
              <a:gd name="connsiteY130" fmla="*/ 226662 h 895572"/>
              <a:gd name="connsiteX131" fmla="*/ 335648 w 1090712"/>
              <a:gd name="connsiteY131" fmla="*/ 233790 h 895572"/>
              <a:gd name="connsiteX132" fmla="*/ 332559 w 1090712"/>
              <a:gd name="connsiteY132" fmla="*/ 240917 h 895572"/>
              <a:gd name="connsiteX133" fmla="*/ 328995 w 1090712"/>
              <a:gd name="connsiteY133" fmla="*/ 248758 h 895572"/>
              <a:gd name="connsiteX134" fmla="*/ 325907 w 1090712"/>
              <a:gd name="connsiteY134" fmla="*/ 256836 h 895572"/>
              <a:gd name="connsiteX135" fmla="*/ 325432 w 1090712"/>
              <a:gd name="connsiteY135" fmla="*/ 252797 h 895572"/>
              <a:gd name="connsiteX136" fmla="*/ 324956 w 1090712"/>
              <a:gd name="connsiteY136" fmla="*/ 248283 h 895572"/>
              <a:gd name="connsiteX137" fmla="*/ 323056 w 1090712"/>
              <a:gd name="connsiteY137" fmla="*/ 239492 h 895572"/>
              <a:gd name="connsiteX138" fmla="*/ 320917 w 1090712"/>
              <a:gd name="connsiteY138" fmla="*/ 229275 h 895572"/>
              <a:gd name="connsiteX139" fmla="*/ 320442 w 1090712"/>
              <a:gd name="connsiteY139" fmla="*/ 223811 h 895572"/>
              <a:gd name="connsiteX140" fmla="*/ 319967 w 1090712"/>
              <a:gd name="connsiteY140" fmla="*/ 217633 h 895572"/>
              <a:gd name="connsiteX141" fmla="*/ 314740 w 1090712"/>
              <a:gd name="connsiteY141" fmla="*/ 217633 h 895572"/>
              <a:gd name="connsiteX142" fmla="*/ 302148 w 1090712"/>
              <a:gd name="connsiteY142" fmla="*/ 243056 h 895572"/>
              <a:gd name="connsiteX143" fmla="*/ 289793 w 1090712"/>
              <a:gd name="connsiteY143" fmla="*/ 267528 h 895572"/>
              <a:gd name="connsiteX144" fmla="*/ 277438 w 1090712"/>
              <a:gd name="connsiteY144" fmla="*/ 291049 h 895572"/>
              <a:gd name="connsiteX145" fmla="*/ 264371 w 1090712"/>
              <a:gd name="connsiteY145" fmla="*/ 312907 h 895572"/>
              <a:gd name="connsiteX146" fmla="*/ 267459 w 1090712"/>
              <a:gd name="connsiteY146" fmla="*/ 295088 h 895572"/>
              <a:gd name="connsiteX147" fmla="*/ 271023 w 1090712"/>
              <a:gd name="connsiteY147" fmla="*/ 279170 h 895572"/>
              <a:gd name="connsiteX148" fmla="*/ 274587 w 1090712"/>
              <a:gd name="connsiteY148" fmla="*/ 263964 h 895572"/>
              <a:gd name="connsiteX149" fmla="*/ 279101 w 1090712"/>
              <a:gd name="connsiteY149" fmla="*/ 250183 h 895572"/>
              <a:gd name="connsiteX150" fmla="*/ 284091 w 1090712"/>
              <a:gd name="connsiteY150" fmla="*/ 238066 h 895572"/>
              <a:gd name="connsiteX151" fmla="*/ 289318 w 1090712"/>
              <a:gd name="connsiteY151" fmla="*/ 226900 h 895572"/>
              <a:gd name="connsiteX152" fmla="*/ 292406 w 1090712"/>
              <a:gd name="connsiteY152" fmla="*/ 221673 h 895572"/>
              <a:gd name="connsiteX153" fmla="*/ 295495 w 1090712"/>
              <a:gd name="connsiteY153" fmla="*/ 217158 h 895572"/>
              <a:gd name="connsiteX154" fmla="*/ 298584 w 1090712"/>
              <a:gd name="connsiteY154" fmla="*/ 212406 h 895572"/>
              <a:gd name="connsiteX155" fmla="*/ 302148 w 1090712"/>
              <a:gd name="connsiteY155" fmla="*/ 208367 h 895572"/>
              <a:gd name="connsiteX156" fmla="*/ 305711 w 1090712"/>
              <a:gd name="connsiteY156" fmla="*/ 204328 h 895572"/>
              <a:gd name="connsiteX157" fmla="*/ 309275 w 1090712"/>
              <a:gd name="connsiteY157" fmla="*/ 200765 h 895572"/>
              <a:gd name="connsiteX158" fmla="*/ 313314 w 1090712"/>
              <a:gd name="connsiteY158" fmla="*/ 197201 h 895572"/>
              <a:gd name="connsiteX159" fmla="*/ 317354 w 1090712"/>
              <a:gd name="connsiteY159" fmla="*/ 194112 h 895572"/>
              <a:gd name="connsiteX160" fmla="*/ 321868 w 1090712"/>
              <a:gd name="connsiteY160" fmla="*/ 191498 h 895572"/>
              <a:gd name="connsiteX161" fmla="*/ 326382 w 1090712"/>
              <a:gd name="connsiteY161" fmla="*/ 188647 h 895572"/>
              <a:gd name="connsiteX162" fmla="*/ 330659 w 1090712"/>
              <a:gd name="connsiteY162" fmla="*/ 186509 h 895572"/>
              <a:gd name="connsiteX163" fmla="*/ 335648 w 1090712"/>
              <a:gd name="connsiteY163" fmla="*/ 184371 h 895572"/>
              <a:gd name="connsiteX164" fmla="*/ 340637 w 1090712"/>
              <a:gd name="connsiteY164" fmla="*/ 182470 h 895572"/>
              <a:gd name="connsiteX165" fmla="*/ 345864 w 1090712"/>
              <a:gd name="connsiteY165" fmla="*/ 181282 h 895572"/>
              <a:gd name="connsiteX166" fmla="*/ 351091 w 1090712"/>
              <a:gd name="connsiteY166" fmla="*/ 179856 h 895572"/>
              <a:gd name="connsiteX167" fmla="*/ 357031 w 1090712"/>
              <a:gd name="connsiteY167" fmla="*/ 178431 h 895572"/>
              <a:gd name="connsiteX168" fmla="*/ 368911 w 1090712"/>
              <a:gd name="connsiteY168" fmla="*/ 177243 h 895572"/>
              <a:gd name="connsiteX169" fmla="*/ 381978 w 1090712"/>
              <a:gd name="connsiteY169" fmla="*/ 176768 h 895572"/>
              <a:gd name="connsiteX170" fmla="*/ 609353 w 1090712"/>
              <a:gd name="connsiteY170" fmla="*/ 174629 h 895572"/>
              <a:gd name="connsiteX171" fmla="*/ 602463 w 1090712"/>
              <a:gd name="connsiteY171" fmla="*/ 180807 h 895572"/>
              <a:gd name="connsiteX172" fmla="*/ 596285 w 1090712"/>
              <a:gd name="connsiteY172" fmla="*/ 187459 h 895572"/>
              <a:gd name="connsiteX173" fmla="*/ 583931 w 1090712"/>
              <a:gd name="connsiteY173" fmla="*/ 201715 h 895572"/>
              <a:gd name="connsiteX174" fmla="*/ 571101 w 1090712"/>
              <a:gd name="connsiteY174" fmla="*/ 215495 h 895572"/>
              <a:gd name="connsiteX175" fmla="*/ 564686 w 1090712"/>
              <a:gd name="connsiteY175" fmla="*/ 222148 h 895572"/>
              <a:gd name="connsiteX176" fmla="*/ 558508 w 1090712"/>
              <a:gd name="connsiteY176" fmla="*/ 228325 h 895572"/>
              <a:gd name="connsiteX177" fmla="*/ 557558 w 1090712"/>
              <a:gd name="connsiteY177" fmla="*/ 223335 h 895572"/>
              <a:gd name="connsiteX178" fmla="*/ 557083 w 1090712"/>
              <a:gd name="connsiteY178" fmla="*/ 219059 h 895572"/>
              <a:gd name="connsiteX179" fmla="*/ 557083 w 1090712"/>
              <a:gd name="connsiteY179" fmla="*/ 215020 h 895572"/>
              <a:gd name="connsiteX180" fmla="*/ 557558 w 1090712"/>
              <a:gd name="connsiteY180" fmla="*/ 210981 h 895572"/>
              <a:gd name="connsiteX181" fmla="*/ 558508 w 1090712"/>
              <a:gd name="connsiteY181" fmla="*/ 207417 h 895572"/>
              <a:gd name="connsiteX182" fmla="*/ 560409 w 1090712"/>
              <a:gd name="connsiteY182" fmla="*/ 203853 h 895572"/>
              <a:gd name="connsiteX183" fmla="*/ 562072 w 1090712"/>
              <a:gd name="connsiteY183" fmla="*/ 200764 h 895572"/>
              <a:gd name="connsiteX184" fmla="*/ 564686 w 1090712"/>
              <a:gd name="connsiteY184" fmla="*/ 197676 h 895572"/>
              <a:gd name="connsiteX185" fmla="*/ 567774 w 1090712"/>
              <a:gd name="connsiteY185" fmla="*/ 194587 h 895572"/>
              <a:gd name="connsiteX186" fmla="*/ 571813 w 1090712"/>
              <a:gd name="connsiteY186" fmla="*/ 191973 h 895572"/>
              <a:gd name="connsiteX187" fmla="*/ 576328 w 1090712"/>
              <a:gd name="connsiteY187" fmla="*/ 188647 h 895572"/>
              <a:gd name="connsiteX188" fmla="*/ 581317 w 1090712"/>
              <a:gd name="connsiteY188" fmla="*/ 186034 h 895572"/>
              <a:gd name="connsiteX189" fmla="*/ 587019 w 1090712"/>
              <a:gd name="connsiteY189" fmla="*/ 183420 h 895572"/>
              <a:gd name="connsiteX190" fmla="*/ 593672 w 1090712"/>
              <a:gd name="connsiteY190" fmla="*/ 180332 h 895572"/>
              <a:gd name="connsiteX191" fmla="*/ 586544 w 1090712"/>
              <a:gd name="connsiteY191" fmla="*/ 0 h 895572"/>
              <a:gd name="connsiteX192" fmla="*/ 570150 w 1090712"/>
              <a:gd name="connsiteY192" fmla="*/ 2851 h 895572"/>
              <a:gd name="connsiteX193" fmla="*/ 553519 w 1090712"/>
              <a:gd name="connsiteY193" fmla="*/ 5940 h 895572"/>
              <a:gd name="connsiteX194" fmla="*/ 536650 w 1090712"/>
              <a:gd name="connsiteY194" fmla="*/ 10454 h 895572"/>
              <a:gd name="connsiteX195" fmla="*/ 520256 w 1090712"/>
              <a:gd name="connsiteY195" fmla="*/ 14731 h 895572"/>
              <a:gd name="connsiteX196" fmla="*/ 486993 w 1090712"/>
              <a:gd name="connsiteY196" fmla="*/ 24472 h 895572"/>
              <a:gd name="connsiteX197" fmla="*/ 469887 w 1090712"/>
              <a:gd name="connsiteY197" fmla="*/ 28986 h 895572"/>
              <a:gd name="connsiteX198" fmla="*/ 453493 w 1090712"/>
              <a:gd name="connsiteY198" fmla="*/ 33500 h 895572"/>
              <a:gd name="connsiteX199" fmla="*/ 438762 w 1090712"/>
              <a:gd name="connsiteY199" fmla="*/ 40153 h 895572"/>
              <a:gd name="connsiteX200" fmla="*/ 424507 w 1090712"/>
              <a:gd name="connsiteY200" fmla="*/ 47281 h 895572"/>
              <a:gd name="connsiteX201" fmla="*/ 417379 w 1090712"/>
              <a:gd name="connsiteY201" fmla="*/ 51320 h 895572"/>
              <a:gd name="connsiteX202" fmla="*/ 410727 w 1090712"/>
              <a:gd name="connsiteY202" fmla="*/ 55834 h 895572"/>
              <a:gd name="connsiteX203" fmla="*/ 403599 w 1090712"/>
              <a:gd name="connsiteY203" fmla="*/ 60111 h 895572"/>
              <a:gd name="connsiteX204" fmla="*/ 397422 w 1090712"/>
              <a:gd name="connsiteY204" fmla="*/ 65100 h 895572"/>
              <a:gd name="connsiteX205" fmla="*/ 390769 w 1090712"/>
              <a:gd name="connsiteY205" fmla="*/ 69852 h 895572"/>
              <a:gd name="connsiteX206" fmla="*/ 384592 w 1090712"/>
              <a:gd name="connsiteY206" fmla="*/ 75792 h 895572"/>
              <a:gd name="connsiteX207" fmla="*/ 378889 w 1090712"/>
              <a:gd name="connsiteY207" fmla="*/ 81494 h 895572"/>
              <a:gd name="connsiteX208" fmla="*/ 372950 w 1090712"/>
              <a:gd name="connsiteY208" fmla="*/ 87671 h 895572"/>
              <a:gd name="connsiteX209" fmla="*/ 367723 w 1090712"/>
              <a:gd name="connsiteY209" fmla="*/ 94324 h 895572"/>
              <a:gd name="connsiteX210" fmla="*/ 362733 w 1090712"/>
              <a:gd name="connsiteY210" fmla="*/ 101452 h 895572"/>
              <a:gd name="connsiteX211" fmla="*/ 357981 w 1090712"/>
              <a:gd name="connsiteY211" fmla="*/ 109055 h 895572"/>
              <a:gd name="connsiteX212" fmla="*/ 353467 w 1090712"/>
              <a:gd name="connsiteY212" fmla="*/ 117608 h 895572"/>
              <a:gd name="connsiteX213" fmla="*/ 409064 w 1090712"/>
              <a:gd name="connsiteY213" fmla="*/ 117608 h 895572"/>
              <a:gd name="connsiteX214" fmla="*/ 406925 w 1090712"/>
              <a:gd name="connsiteY214" fmla="*/ 119271 h 895572"/>
              <a:gd name="connsiteX215" fmla="*/ 404074 w 1090712"/>
              <a:gd name="connsiteY215" fmla="*/ 121647 h 895572"/>
              <a:gd name="connsiteX216" fmla="*/ 400510 w 1090712"/>
              <a:gd name="connsiteY216" fmla="*/ 123310 h 895572"/>
              <a:gd name="connsiteX217" fmla="*/ 397422 w 1090712"/>
              <a:gd name="connsiteY217" fmla="*/ 125211 h 895572"/>
              <a:gd name="connsiteX218" fmla="*/ 393383 w 1090712"/>
              <a:gd name="connsiteY218" fmla="*/ 126399 h 895572"/>
              <a:gd name="connsiteX219" fmla="*/ 389581 w 1090712"/>
              <a:gd name="connsiteY219" fmla="*/ 127824 h 895572"/>
              <a:gd name="connsiteX220" fmla="*/ 385542 w 1090712"/>
              <a:gd name="connsiteY220" fmla="*/ 128299 h 895572"/>
              <a:gd name="connsiteX221" fmla="*/ 381503 w 1090712"/>
              <a:gd name="connsiteY221" fmla="*/ 128774 h 895572"/>
              <a:gd name="connsiteX222" fmla="*/ 375326 w 1090712"/>
              <a:gd name="connsiteY222" fmla="*/ 130438 h 895572"/>
              <a:gd name="connsiteX223" fmla="*/ 368435 w 1090712"/>
              <a:gd name="connsiteY223" fmla="*/ 131863 h 895572"/>
              <a:gd name="connsiteX224" fmla="*/ 361783 w 1090712"/>
              <a:gd name="connsiteY224" fmla="*/ 133051 h 895572"/>
              <a:gd name="connsiteX225" fmla="*/ 355606 w 1090712"/>
              <a:gd name="connsiteY225" fmla="*/ 134001 h 895572"/>
              <a:gd name="connsiteX226" fmla="*/ 342300 w 1090712"/>
              <a:gd name="connsiteY226" fmla="*/ 135427 h 895572"/>
              <a:gd name="connsiteX227" fmla="*/ 329471 w 1090712"/>
              <a:gd name="connsiteY227" fmla="*/ 137090 h 895572"/>
              <a:gd name="connsiteX228" fmla="*/ 322818 w 1090712"/>
              <a:gd name="connsiteY228" fmla="*/ 138040 h 895572"/>
              <a:gd name="connsiteX229" fmla="*/ 316403 w 1090712"/>
              <a:gd name="connsiteY229" fmla="*/ 139704 h 895572"/>
              <a:gd name="connsiteX230" fmla="*/ 310226 w 1090712"/>
              <a:gd name="connsiteY230" fmla="*/ 141604 h 895572"/>
              <a:gd name="connsiteX231" fmla="*/ 304048 w 1090712"/>
              <a:gd name="connsiteY231" fmla="*/ 144218 h 895572"/>
              <a:gd name="connsiteX232" fmla="*/ 298346 w 1090712"/>
              <a:gd name="connsiteY232" fmla="*/ 147307 h 895572"/>
              <a:gd name="connsiteX233" fmla="*/ 292406 w 1090712"/>
              <a:gd name="connsiteY233" fmla="*/ 151346 h 895572"/>
              <a:gd name="connsiteX234" fmla="*/ 286704 w 1090712"/>
              <a:gd name="connsiteY234" fmla="*/ 156335 h 895572"/>
              <a:gd name="connsiteX235" fmla="*/ 281240 w 1090712"/>
              <a:gd name="connsiteY235" fmla="*/ 162037 h 895572"/>
              <a:gd name="connsiteX236" fmla="*/ 262232 w 1090712"/>
              <a:gd name="connsiteY236" fmla="*/ 182945 h 895572"/>
              <a:gd name="connsiteX237" fmla="*/ 242987 w 1090712"/>
              <a:gd name="connsiteY237" fmla="*/ 203378 h 895572"/>
              <a:gd name="connsiteX238" fmla="*/ 203547 w 1090712"/>
              <a:gd name="connsiteY238" fmla="*/ 244006 h 895572"/>
              <a:gd name="connsiteX239" fmla="*/ 183827 w 1090712"/>
              <a:gd name="connsiteY239" fmla="*/ 264439 h 895572"/>
              <a:gd name="connsiteX240" fmla="*/ 164345 w 1090712"/>
              <a:gd name="connsiteY240" fmla="*/ 285822 h 895572"/>
              <a:gd name="connsiteX241" fmla="*/ 144862 w 1090712"/>
              <a:gd name="connsiteY241" fmla="*/ 307443 h 895572"/>
              <a:gd name="connsiteX242" fmla="*/ 126093 w 1090712"/>
              <a:gd name="connsiteY242" fmla="*/ 329777 h 895572"/>
              <a:gd name="connsiteX243" fmla="*/ 122054 w 1090712"/>
              <a:gd name="connsiteY243" fmla="*/ 335004 h 895572"/>
              <a:gd name="connsiteX244" fmla="*/ 118015 w 1090712"/>
              <a:gd name="connsiteY244" fmla="*/ 340468 h 895572"/>
              <a:gd name="connsiteX245" fmla="*/ 110887 w 1090712"/>
              <a:gd name="connsiteY245" fmla="*/ 352110 h 895572"/>
              <a:gd name="connsiteX246" fmla="*/ 104709 w 1090712"/>
              <a:gd name="connsiteY246" fmla="*/ 363514 h 895572"/>
              <a:gd name="connsiteX247" fmla="*/ 99007 w 1090712"/>
              <a:gd name="connsiteY247" fmla="*/ 375156 h 895572"/>
              <a:gd name="connsiteX248" fmla="*/ 87840 w 1090712"/>
              <a:gd name="connsiteY248" fmla="*/ 400103 h 895572"/>
              <a:gd name="connsiteX249" fmla="*/ 82138 w 1090712"/>
              <a:gd name="connsiteY249" fmla="*/ 412458 h 895572"/>
              <a:gd name="connsiteX250" fmla="*/ 75723 w 1090712"/>
              <a:gd name="connsiteY250" fmla="*/ 425050 h 895572"/>
              <a:gd name="connsiteX251" fmla="*/ 75723 w 1090712"/>
              <a:gd name="connsiteY251" fmla="*/ 429802 h 895572"/>
              <a:gd name="connsiteX252" fmla="*/ 76674 w 1090712"/>
              <a:gd name="connsiteY252" fmla="*/ 436217 h 895572"/>
              <a:gd name="connsiteX253" fmla="*/ 77149 w 1090712"/>
              <a:gd name="connsiteY253" fmla="*/ 439306 h 895572"/>
              <a:gd name="connsiteX254" fmla="*/ 78574 w 1090712"/>
              <a:gd name="connsiteY254" fmla="*/ 442395 h 895572"/>
              <a:gd name="connsiteX255" fmla="*/ 79762 w 1090712"/>
              <a:gd name="connsiteY255" fmla="*/ 445008 h 895572"/>
              <a:gd name="connsiteX256" fmla="*/ 81663 w 1090712"/>
              <a:gd name="connsiteY256" fmla="*/ 447147 h 895572"/>
              <a:gd name="connsiteX257" fmla="*/ 94018 w 1090712"/>
              <a:gd name="connsiteY257" fmla="*/ 468055 h 895572"/>
              <a:gd name="connsiteX258" fmla="*/ 106848 w 1090712"/>
              <a:gd name="connsiteY258" fmla="*/ 488963 h 895572"/>
              <a:gd name="connsiteX259" fmla="*/ 113975 w 1090712"/>
              <a:gd name="connsiteY259" fmla="*/ 499654 h 895572"/>
              <a:gd name="connsiteX260" fmla="*/ 121103 w 1090712"/>
              <a:gd name="connsiteY260" fmla="*/ 510346 h 895572"/>
              <a:gd name="connsiteX261" fmla="*/ 128706 w 1090712"/>
              <a:gd name="connsiteY261" fmla="*/ 520562 h 895572"/>
              <a:gd name="connsiteX262" fmla="*/ 137259 w 1090712"/>
              <a:gd name="connsiteY262" fmla="*/ 531254 h 895572"/>
              <a:gd name="connsiteX263" fmla="*/ 149614 w 1090712"/>
              <a:gd name="connsiteY263" fmla="*/ 514385 h 895572"/>
              <a:gd name="connsiteX264" fmla="*/ 162206 w 1090712"/>
              <a:gd name="connsiteY264" fmla="*/ 498466 h 895572"/>
              <a:gd name="connsiteX265" fmla="*/ 174561 w 1090712"/>
              <a:gd name="connsiteY265" fmla="*/ 483260 h 895572"/>
              <a:gd name="connsiteX266" fmla="*/ 180739 w 1090712"/>
              <a:gd name="connsiteY266" fmla="*/ 476133 h 895572"/>
              <a:gd name="connsiteX267" fmla="*/ 186916 w 1090712"/>
              <a:gd name="connsiteY267" fmla="*/ 469480 h 895572"/>
              <a:gd name="connsiteX268" fmla="*/ 182639 w 1090712"/>
              <a:gd name="connsiteY268" fmla="*/ 482310 h 895572"/>
              <a:gd name="connsiteX269" fmla="*/ 178125 w 1090712"/>
              <a:gd name="connsiteY269" fmla="*/ 495615 h 895572"/>
              <a:gd name="connsiteX270" fmla="*/ 172423 w 1090712"/>
              <a:gd name="connsiteY270" fmla="*/ 509871 h 895572"/>
              <a:gd name="connsiteX271" fmla="*/ 164820 w 1090712"/>
              <a:gd name="connsiteY271" fmla="*/ 525552 h 895572"/>
              <a:gd name="connsiteX272" fmla="*/ 156267 w 1090712"/>
              <a:gd name="connsiteY272" fmla="*/ 538381 h 895572"/>
              <a:gd name="connsiteX273" fmla="*/ 152703 w 1090712"/>
              <a:gd name="connsiteY273" fmla="*/ 544559 h 895572"/>
              <a:gd name="connsiteX274" fmla="*/ 148664 w 1090712"/>
              <a:gd name="connsiteY274" fmla="*/ 551449 h 895572"/>
              <a:gd name="connsiteX275" fmla="*/ 145100 w 1090712"/>
              <a:gd name="connsiteY275" fmla="*/ 558339 h 895572"/>
              <a:gd name="connsiteX276" fmla="*/ 142011 w 1090712"/>
              <a:gd name="connsiteY276" fmla="*/ 565467 h 895572"/>
              <a:gd name="connsiteX277" fmla="*/ 139398 w 1090712"/>
              <a:gd name="connsiteY277" fmla="*/ 573070 h 895572"/>
              <a:gd name="connsiteX278" fmla="*/ 137259 w 1090712"/>
              <a:gd name="connsiteY278" fmla="*/ 581623 h 895572"/>
              <a:gd name="connsiteX279" fmla="*/ 136309 w 1090712"/>
              <a:gd name="connsiteY279" fmla="*/ 583761 h 895572"/>
              <a:gd name="connsiteX280" fmla="*/ 135359 w 1090712"/>
              <a:gd name="connsiteY280" fmla="*/ 586137 h 895572"/>
              <a:gd name="connsiteX281" fmla="*/ 134883 w 1090712"/>
              <a:gd name="connsiteY281" fmla="*/ 590889 h 895572"/>
              <a:gd name="connsiteX282" fmla="*/ 134883 w 1090712"/>
              <a:gd name="connsiteY282" fmla="*/ 595879 h 895572"/>
              <a:gd name="connsiteX283" fmla="*/ 135359 w 1090712"/>
              <a:gd name="connsiteY283" fmla="*/ 601106 h 895572"/>
              <a:gd name="connsiteX284" fmla="*/ 136784 w 1090712"/>
              <a:gd name="connsiteY284" fmla="*/ 606095 h 895572"/>
              <a:gd name="connsiteX285" fmla="*/ 138447 w 1090712"/>
              <a:gd name="connsiteY285" fmla="*/ 611322 h 895572"/>
              <a:gd name="connsiteX286" fmla="*/ 140348 w 1090712"/>
              <a:gd name="connsiteY286" fmla="*/ 616311 h 895572"/>
              <a:gd name="connsiteX287" fmla="*/ 142486 w 1090712"/>
              <a:gd name="connsiteY287" fmla="*/ 620826 h 895572"/>
              <a:gd name="connsiteX288" fmla="*/ 148664 w 1090712"/>
              <a:gd name="connsiteY288" fmla="*/ 629616 h 895572"/>
              <a:gd name="connsiteX289" fmla="*/ 155554 w 1090712"/>
              <a:gd name="connsiteY289" fmla="*/ 637219 h 895572"/>
              <a:gd name="connsiteX290" fmla="*/ 162444 w 1090712"/>
              <a:gd name="connsiteY290" fmla="*/ 643872 h 895572"/>
              <a:gd name="connsiteX291" fmla="*/ 169572 w 1090712"/>
              <a:gd name="connsiteY291" fmla="*/ 649099 h 895572"/>
              <a:gd name="connsiteX292" fmla="*/ 177175 w 1090712"/>
              <a:gd name="connsiteY292" fmla="*/ 653613 h 895572"/>
              <a:gd name="connsiteX293" fmla="*/ 184778 w 1090712"/>
              <a:gd name="connsiteY293" fmla="*/ 657177 h 895572"/>
              <a:gd name="connsiteX294" fmla="*/ 192856 w 1090712"/>
              <a:gd name="connsiteY294" fmla="*/ 659553 h 895572"/>
              <a:gd name="connsiteX295" fmla="*/ 200934 w 1090712"/>
              <a:gd name="connsiteY295" fmla="*/ 661216 h 895572"/>
              <a:gd name="connsiteX296" fmla="*/ 209250 w 1090712"/>
              <a:gd name="connsiteY296" fmla="*/ 661691 h 895572"/>
              <a:gd name="connsiteX297" fmla="*/ 218278 w 1090712"/>
              <a:gd name="connsiteY297" fmla="*/ 661691 h 895572"/>
              <a:gd name="connsiteX298" fmla="*/ 227069 w 1090712"/>
              <a:gd name="connsiteY298" fmla="*/ 660266 h 895572"/>
              <a:gd name="connsiteX299" fmla="*/ 236335 w 1090712"/>
              <a:gd name="connsiteY299" fmla="*/ 658603 h 895572"/>
              <a:gd name="connsiteX300" fmla="*/ 245838 w 1090712"/>
              <a:gd name="connsiteY300" fmla="*/ 655514 h 895572"/>
              <a:gd name="connsiteX301" fmla="*/ 255580 w 1090712"/>
              <a:gd name="connsiteY301" fmla="*/ 652425 h 895572"/>
              <a:gd name="connsiteX302" fmla="*/ 265321 w 1090712"/>
              <a:gd name="connsiteY302" fmla="*/ 647911 h 895572"/>
              <a:gd name="connsiteX303" fmla="*/ 276013 w 1090712"/>
              <a:gd name="connsiteY303" fmla="*/ 642922 h 895572"/>
              <a:gd name="connsiteX304" fmla="*/ 288367 w 1090712"/>
              <a:gd name="connsiteY304" fmla="*/ 635081 h 895572"/>
              <a:gd name="connsiteX305" fmla="*/ 301910 w 1090712"/>
              <a:gd name="connsiteY305" fmla="*/ 627478 h 895572"/>
              <a:gd name="connsiteX306" fmla="*/ 315215 w 1090712"/>
              <a:gd name="connsiteY306" fmla="*/ 620350 h 895572"/>
              <a:gd name="connsiteX307" fmla="*/ 329471 w 1090712"/>
              <a:gd name="connsiteY307" fmla="*/ 613698 h 895572"/>
              <a:gd name="connsiteX308" fmla="*/ 343726 w 1090712"/>
              <a:gd name="connsiteY308" fmla="*/ 607283 h 895572"/>
              <a:gd name="connsiteX309" fmla="*/ 357981 w 1090712"/>
              <a:gd name="connsiteY309" fmla="*/ 602056 h 895572"/>
              <a:gd name="connsiteX310" fmla="*/ 371999 w 1090712"/>
              <a:gd name="connsiteY310" fmla="*/ 597066 h 895572"/>
              <a:gd name="connsiteX311" fmla="*/ 386730 w 1090712"/>
              <a:gd name="connsiteY311" fmla="*/ 592790 h 895572"/>
              <a:gd name="connsiteX312" fmla="*/ 394808 w 1090712"/>
              <a:gd name="connsiteY312" fmla="*/ 590414 h 895572"/>
              <a:gd name="connsiteX313" fmla="*/ 402411 w 1090712"/>
              <a:gd name="connsiteY313" fmla="*/ 587325 h 895572"/>
              <a:gd name="connsiteX314" fmla="*/ 409064 w 1090712"/>
              <a:gd name="connsiteY314" fmla="*/ 583761 h 895572"/>
              <a:gd name="connsiteX315" fmla="*/ 411677 w 1090712"/>
              <a:gd name="connsiteY315" fmla="*/ 581623 h 895572"/>
              <a:gd name="connsiteX316" fmla="*/ 414766 w 1090712"/>
              <a:gd name="connsiteY316" fmla="*/ 579247 h 895572"/>
              <a:gd name="connsiteX317" fmla="*/ 417142 w 1090712"/>
              <a:gd name="connsiteY317" fmla="*/ 577109 h 895572"/>
              <a:gd name="connsiteX318" fmla="*/ 419280 w 1090712"/>
              <a:gd name="connsiteY318" fmla="*/ 574495 h 895572"/>
              <a:gd name="connsiteX319" fmla="*/ 420943 w 1090712"/>
              <a:gd name="connsiteY319" fmla="*/ 571407 h 895572"/>
              <a:gd name="connsiteX320" fmla="*/ 422844 w 1090712"/>
              <a:gd name="connsiteY320" fmla="*/ 568318 h 895572"/>
              <a:gd name="connsiteX321" fmla="*/ 424269 w 1090712"/>
              <a:gd name="connsiteY321" fmla="*/ 565229 h 895572"/>
              <a:gd name="connsiteX322" fmla="*/ 424982 w 1090712"/>
              <a:gd name="connsiteY322" fmla="*/ 561665 h 895572"/>
              <a:gd name="connsiteX323" fmla="*/ 425457 w 1090712"/>
              <a:gd name="connsiteY323" fmla="*/ 557626 h 895572"/>
              <a:gd name="connsiteX324" fmla="*/ 425932 w 1090712"/>
              <a:gd name="connsiteY324" fmla="*/ 553587 h 895572"/>
              <a:gd name="connsiteX325" fmla="*/ 425932 w 1090712"/>
              <a:gd name="connsiteY325" fmla="*/ 413884 h 895572"/>
              <a:gd name="connsiteX326" fmla="*/ 425932 w 1090712"/>
              <a:gd name="connsiteY326" fmla="*/ 285347 h 895572"/>
              <a:gd name="connsiteX327" fmla="*/ 429496 w 1090712"/>
              <a:gd name="connsiteY327" fmla="*/ 300078 h 895572"/>
              <a:gd name="connsiteX328" fmla="*/ 433060 w 1090712"/>
              <a:gd name="connsiteY328" fmla="*/ 314096 h 895572"/>
              <a:gd name="connsiteX329" fmla="*/ 436149 w 1090712"/>
              <a:gd name="connsiteY329" fmla="*/ 328826 h 895572"/>
              <a:gd name="connsiteX330" fmla="*/ 438762 w 1090712"/>
              <a:gd name="connsiteY330" fmla="*/ 343082 h 895572"/>
              <a:gd name="connsiteX331" fmla="*/ 443752 w 1090712"/>
              <a:gd name="connsiteY331" fmla="*/ 370642 h 895572"/>
              <a:gd name="connsiteX332" fmla="*/ 447791 w 1090712"/>
              <a:gd name="connsiteY332" fmla="*/ 397015 h 895572"/>
              <a:gd name="connsiteX333" fmla="*/ 451830 w 1090712"/>
              <a:gd name="connsiteY333" fmla="*/ 421962 h 895572"/>
              <a:gd name="connsiteX334" fmla="*/ 454919 w 1090712"/>
              <a:gd name="connsiteY334" fmla="*/ 446434 h 895572"/>
              <a:gd name="connsiteX335" fmla="*/ 456106 w 1090712"/>
              <a:gd name="connsiteY335" fmla="*/ 458313 h 895572"/>
              <a:gd name="connsiteX336" fmla="*/ 457057 w 1090712"/>
              <a:gd name="connsiteY336" fmla="*/ 470430 h 895572"/>
              <a:gd name="connsiteX337" fmla="*/ 457532 w 1090712"/>
              <a:gd name="connsiteY337" fmla="*/ 482310 h 895572"/>
              <a:gd name="connsiteX338" fmla="*/ 457532 w 1090712"/>
              <a:gd name="connsiteY338" fmla="*/ 493952 h 895572"/>
              <a:gd name="connsiteX339" fmla="*/ 457532 w 1090712"/>
              <a:gd name="connsiteY339" fmla="*/ 506069 h 895572"/>
              <a:gd name="connsiteX340" fmla="*/ 456582 w 1090712"/>
              <a:gd name="connsiteY340" fmla="*/ 517473 h 895572"/>
              <a:gd name="connsiteX341" fmla="*/ 455869 w 1090712"/>
              <a:gd name="connsiteY341" fmla="*/ 529116 h 895572"/>
              <a:gd name="connsiteX342" fmla="*/ 453968 w 1090712"/>
              <a:gd name="connsiteY342" fmla="*/ 540757 h 895572"/>
              <a:gd name="connsiteX343" fmla="*/ 452305 w 1090712"/>
              <a:gd name="connsiteY343" fmla="*/ 552162 h 895572"/>
              <a:gd name="connsiteX344" fmla="*/ 449454 w 1090712"/>
              <a:gd name="connsiteY344" fmla="*/ 563804 h 895572"/>
              <a:gd name="connsiteX345" fmla="*/ 446365 w 1090712"/>
              <a:gd name="connsiteY345" fmla="*/ 575446 h 895572"/>
              <a:gd name="connsiteX346" fmla="*/ 442326 w 1090712"/>
              <a:gd name="connsiteY346" fmla="*/ 586850 h 895572"/>
              <a:gd name="connsiteX347" fmla="*/ 440188 w 1090712"/>
              <a:gd name="connsiteY347" fmla="*/ 591364 h 895572"/>
              <a:gd name="connsiteX348" fmla="*/ 437574 w 1090712"/>
              <a:gd name="connsiteY348" fmla="*/ 595403 h 895572"/>
              <a:gd name="connsiteX349" fmla="*/ 434486 w 1090712"/>
              <a:gd name="connsiteY349" fmla="*/ 598967 h 895572"/>
              <a:gd name="connsiteX350" fmla="*/ 431397 w 1090712"/>
              <a:gd name="connsiteY350" fmla="*/ 602531 h 895572"/>
              <a:gd name="connsiteX351" fmla="*/ 428071 w 1090712"/>
              <a:gd name="connsiteY351" fmla="*/ 605145 h 895572"/>
              <a:gd name="connsiteX352" fmla="*/ 424982 w 1090712"/>
              <a:gd name="connsiteY352" fmla="*/ 607283 h 895572"/>
              <a:gd name="connsiteX353" fmla="*/ 422369 w 1090712"/>
              <a:gd name="connsiteY353" fmla="*/ 608708 h 895572"/>
              <a:gd name="connsiteX354" fmla="*/ 420230 w 1090712"/>
              <a:gd name="connsiteY354" fmla="*/ 609659 h 895572"/>
              <a:gd name="connsiteX355" fmla="*/ 410727 w 1090712"/>
              <a:gd name="connsiteY355" fmla="*/ 610847 h 895572"/>
              <a:gd name="connsiteX356" fmla="*/ 401461 w 1090712"/>
              <a:gd name="connsiteY356" fmla="*/ 612748 h 895572"/>
              <a:gd name="connsiteX357" fmla="*/ 392670 w 1090712"/>
              <a:gd name="connsiteY357" fmla="*/ 614886 h 895572"/>
              <a:gd name="connsiteX358" fmla="*/ 383641 w 1090712"/>
              <a:gd name="connsiteY358" fmla="*/ 617262 h 895572"/>
              <a:gd name="connsiteX359" fmla="*/ 374850 w 1090712"/>
              <a:gd name="connsiteY359" fmla="*/ 620350 h 895572"/>
              <a:gd name="connsiteX360" fmla="*/ 365822 w 1090712"/>
              <a:gd name="connsiteY360" fmla="*/ 623914 h 895572"/>
              <a:gd name="connsiteX361" fmla="*/ 348478 w 1090712"/>
              <a:gd name="connsiteY361" fmla="*/ 631042 h 895572"/>
              <a:gd name="connsiteX362" fmla="*/ 331609 w 1090712"/>
              <a:gd name="connsiteY362" fmla="*/ 639358 h 895572"/>
              <a:gd name="connsiteX363" fmla="*/ 314740 w 1090712"/>
              <a:gd name="connsiteY363" fmla="*/ 647911 h 895572"/>
              <a:gd name="connsiteX364" fmla="*/ 281240 w 1090712"/>
              <a:gd name="connsiteY364" fmla="*/ 665255 h 895572"/>
              <a:gd name="connsiteX365" fmla="*/ 274587 w 1090712"/>
              <a:gd name="connsiteY365" fmla="*/ 669294 h 895572"/>
              <a:gd name="connsiteX366" fmla="*/ 267935 w 1090712"/>
              <a:gd name="connsiteY366" fmla="*/ 672858 h 895572"/>
              <a:gd name="connsiteX367" fmla="*/ 261757 w 1090712"/>
              <a:gd name="connsiteY367" fmla="*/ 675947 h 895572"/>
              <a:gd name="connsiteX368" fmla="*/ 255105 w 1090712"/>
              <a:gd name="connsiteY368" fmla="*/ 679035 h 895572"/>
              <a:gd name="connsiteX369" fmla="*/ 248927 w 1090712"/>
              <a:gd name="connsiteY369" fmla="*/ 681174 h 895572"/>
              <a:gd name="connsiteX370" fmla="*/ 242987 w 1090712"/>
              <a:gd name="connsiteY370" fmla="*/ 683075 h 895572"/>
              <a:gd name="connsiteX371" fmla="*/ 236810 w 1090712"/>
              <a:gd name="connsiteY371" fmla="*/ 684738 h 895572"/>
              <a:gd name="connsiteX372" fmla="*/ 231108 w 1090712"/>
              <a:gd name="connsiteY372" fmla="*/ 686163 h 895572"/>
              <a:gd name="connsiteX373" fmla="*/ 225406 w 1090712"/>
              <a:gd name="connsiteY373" fmla="*/ 687114 h 895572"/>
              <a:gd name="connsiteX374" fmla="*/ 219466 w 1090712"/>
              <a:gd name="connsiteY374" fmla="*/ 687589 h 895572"/>
              <a:gd name="connsiteX375" fmla="*/ 213764 w 1090712"/>
              <a:gd name="connsiteY375" fmla="*/ 687589 h 895572"/>
              <a:gd name="connsiteX376" fmla="*/ 208299 w 1090712"/>
              <a:gd name="connsiteY376" fmla="*/ 687589 h 895572"/>
              <a:gd name="connsiteX377" fmla="*/ 203072 w 1090712"/>
              <a:gd name="connsiteY377" fmla="*/ 687114 h 895572"/>
              <a:gd name="connsiteX378" fmla="*/ 197607 w 1090712"/>
              <a:gd name="connsiteY378" fmla="*/ 686163 h 895572"/>
              <a:gd name="connsiteX379" fmla="*/ 192380 w 1090712"/>
              <a:gd name="connsiteY379" fmla="*/ 684738 h 895572"/>
              <a:gd name="connsiteX380" fmla="*/ 186916 w 1090712"/>
              <a:gd name="connsiteY380" fmla="*/ 683550 h 895572"/>
              <a:gd name="connsiteX381" fmla="*/ 181689 w 1090712"/>
              <a:gd name="connsiteY381" fmla="*/ 681649 h 895572"/>
              <a:gd name="connsiteX382" fmla="*/ 176699 w 1090712"/>
              <a:gd name="connsiteY382" fmla="*/ 679986 h 895572"/>
              <a:gd name="connsiteX383" fmla="*/ 171472 w 1090712"/>
              <a:gd name="connsiteY383" fmla="*/ 677610 h 895572"/>
              <a:gd name="connsiteX384" fmla="*/ 166483 w 1090712"/>
              <a:gd name="connsiteY384" fmla="*/ 674996 h 895572"/>
              <a:gd name="connsiteX385" fmla="*/ 156742 w 1090712"/>
              <a:gd name="connsiteY385" fmla="*/ 669294 h 895572"/>
              <a:gd name="connsiteX386" fmla="*/ 147001 w 1090712"/>
              <a:gd name="connsiteY386" fmla="*/ 662167 h 895572"/>
              <a:gd name="connsiteX387" fmla="*/ 137735 w 1090712"/>
              <a:gd name="connsiteY387" fmla="*/ 654564 h 895572"/>
              <a:gd name="connsiteX388" fmla="*/ 127756 w 1090712"/>
              <a:gd name="connsiteY388" fmla="*/ 645535 h 895572"/>
              <a:gd name="connsiteX389" fmla="*/ 118490 w 1090712"/>
              <a:gd name="connsiteY389" fmla="*/ 636269 h 895572"/>
              <a:gd name="connsiteX390" fmla="*/ 109224 w 1090712"/>
              <a:gd name="connsiteY390" fmla="*/ 626053 h 895572"/>
              <a:gd name="connsiteX391" fmla="*/ 107323 w 1090712"/>
              <a:gd name="connsiteY391" fmla="*/ 623914 h 895572"/>
              <a:gd name="connsiteX392" fmla="*/ 106135 w 1090712"/>
              <a:gd name="connsiteY392" fmla="*/ 620350 h 895572"/>
              <a:gd name="connsiteX393" fmla="*/ 105185 w 1090712"/>
              <a:gd name="connsiteY393" fmla="*/ 616311 h 895572"/>
              <a:gd name="connsiteX394" fmla="*/ 105185 w 1090712"/>
              <a:gd name="connsiteY394" fmla="*/ 612272 h 895572"/>
              <a:gd name="connsiteX395" fmla="*/ 105185 w 1090712"/>
              <a:gd name="connsiteY395" fmla="*/ 608233 h 895572"/>
              <a:gd name="connsiteX396" fmla="*/ 106135 w 1090712"/>
              <a:gd name="connsiteY396" fmla="*/ 604194 h 895572"/>
              <a:gd name="connsiteX397" fmla="*/ 107323 w 1090712"/>
              <a:gd name="connsiteY397" fmla="*/ 600630 h 895572"/>
              <a:gd name="connsiteX398" fmla="*/ 109224 w 1090712"/>
              <a:gd name="connsiteY398" fmla="*/ 598017 h 895572"/>
              <a:gd name="connsiteX399" fmla="*/ 111837 w 1090712"/>
              <a:gd name="connsiteY399" fmla="*/ 591840 h 895572"/>
              <a:gd name="connsiteX400" fmla="*/ 113975 w 1090712"/>
              <a:gd name="connsiteY400" fmla="*/ 586137 h 895572"/>
              <a:gd name="connsiteX401" fmla="*/ 115401 w 1090712"/>
              <a:gd name="connsiteY401" fmla="*/ 579722 h 895572"/>
              <a:gd name="connsiteX402" fmla="*/ 115876 w 1090712"/>
              <a:gd name="connsiteY402" fmla="*/ 574020 h 895572"/>
              <a:gd name="connsiteX403" fmla="*/ 115876 w 1090712"/>
              <a:gd name="connsiteY403" fmla="*/ 568318 h 895572"/>
              <a:gd name="connsiteX404" fmla="*/ 115401 w 1090712"/>
              <a:gd name="connsiteY404" fmla="*/ 562378 h 895572"/>
              <a:gd name="connsiteX405" fmla="*/ 114451 w 1090712"/>
              <a:gd name="connsiteY405" fmla="*/ 557151 h 895572"/>
              <a:gd name="connsiteX406" fmla="*/ 112788 w 1090712"/>
              <a:gd name="connsiteY406" fmla="*/ 551449 h 895572"/>
              <a:gd name="connsiteX407" fmla="*/ 110412 w 1090712"/>
              <a:gd name="connsiteY407" fmla="*/ 545984 h 895572"/>
              <a:gd name="connsiteX408" fmla="*/ 108273 w 1090712"/>
              <a:gd name="connsiteY408" fmla="*/ 540757 h 895572"/>
              <a:gd name="connsiteX409" fmla="*/ 105185 w 1090712"/>
              <a:gd name="connsiteY409" fmla="*/ 535293 h 895572"/>
              <a:gd name="connsiteX410" fmla="*/ 102096 w 1090712"/>
              <a:gd name="connsiteY410" fmla="*/ 530066 h 895572"/>
              <a:gd name="connsiteX411" fmla="*/ 94968 w 1090712"/>
              <a:gd name="connsiteY411" fmla="*/ 519374 h 895572"/>
              <a:gd name="connsiteX412" fmla="*/ 86890 w 1090712"/>
              <a:gd name="connsiteY412" fmla="*/ 508683 h 895572"/>
              <a:gd name="connsiteX413" fmla="*/ 78812 w 1090712"/>
              <a:gd name="connsiteY413" fmla="*/ 497991 h 895572"/>
              <a:gd name="connsiteX414" fmla="*/ 70972 w 1090712"/>
              <a:gd name="connsiteY414" fmla="*/ 486824 h 895572"/>
              <a:gd name="connsiteX415" fmla="*/ 67408 w 1090712"/>
              <a:gd name="connsiteY415" fmla="*/ 481122 h 895572"/>
              <a:gd name="connsiteX416" fmla="*/ 64319 w 1090712"/>
              <a:gd name="connsiteY416" fmla="*/ 474707 h 895572"/>
              <a:gd name="connsiteX417" fmla="*/ 61230 w 1090712"/>
              <a:gd name="connsiteY417" fmla="*/ 469005 h 895572"/>
              <a:gd name="connsiteX418" fmla="*/ 58379 w 1090712"/>
              <a:gd name="connsiteY418" fmla="*/ 462828 h 895572"/>
              <a:gd name="connsiteX419" fmla="*/ 56716 w 1090712"/>
              <a:gd name="connsiteY419" fmla="*/ 456175 h 895572"/>
              <a:gd name="connsiteX420" fmla="*/ 54815 w 1090712"/>
              <a:gd name="connsiteY420" fmla="*/ 449998 h 895572"/>
              <a:gd name="connsiteX421" fmla="*/ 54103 w 1090712"/>
              <a:gd name="connsiteY421" fmla="*/ 443345 h 895572"/>
              <a:gd name="connsiteX422" fmla="*/ 53627 w 1090712"/>
              <a:gd name="connsiteY422" fmla="*/ 436455 h 895572"/>
              <a:gd name="connsiteX423" fmla="*/ 53627 w 1090712"/>
              <a:gd name="connsiteY423" fmla="*/ 429327 h 895572"/>
              <a:gd name="connsiteX424" fmla="*/ 54815 w 1090712"/>
              <a:gd name="connsiteY424" fmla="*/ 422675 h 895572"/>
              <a:gd name="connsiteX425" fmla="*/ 56716 w 1090712"/>
              <a:gd name="connsiteY425" fmla="*/ 415547 h 895572"/>
              <a:gd name="connsiteX426" fmla="*/ 59330 w 1090712"/>
              <a:gd name="connsiteY426" fmla="*/ 408182 h 895572"/>
              <a:gd name="connsiteX427" fmla="*/ 60280 w 1090712"/>
              <a:gd name="connsiteY427" fmla="*/ 403192 h 895572"/>
              <a:gd name="connsiteX428" fmla="*/ 61943 w 1090712"/>
              <a:gd name="connsiteY428" fmla="*/ 397965 h 895572"/>
              <a:gd name="connsiteX429" fmla="*/ 65507 w 1090712"/>
              <a:gd name="connsiteY429" fmla="*/ 387986 h 895572"/>
              <a:gd name="connsiteX430" fmla="*/ 69546 w 1090712"/>
              <a:gd name="connsiteY430" fmla="*/ 378720 h 895572"/>
              <a:gd name="connsiteX431" fmla="*/ 74535 w 1090712"/>
              <a:gd name="connsiteY431" fmla="*/ 369929 h 895572"/>
              <a:gd name="connsiteX432" fmla="*/ 79762 w 1090712"/>
              <a:gd name="connsiteY432" fmla="*/ 360901 h 895572"/>
              <a:gd name="connsiteX433" fmla="*/ 85940 w 1090712"/>
              <a:gd name="connsiteY433" fmla="*/ 352585 h 895572"/>
              <a:gd name="connsiteX434" fmla="*/ 98057 w 1090712"/>
              <a:gd name="connsiteY434" fmla="*/ 335479 h 895572"/>
              <a:gd name="connsiteX435" fmla="*/ 102571 w 1090712"/>
              <a:gd name="connsiteY435" fmla="*/ 328113 h 895572"/>
              <a:gd name="connsiteX436" fmla="*/ 106848 w 1090712"/>
              <a:gd name="connsiteY436" fmla="*/ 320986 h 895572"/>
              <a:gd name="connsiteX437" fmla="*/ 116827 w 1090712"/>
              <a:gd name="connsiteY437" fmla="*/ 307205 h 895572"/>
              <a:gd name="connsiteX438" fmla="*/ 127043 w 1090712"/>
              <a:gd name="connsiteY438" fmla="*/ 293188 h 895572"/>
              <a:gd name="connsiteX439" fmla="*/ 137735 w 1090712"/>
              <a:gd name="connsiteY439" fmla="*/ 279407 h 895572"/>
              <a:gd name="connsiteX440" fmla="*/ 159831 w 1090712"/>
              <a:gd name="connsiteY440" fmla="*/ 251847 h 895572"/>
              <a:gd name="connsiteX441" fmla="*/ 170522 w 1090712"/>
              <a:gd name="connsiteY441" fmla="*/ 238066 h 895572"/>
              <a:gd name="connsiteX442" fmla="*/ 181214 w 1090712"/>
              <a:gd name="connsiteY442" fmla="*/ 223336 h 895572"/>
              <a:gd name="connsiteX443" fmla="*/ 164820 w 1090712"/>
              <a:gd name="connsiteY443" fmla="*/ 223336 h 895572"/>
              <a:gd name="connsiteX444" fmla="*/ 137972 w 1090712"/>
              <a:gd name="connsiteY444" fmla="*/ 230226 h 895572"/>
              <a:gd name="connsiteX445" fmla="*/ 125142 w 1090712"/>
              <a:gd name="connsiteY445" fmla="*/ 233790 h 895572"/>
              <a:gd name="connsiteX446" fmla="*/ 112788 w 1090712"/>
              <a:gd name="connsiteY446" fmla="*/ 237591 h 895572"/>
              <a:gd name="connsiteX447" fmla="*/ 100195 w 1090712"/>
              <a:gd name="connsiteY447" fmla="*/ 241630 h 895572"/>
              <a:gd name="connsiteX448" fmla="*/ 87840 w 1090712"/>
              <a:gd name="connsiteY448" fmla="*/ 245669 h 895572"/>
              <a:gd name="connsiteX449" fmla="*/ 75723 w 1090712"/>
              <a:gd name="connsiteY449" fmla="*/ 250183 h 895572"/>
              <a:gd name="connsiteX450" fmla="*/ 64319 w 1090712"/>
              <a:gd name="connsiteY450" fmla="*/ 254935 h 895572"/>
              <a:gd name="connsiteX451" fmla="*/ 52677 w 1090712"/>
              <a:gd name="connsiteY451" fmla="*/ 260400 h 895572"/>
              <a:gd name="connsiteX452" fmla="*/ 41035 w 1090712"/>
              <a:gd name="connsiteY452" fmla="*/ 265627 h 895572"/>
              <a:gd name="connsiteX453" fmla="*/ 29868 w 1090712"/>
              <a:gd name="connsiteY453" fmla="*/ 271567 h 895572"/>
              <a:gd name="connsiteX454" fmla="*/ 18939 w 1090712"/>
              <a:gd name="connsiteY454" fmla="*/ 277744 h 895572"/>
              <a:gd name="connsiteX455" fmla="*/ 7772 w 1090712"/>
              <a:gd name="connsiteY455" fmla="*/ 284397 h 895572"/>
              <a:gd name="connsiteX456" fmla="*/ 0 w 1090712"/>
              <a:gd name="connsiteY456" fmla="*/ 289924 h 895572"/>
              <a:gd name="connsiteX457" fmla="*/ 0 w 1090712"/>
              <a:gd name="connsiteY457" fmla="*/ 895572 h 895572"/>
              <a:gd name="connsiteX458" fmla="*/ 125653 w 1090712"/>
              <a:gd name="connsiteY458" fmla="*/ 895572 h 895572"/>
              <a:gd name="connsiteX459" fmla="*/ 127756 w 1090712"/>
              <a:gd name="connsiteY459" fmla="*/ 892155 h 895572"/>
              <a:gd name="connsiteX460" fmla="*/ 131082 w 1090712"/>
              <a:gd name="connsiteY460" fmla="*/ 885502 h 895572"/>
              <a:gd name="connsiteX461" fmla="*/ 133696 w 1090712"/>
              <a:gd name="connsiteY461" fmla="*/ 878374 h 895572"/>
              <a:gd name="connsiteX462" fmla="*/ 135834 w 1090712"/>
              <a:gd name="connsiteY462" fmla="*/ 871722 h 895572"/>
              <a:gd name="connsiteX463" fmla="*/ 137735 w 1090712"/>
              <a:gd name="connsiteY463" fmla="*/ 864594 h 895572"/>
              <a:gd name="connsiteX464" fmla="*/ 138923 w 1090712"/>
              <a:gd name="connsiteY464" fmla="*/ 857466 h 895572"/>
              <a:gd name="connsiteX465" fmla="*/ 140348 w 1090712"/>
              <a:gd name="connsiteY465" fmla="*/ 850339 h 895572"/>
              <a:gd name="connsiteX466" fmla="*/ 141298 w 1090712"/>
              <a:gd name="connsiteY466" fmla="*/ 843211 h 895572"/>
              <a:gd name="connsiteX467" fmla="*/ 142011 w 1090712"/>
              <a:gd name="connsiteY467" fmla="*/ 828955 h 895572"/>
              <a:gd name="connsiteX468" fmla="*/ 142486 w 1090712"/>
              <a:gd name="connsiteY468" fmla="*/ 814225 h 895572"/>
              <a:gd name="connsiteX469" fmla="*/ 142486 w 1090712"/>
              <a:gd name="connsiteY469" fmla="*/ 799494 h 895572"/>
              <a:gd name="connsiteX470" fmla="*/ 142486 w 1090712"/>
              <a:gd name="connsiteY470" fmla="*/ 782625 h 895572"/>
              <a:gd name="connsiteX471" fmla="*/ 142486 w 1090712"/>
              <a:gd name="connsiteY471" fmla="*/ 771458 h 895572"/>
              <a:gd name="connsiteX472" fmla="*/ 143912 w 1090712"/>
              <a:gd name="connsiteY472" fmla="*/ 778586 h 895572"/>
              <a:gd name="connsiteX473" fmla="*/ 145100 w 1090712"/>
              <a:gd name="connsiteY473" fmla="*/ 784526 h 895572"/>
              <a:gd name="connsiteX474" fmla="*/ 147476 w 1090712"/>
              <a:gd name="connsiteY474" fmla="*/ 789753 h 895572"/>
              <a:gd name="connsiteX475" fmla="*/ 149614 w 1090712"/>
              <a:gd name="connsiteY475" fmla="*/ 794267 h 895572"/>
              <a:gd name="connsiteX476" fmla="*/ 152228 w 1090712"/>
              <a:gd name="connsiteY476" fmla="*/ 797831 h 895572"/>
              <a:gd name="connsiteX477" fmla="*/ 155554 w 1090712"/>
              <a:gd name="connsiteY477" fmla="*/ 801395 h 895572"/>
              <a:gd name="connsiteX478" fmla="*/ 158643 w 1090712"/>
              <a:gd name="connsiteY478" fmla="*/ 803533 h 895572"/>
              <a:gd name="connsiteX479" fmla="*/ 162206 w 1090712"/>
              <a:gd name="connsiteY479" fmla="*/ 805909 h 895572"/>
              <a:gd name="connsiteX480" fmla="*/ 165770 w 1090712"/>
              <a:gd name="connsiteY480" fmla="*/ 807572 h 895572"/>
              <a:gd name="connsiteX481" fmla="*/ 169572 w 1090712"/>
              <a:gd name="connsiteY481" fmla="*/ 808523 h 895572"/>
              <a:gd name="connsiteX482" fmla="*/ 174086 w 1090712"/>
              <a:gd name="connsiteY482" fmla="*/ 809473 h 895572"/>
              <a:gd name="connsiteX483" fmla="*/ 178600 w 1090712"/>
              <a:gd name="connsiteY483" fmla="*/ 810186 h 895572"/>
              <a:gd name="connsiteX484" fmla="*/ 187866 w 1090712"/>
              <a:gd name="connsiteY484" fmla="*/ 810661 h 895572"/>
              <a:gd name="connsiteX485" fmla="*/ 198083 w 1090712"/>
              <a:gd name="connsiteY485" fmla="*/ 810661 h 895572"/>
              <a:gd name="connsiteX486" fmla="*/ 236810 w 1090712"/>
              <a:gd name="connsiteY486" fmla="*/ 810661 h 895572"/>
              <a:gd name="connsiteX487" fmla="*/ 249640 w 1090712"/>
              <a:gd name="connsiteY487" fmla="*/ 811136 h 895572"/>
              <a:gd name="connsiteX488" fmla="*/ 263183 w 1090712"/>
              <a:gd name="connsiteY488" fmla="*/ 811611 h 895572"/>
              <a:gd name="connsiteX489" fmla="*/ 270310 w 1090712"/>
              <a:gd name="connsiteY489" fmla="*/ 811611 h 895572"/>
              <a:gd name="connsiteX490" fmla="*/ 276963 w 1090712"/>
              <a:gd name="connsiteY490" fmla="*/ 811136 h 895572"/>
              <a:gd name="connsiteX491" fmla="*/ 283140 w 1090712"/>
              <a:gd name="connsiteY491" fmla="*/ 810186 h 895572"/>
              <a:gd name="connsiteX492" fmla="*/ 289793 w 1090712"/>
              <a:gd name="connsiteY492" fmla="*/ 808523 h 895572"/>
              <a:gd name="connsiteX493" fmla="*/ 295495 w 1090712"/>
              <a:gd name="connsiteY493" fmla="*/ 806147 h 895572"/>
              <a:gd name="connsiteX494" fmla="*/ 301435 w 1090712"/>
              <a:gd name="connsiteY494" fmla="*/ 803058 h 895572"/>
              <a:gd name="connsiteX495" fmla="*/ 304524 w 1090712"/>
              <a:gd name="connsiteY495" fmla="*/ 801395 h 895572"/>
              <a:gd name="connsiteX496" fmla="*/ 307137 w 1090712"/>
              <a:gd name="connsiteY496" fmla="*/ 799256 h 895572"/>
              <a:gd name="connsiteX497" fmla="*/ 309275 w 1090712"/>
              <a:gd name="connsiteY497" fmla="*/ 796881 h 895572"/>
              <a:gd name="connsiteX498" fmla="*/ 312126 w 1090712"/>
              <a:gd name="connsiteY498" fmla="*/ 794267 h 895572"/>
              <a:gd name="connsiteX499" fmla="*/ 314265 w 1090712"/>
              <a:gd name="connsiteY499" fmla="*/ 791178 h 895572"/>
              <a:gd name="connsiteX500" fmla="*/ 316403 w 1090712"/>
              <a:gd name="connsiteY500" fmla="*/ 788090 h 895572"/>
              <a:gd name="connsiteX501" fmla="*/ 318304 w 1090712"/>
              <a:gd name="connsiteY501" fmla="*/ 784051 h 895572"/>
              <a:gd name="connsiteX502" fmla="*/ 319967 w 1090712"/>
              <a:gd name="connsiteY502" fmla="*/ 780012 h 895572"/>
              <a:gd name="connsiteX503" fmla="*/ 321868 w 1090712"/>
              <a:gd name="connsiteY503" fmla="*/ 775973 h 895572"/>
              <a:gd name="connsiteX504" fmla="*/ 323056 w 1090712"/>
              <a:gd name="connsiteY504" fmla="*/ 771221 h 895572"/>
              <a:gd name="connsiteX505" fmla="*/ 324481 w 1090712"/>
              <a:gd name="connsiteY505" fmla="*/ 765756 h 895572"/>
              <a:gd name="connsiteX506" fmla="*/ 325907 w 1090712"/>
              <a:gd name="connsiteY506" fmla="*/ 760529 h 895572"/>
              <a:gd name="connsiteX507" fmla="*/ 325907 w 1090712"/>
              <a:gd name="connsiteY507" fmla="*/ 827530 h 895572"/>
              <a:gd name="connsiteX508" fmla="*/ 310226 w 1090712"/>
              <a:gd name="connsiteY508" fmla="*/ 835608 h 895572"/>
              <a:gd name="connsiteX509" fmla="*/ 295970 w 1090712"/>
              <a:gd name="connsiteY509" fmla="*/ 843686 h 895572"/>
              <a:gd name="connsiteX510" fmla="*/ 282665 w 1090712"/>
              <a:gd name="connsiteY510" fmla="*/ 850339 h 895572"/>
              <a:gd name="connsiteX511" fmla="*/ 276488 w 1090712"/>
              <a:gd name="connsiteY511" fmla="*/ 852952 h 895572"/>
              <a:gd name="connsiteX512" fmla="*/ 270310 w 1090712"/>
              <a:gd name="connsiteY512" fmla="*/ 855565 h 895572"/>
              <a:gd name="connsiteX513" fmla="*/ 266271 w 1090712"/>
              <a:gd name="connsiteY513" fmla="*/ 857942 h 895572"/>
              <a:gd name="connsiteX514" fmla="*/ 262708 w 1090712"/>
              <a:gd name="connsiteY514" fmla="*/ 860080 h 895572"/>
              <a:gd name="connsiteX515" fmla="*/ 259619 w 1090712"/>
              <a:gd name="connsiteY515" fmla="*/ 862693 h 895572"/>
              <a:gd name="connsiteX516" fmla="*/ 256768 w 1090712"/>
              <a:gd name="connsiteY516" fmla="*/ 865544 h 895572"/>
              <a:gd name="connsiteX517" fmla="*/ 254154 w 1090712"/>
              <a:gd name="connsiteY517" fmla="*/ 868633 h 895572"/>
              <a:gd name="connsiteX518" fmla="*/ 252491 w 1090712"/>
              <a:gd name="connsiteY518" fmla="*/ 871722 h 895572"/>
              <a:gd name="connsiteX519" fmla="*/ 250590 w 1090712"/>
              <a:gd name="connsiteY519" fmla="*/ 874810 h 895572"/>
              <a:gd name="connsiteX520" fmla="*/ 249402 w 1090712"/>
              <a:gd name="connsiteY520" fmla="*/ 877899 h 895572"/>
              <a:gd name="connsiteX521" fmla="*/ 248452 w 1090712"/>
              <a:gd name="connsiteY521" fmla="*/ 880988 h 895572"/>
              <a:gd name="connsiteX522" fmla="*/ 247977 w 1090712"/>
              <a:gd name="connsiteY522" fmla="*/ 884076 h 895572"/>
              <a:gd name="connsiteX523" fmla="*/ 247977 w 1090712"/>
              <a:gd name="connsiteY523" fmla="*/ 887165 h 895572"/>
              <a:gd name="connsiteX524" fmla="*/ 248452 w 1090712"/>
              <a:gd name="connsiteY524" fmla="*/ 890016 h 895572"/>
              <a:gd name="connsiteX525" fmla="*/ 249402 w 1090712"/>
              <a:gd name="connsiteY525" fmla="*/ 893105 h 895572"/>
              <a:gd name="connsiteX526" fmla="*/ 250075 w 1090712"/>
              <a:gd name="connsiteY526" fmla="*/ 895572 h 895572"/>
              <a:gd name="connsiteX527" fmla="*/ 474750 w 1090712"/>
              <a:gd name="connsiteY527" fmla="*/ 895572 h 895572"/>
              <a:gd name="connsiteX528" fmla="*/ 475827 w 1090712"/>
              <a:gd name="connsiteY528" fmla="*/ 894768 h 895572"/>
              <a:gd name="connsiteX529" fmla="*/ 486993 w 1090712"/>
              <a:gd name="connsiteY529" fmla="*/ 882889 h 895572"/>
              <a:gd name="connsiteX530" fmla="*/ 497210 w 1090712"/>
              <a:gd name="connsiteY530" fmla="*/ 870296 h 895572"/>
              <a:gd name="connsiteX531" fmla="*/ 506951 w 1090712"/>
              <a:gd name="connsiteY531" fmla="*/ 857942 h 895572"/>
              <a:gd name="connsiteX532" fmla="*/ 515742 w 1090712"/>
              <a:gd name="connsiteY532" fmla="*/ 844636 h 895572"/>
              <a:gd name="connsiteX533" fmla="*/ 523820 w 1090712"/>
              <a:gd name="connsiteY533" fmla="*/ 831094 h 895572"/>
              <a:gd name="connsiteX534" fmla="*/ 531898 w 1090712"/>
              <a:gd name="connsiteY534" fmla="*/ 816838 h 895572"/>
              <a:gd name="connsiteX535" fmla="*/ 539026 w 1090712"/>
              <a:gd name="connsiteY535" fmla="*/ 802583 h 895572"/>
              <a:gd name="connsiteX536" fmla="*/ 545678 w 1090712"/>
              <a:gd name="connsiteY536" fmla="*/ 788565 h 895572"/>
              <a:gd name="connsiteX537" fmla="*/ 552331 w 1090712"/>
              <a:gd name="connsiteY537" fmla="*/ 773359 h 895572"/>
              <a:gd name="connsiteX538" fmla="*/ 558033 w 1090712"/>
              <a:gd name="connsiteY538" fmla="*/ 758628 h 895572"/>
              <a:gd name="connsiteX539" fmla="*/ 563498 w 1090712"/>
              <a:gd name="connsiteY539" fmla="*/ 743185 h 895572"/>
              <a:gd name="connsiteX540" fmla="*/ 568725 w 1090712"/>
              <a:gd name="connsiteY540" fmla="*/ 727979 h 895572"/>
              <a:gd name="connsiteX541" fmla="*/ 573714 w 1090712"/>
              <a:gd name="connsiteY541" fmla="*/ 712298 h 895572"/>
              <a:gd name="connsiteX542" fmla="*/ 577991 w 1090712"/>
              <a:gd name="connsiteY542" fmla="*/ 696855 h 895572"/>
              <a:gd name="connsiteX543" fmla="*/ 586544 w 1090712"/>
              <a:gd name="connsiteY543" fmla="*/ 665255 h 895572"/>
              <a:gd name="connsiteX544" fmla="*/ 586069 w 1090712"/>
              <a:gd name="connsiteY544" fmla="*/ 663117 h 895572"/>
              <a:gd name="connsiteX545" fmla="*/ 584881 w 1090712"/>
              <a:gd name="connsiteY545" fmla="*/ 660266 h 895572"/>
              <a:gd name="connsiteX546" fmla="*/ 582980 w 1090712"/>
              <a:gd name="connsiteY546" fmla="*/ 657177 h 895572"/>
              <a:gd name="connsiteX547" fmla="*/ 580367 w 1090712"/>
              <a:gd name="connsiteY547" fmla="*/ 654088 h 895572"/>
              <a:gd name="connsiteX548" fmla="*/ 574902 w 1090712"/>
              <a:gd name="connsiteY548" fmla="*/ 647911 h 895572"/>
              <a:gd name="connsiteX549" fmla="*/ 570150 w 1090712"/>
              <a:gd name="connsiteY549" fmla="*/ 642922 h 895572"/>
              <a:gd name="connsiteX550" fmla="*/ 565636 w 1090712"/>
              <a:gd name="connsiteY550" fmla="*/ 636744 h 895572"/>
              <a:gd name="connsiteX551" fmla="*/ 560647 w 1090712"/>
              <a:gd name="connsiteY551" fmla="*/ 631517 h 895572"/>
              <a:gd name="connsiteX552" fmla="*/ 555420 w 1090712"/>
              <a:gd name="connsiteY552" fmla="*/ 626053 h 895572"/>
              <a:gd name="connsiteX553" fmla="*/ 550193 w 1090712"/>
              <a:gd name="connsiteY553" fmla="*/ 621301 h 895572"/>
              <a:gd name="connsiteX554" fmla="*/ 544253 w 1090712"/>
              <a:gd name="connsiteY554" fmla="*/ 616787 h 895572"/>
              <a:gd name="connsiteX555" fmla="*/ 538075 w 1090712"/>
              <a:gd name="connsiteY555" fmla="*/ 612272 h 895572"/>
              <a:gd name="connsiteX556" fmla="*/ 525721 w 1090712"/>
              <a:gd name="connsiteY556" fmla="*/ 603719 h 895572"/>
              <a:gd name="connsiteX557" fmla="*/ 563023 w 1090712"/>
              <a:gd name="connsiteY557" fmla="*/ 619875 h 895572"/>
              <a:gd name="connsiteX558" fmla="*/ 581317 w 1090712"/>
              <a:gd name="connsiteY558" fmla="*/ 628191 h 895572"/>
              <a:gd name="connsiteX559" fmla="*/ 599374 w 1090712"/>
              <a:gd name="connsiteY559" fmla="*/ 636744 h 895572"/>
              <a:gd name="connsiteX560" fmla="*/ 607927 w 1090712"/>
              <a:gd name="connsiteY560" fmla="*/ 641259 h 895572"/>
              <a:gd name="connsiteX561" fmla="*/ 616718 w 1090712"/>
              <a:gd name="connsiteY561" fmla="*/ 646010 h 895572"/>
              <a:gd name="connsiteX562" fmla="*/ 625271 w 1090712"/>
              <a:gd name="connsiteY562" fmla="*/ 651000 h 895572"/>
              <a:gd name="connsiteX563" fmla="*/ 633349 w 1090712"/>
              <a:gd name="connsiteY563" fmla="*/ 656227 h 895572"/>
              <a:gd name="connsiteX564" fmla="*/ 641665 w 1090712"/>
              <a:gd name="connsiteY564" fmla="*/ 662167 h 895572"/>
              <a:gd name="connsiteX565" fmla="*/ 649268 w 1090712"/>
              <a:gd name="connsiteY565" fmla="*/ 668344 h 895572"/>
              <a:gd name="connsiteX566" fmla="*/ 656871 w 1090712"/>
              <a:gd name="connsiteY566" fmla="*/ 674996 h 895572"/>
              <a:gd name="connsiteX567" fmla="*/ 664474 w 1090712"/>
              <a:gd name="connsiteY567" fmla="*/ 682124 h 895572"/>
              <a:gd name="connsiteX568" fmla="*/ 668988 w 1090712"/>
              <a:gd name="connsiteY568" fmla="*/ 686163 h 895572"/>
              <a:gd name="connsiteX569" fmla="*/ 672790 w 1090712"/>
              <a:gd name="connsiteY569" fmla="*/ 690202 h 895572"/>
              <a:gd name="connsiteX570" fmla="*/ 677304 w 1090712"/>
              <a:gd name="connsiteY570" fmla="*/ 693291 h 895572"/>
              <a:gd name="connsiteX571" fmla="*/ 682293 w 1090712"/>
              <a:gd name="connsiteY571" fmla="*/ 696855 h 895572"/>
              <a:gd name="connsiteX572" fmla="*/ 686570 w 1090712"/>
              <a:gd name="connsiteY572" fmla="*/ 699468 h 895572"/>
              <a:gd name="connsiteX573" fmla="*/ 691559 w 1090712"/>
              <a:gd name="connsiteY573" fmla="*/ 702082 h 895572"/>
              <a:gd name="connsiteX574" fmla="*/ 696549 w 1090712"/>
              <a:gd name="connsiteY574" fmla="*/ 703983 h 895572"/>
              <a:gd name="connsiteX575" fmla="*/ 701300 w 1090712"/>
              <a:gd name="connsiteY575" fmla="*/ 705646 h 895572"/>
              <a:gd name="connsiteX576" fmla="*/ 706290 w 1090712"/>
              <a:gd name="connsiteY576" fmla="*/ 707071 h 895572"/>
              <a:gd name="connsiteX577" fmla="*/ 711042 w 1090712"/>
              <a:gd name="connsiteY577" fmla="*/ 708497 h 895572"/>
              <a:gd name="connsiteX578" fmla="*/ 716506 w 1090712"/>
              <a:gd name="connsiteY578" fmla="*/ 708734 h 895572"/>
              <a:gd name="connsiteX579" fmla="*/ 721258 w 1090712"/>
              <a:gd name="connsiteY579" fmla="*/ 708734 h 895572"/>
              <a:gd name="connsiteX580" fmla="*/ 726723 w 1090712"/>
              <a:gd name="connsiteY580" fmla="*/ 708497 h 895572"/>
              <a:gd name="connsiteX581" fmla="*/ 731712 w 1090712"/>
              <a:gd name="connsiteY581" fmla="*/ 707546 h 895572"/>
              <a:gd name="connsiteX582" fmla="*/ 736939 w 1090712"/>
              <a:gd name="connsiteY582" fmla="*/ 706121 h 895572"/>
              <a:gd name="connsiteX583" fmla="*/ 742166 w 1090712"/>
              <a:gd name="connsiteY583" fmla="*/ 704458 h 895572"/>
              <a:gd name="connsiteX584" fmla="*/ 749294 w 1090712"/>
              <a:gd name="connsiteY584" fmla="*/ 702082 h 895572"/>
              <a:gd name="connsiteX585" fmla="*/ 756184 w 1090712"/>
              <a:gd name="connsiteY585" fmla="*/ 699468 h 895572"/>
              <a:gd name="connsiteX586" fmla="*/ 762361 w 1090712"/>
              <a:gd name="connsiteY586" fmla="*/ 696380 h 895572"/>
              <a:gd name="connsiteX587" fmla="*/ 768063 w 1090712"/>
              <a:gd name="connsiteY587" fmla="*/ 692816 h 895572"/>
              <a:gd name="connsiteX588" fmla="*/ 773528 w 1090712"/>
              <a:gd name="connsiteY588" fmla="*/ 689252 h 895572"/>
              <a:gd name="connsiteX589" fmla="*/ 778755 w 1090712"/>
              <a:gd name="connsiteY589" fmla="*/ 684738 h 895572"/>
              <a:gd name="connsiteX590" fmla="*/ 783269 w 1090712"/>
              <a:gd name="connsiteY590" fmla="*/ 680461 h 895572"/>
              <a:gd name="connsiteX591" fmla="*/ 787308 w 1090712"/>
              <a:gd name="connsiteY591" fmla="*/ 674996 h 895572"/>
              <a:gd name="connsiteX592" fmla="*/ 791110 w 1090712"/>
              <a:gd name="connsiteY592" fmla="*/ 669769 h 895572"/>
              <a:gd name="connsiteX593" fmla="*/ 794436 w 1090712"/>
              <a:gd name="connsiteY593" fmla="*/ 663830 h 895572"/>
              <a:gd name="connsiteX594" fmla="*/ 797050 w 1090712"/>
              <a:gd name="connsiteY594" fmla="*/ 657652 h 895572"/>
              <a:gd name="connsiteX595" fmla="*/ 799188 w 1090712"/>
              <a:gd name="connsiteY595" fmla="*/ 651000 h 895572"/>
              <a:gd name="connsiteX596" fmla="*/ 801089 w 1090712"/>
              <a:gd name="connsiteY596" fmla="*/ 643872 h 895572"/>
              <a:gd name="connsiteX597" fmla="*/ 802277 w 1090712"/>
              <a:gd name="connsiteY597" fmla="*/ 636744 h 895572"/>
              <a:gd name="connsiteX598" fmla="*/ 803227 w 1090712"/>
              <a:gd name="connsiteY598" fmla="*/ 628666 h 895572"/>
              <a:gd name="connsiteX599" fmla="*/ 803227 w 1090712"/>
              <a:gd name="connsiteY599" fmla="*/ 620826 h 895572"/>
              <a:gd name="connsiteX600" fmla="*/ 801089 w 1090712"/>
              <a:gd name="connsiteY600" fmla="*/ 622489 h 895572"/>
              <a:gd name="connsiteX601" fmla="*/ 798238 w 1090712"/>
              <a:gd name="connsiteY601" fmla="*/ 623914 h 895572"/>
              <a:gd name="connsiteX602" fmla="*/ 793011 w 1090712"/>
              <a:gd name="connsiteY602" fmla="*/ 626053 h 895572"/>
              <a:gd name="connsiteX603" fmla="*/ 790397 w 1090712"/>
              <a:gd name="connsiteY603" fmla="*/ 627478 h 895572"/>
              <a:gd name="connsiteX604" fmla="*/ 788496 w 1090712"/>
              <a:gd name="connsiteY604" fmla="*/ 628191 h 895572"/>
              <a:gd name="connsiteX605" fmla="*/ 787308 w 1090712"/>
              <a:gd name="connsiteY605" fmla="*/ 630092 h 895572"/>
              <a:gd name="connsiteX606" fmla="*/ 786833 w 1090712"/>
              <a:gd name="connsiteY606" fmla="*/ 631755 h 895572"/>
              <a:gd name="connsiteX607" fmla="*/ 785408 w 1090712"/>
              <a:gd name="connsiteY607" fmla="*/ 635794 h 895572"/>
              <a:gd name="connsiteX608" fmla="*/ 784220 w 1090712"/>
              <a:gd name="connsiteY608" fmla="*/ 639833 h 895572"/>
              <a:gd name="connsiteX609" fmla="*/ 780656 w 1090712"/>
              <a:gd name="connsiteY609" fmla="*/ 646485 h 895572"/>
              <a:gd name="connsiteX610" fmla="*/ 776617 w 1090712"/>
              <a:gd name="connsiteY610" fmla="*/ 653138 h 895572"/>
              <a:gd name="connsiteX611" fmla="*/ 772103 w 1090712"/>
              <a:gd name="connsiteY611" fmla="*/ 659078 h 895572"/>
              <a:gd name="connsiteX612" fmla="*/ 762361 w 1090712"/>
              <a:gd name="connsiteY612" fmla="*/ 670007 h 895572"/>
              <a:gd name="connsiteX613" fmla="*/ 757847 w 1090712"/>
              <a:gd name="connsiteY613" fmla="*/ 675947 h 895572"/>
              <a:gd name="connsiteX614" fmla="*/ 753333 w 1090712"/>
              <a:gd name="connsiteY614" fmla="*/ 682124 h 895572"/>
              <a:gd name="connsiteX615" fmla="*/ 750244 w 1090712"/>
              <a:gd name="connsiteY615" fmla="*/ 684738 h 895572"/>
              <a:gd name="connsiteX616" fmla="*/ 747155 w 1090712"/>
              <a:gd name="connsiteY616" fmla="*/ 687589 h 895572"/>
              <a:gd name="connsiteX617" fmla="*/ 744067 w 1090712"/>
              <a:gd name="connsiteY617" fmla="*/ 689252 h 895572"/>
              <a:gd name="connsiteX618" fmla="*/ 740978 w 1090712"/>
              <a:gd name="connsiteY618" fmla="*/ 690915 h 895572"/>
              <a:gd name="connsiteX619" fmla="*/ 737890 w 1090712"/>
              <a:gd name="connsiteY619" fmla="*/ 691865 h 895572"/>
              <a:gd name="connsiteX620" fmla="*/ 734801 w 1090712"/>
              <a:gd name="connsiteY620" fmla="*/ 692816 h 895572"/>
              <a:gd name="connsiteX621" fmla="*/ 731950 w 1090712"/>
              <a:gd name="connsiteY621" fmla="*/ 693291 h 895572"/>
              <a:gd name="connsiteX622" fmla="*/ 728861 w 1090712"/>
              <a:gd name="connsiteY622" fmla="*/ 693291 h 895572"/>
              <a:gd name="connsiteX623" fmla="*/ 723634 w 1090712"/>
              <a:gd name="connsiteY623" fmla="*/ 692816 h 895572"/>
              <a:gd name="connsiteX624" fmla="*/ 718169 w 1090712"/>
              <a:gd name="connsiteY624" fmla="*/ 691390 h 895572"/>
              <a:gd name="connsiteX625" fmla="*/ 713418 w 1090712"/>
              <a:gd name="connsiteY625" fmla="*/ 689727 h 895572"/>
              <a:gd name="connsiteX626" fmla="*/ 708903 w 1090712"/>
              <a:gd name="connsiteY626" fmla="*/ 687826 h 895572"/>
              <a:gd name="connsiteX627" fmla="*/ 706765 w 1090712"/>
              <a:gd name="connsiteY627" fmla="*/ 687589 h 895572"/>
              <a:gd name="connsiteX628" fmla="*/ 704864 w 1090712"/>
              <a:gd name="connsiteY628" fmla="*/ 687114 h 895572"/>
              <a:gd name="connsiteX629" fmla="*/ 703201 w 1090712"/>
              <a:gd name="connsiteY629" fmla="*/ 686163 h 895572"/>
              <a:gd name="connsiteX630" fmla="*/ 701776 w 1090712"/>
              <a:gd name="connsiteY630" fmla="*/ 684738 h 895572"/>
              <a:gd name="connsiteX631" fmla="*/ 698687 w 1090712"/>
              <a:gd name="connsiteY631" fmla="*/ 681649 h 895572"/>
              <a:gd name="connsiteX632" fmla="*/ 696549 w 1090712"/>
              <a:gd name="connsiteY632" fmla="*/ 678085 h 895572"/>
              <a:gd name="connsiteX633" fmla="*/ 694648 w 1090712"/>
              <a:gd name="connsiteY633" fmla="*/ 673571 h 895572"/>
              <a:gd name="connsiteX634" fmla="*/ 693460 w 1090712"/>
              <a:gd name="connsiteY634" fmla="*/ 668819 h 895572"/>
              <a:gd name="connsiteX635" fmla="*/ 692510 w 1090712"/>
              <a:gd name="connsiteY635" fmla="*/ 664305 h 895572"/>
              <a:gd name="connsiteX636" fmla="*/ 692510 w 1090712"/>
              <a:gd name="connsiteY636" fmla="*/ 659790 h 895572"/>
              <a:gd name="connsiteX637" fmla="*/ 692510 w 1090712"/>
              <a:gd name="connsiteY637" fmla="*/ 647436 h 895572"/>
              <a:gd name="connsiteX638" fmla="*/ 693460 w 1090712"/>
              <a:gd name="connsiteY638" fmla="*/ 635319 h 895572"/>
              <a:gd name="connsiteX639" fmla="*/ 694173 w 1090712"/>
              <a:gd name="connsiteY639" fmla="*/ 624389 h 895572"/>
              <a:gd name="connsiteX640" fmla="*/ 695598 w 1090712"/>
              <a:gd name="connsiteY640" fmla="*/ 612748 h 895572"/>
              <a:gd name="connsiteX641" fmla="*/ 699162 w 1090712"/>
              <a:gd name="connsiteY641" fmla="*/ 591364 h 895572"/>
              <a:gd name="connsiteX642" fmla="*/ 703676 w 1090712"/>
              <a:gd name="connsiteY642" fmla="*/ 570456 h 895572"/>
              <a:gd name="connsiteX643" fmla="*/ 720070 w 1090712"/>
              <a:gd name="connsiteY643" fmla="*/ 574971 h 895572"/>
              <a:gd name="connsiteX644" fmla="*/ 736939 w 1090712"/>
              <a:gd name="connsiteY644" fmla="*/ 579247 h 895572"/>
              <a:gd name="connsiteX645" fmla="*/ 770677 w 1090712"/>
              <a:gd name="connsiteY645" fmla="*/ 589226 h 895572"/>
              <a:gd name="connsiteX646" fmla="*/ 788021 w 1090712"/>
              <a:gd name="connsiteY646" fmla="*/ 593503 h 895572"/>
              <a:gd name="connsiteX647" fmla="*/ 805365 w 1090712"/>
              <a:gd name="connsiteY647" fmla="*/ 597542 h 895572"/>
              <a:gd name="connsiteX648" fmla="*/ 823660 w 1090712"/>
              <a:gd name="connsiteY648" fmla="*/ 601106 h 895572"/>
              <a:gd name="connsiteX649" fmla="*/ 841954 w 1090712"/>
              <a:gd name="connsiteY649" fmla="*/ 603719 h 895572"/>
              <a:gd name="connsiteX650" fmla="*/ 861437 w 1090712"/>
              <a:gd name="connsiteY650" fmla="*/ 606570 h 895572"/>
              <a:gd name="connsiteX651" fmla="*/ 880682 w 1090712"/>
              <a:gd name="connsiteY651" fmla="*/ 608233 h 895572"/>
              <a:gd name="connsiteX652" fmla="*/ 889948 w 1090712"/>
              <a:gd name="connsiteY652" fmla="*/ 608708 h 895572"/>
              <a:gd name="connsiteX653" fmla="*/ 898976 w 1090712"/>
              <a:gd name="connsiteY653" fmla="*/ 608708 h 895572"/>
              <a:gd name="connsiteX654" fmla="*/ 908242 w 1090712"/>
              <a:gd name="connsiteY654" fmla="*/ 608708 h 895572"/>
              <a:gd name="connsiteX655" fmla="*/ 916795 w 1090712"/>
              <a:gd name="connsiteY655" fmla="*/ 608233 h 895572"/>
              <a:gd name="connsiteX656" fmla="*/ 925586 w 1090712"/>
              <a:gd name="connsiteY656" fmla="*/ 607283 h 895572"/>
              <a:gd name="connsiteX657" fmla="*/ 934140 w 1090712"/>
              <a:gd name="connsiteY657" fmla="*/ 606095 h 895572"/>
              <a:gd name="connsiteX658" fmla="*/ 942455 w 1090712"/>
              <a:gd name="connsiteY658" fmla="*/ 604669 h 895572"/>
              <a:gd name="connsiteX659" fmla="*/ 950533 w 1090712"/>
              <a:gd name="connsiteY659" fmla="*/ 603006 h 895572"/>
              <a:gd name="connsiteX660" fmla="*/ 958611 w 1090712"/>
              <a:gd name="connsiteY660" fmla="*/ 600630 h 895572"/>
              <a:gd name="connsiteX661" fmla="*/ 966452 w 1090712"/>
              <a:gd name="connsiteY661" fmla="*/ 598017 h 895572"/>
              <a:gd name="connsiteX662" fmla="*/ 974055 w 1090712"/>
              <a:gd name="connsiteY662" fmla="*/ 595403 h 895572"/>
              <a:gd name="connsiteX663" fmla="*/ 981658 w 1090712"/>
              <a:gd name="connsiteY663" fmla="*/ 591840 h 895572"/>
              <a:gd name="connsiteX664" fmla="*/ 989261 w 1090712"/>
              <a:gd name="connsiteY664" fmla="*/ 588276 h 895572"/>
              <a:gd name="connsiteX665" fmla="*/ 996388 w 1090712"/>
              <a:gd name="connsiteY665" fmla="*/ 584237 h 895572"/>
              <a:gd name="connsiteX666" fmla="*/ 1003041 w 1090712"/>
              <a:gd name="connsiteY666" fmla="*/ 579247 h 895572"/>
              <a:gd name="connsiteX667" fmla="*/ 1009694 w 1090712"/>
              <a:gd name="connsiteY667" fmla="*/ 574495 h 895572"/>
              <a:gd name="connsiteX668" fmla="*/ 1016346 w 1090712"/>
              <a:gd name="connsiteY668" fmla="*/ 569031 h 895572"/>
              <a:gd name="connsiteX669" fmla="*/ 1022998 w 1090712"/>
              <a:gd name="connsiteY669" fmla="*/ 562853 h 895572"/>
              <a:gd name="connsiteX670" fmla="*/ 1029176 w 1090712"/>
              <a:gd name="connsiteY670" fmla="*/ 556676 h 895572"/>
              <a:gd name="connsiteX671" fmla="*/ 1035116 w 1090712"/>
              <a:gd name="connsiteY671" fmla="*/ 549548 h 895572"/>
              <a:gd name="connsiteX672" fmla="*/ 1040818 w 1090712"/>
              <a:gd name="connsiteY672" fmla="*/ 541945 h 895572"/>
              <a:gd name="connsiteX673" fmla="*/ 1046520 w 1090712"/>
              <a:gd name="connsiteY673" fmla="*/ 534342 h 895572"/>
              <a:gd name="connsiteX674" fmla="*/ 1051985 w 1090712"/>
              <a:gd name="connsiteY674" fmla="*/ 526027 h 895572"/>
              <a:gd name="connsiteX675" fmla="*/ 1056737 w 1090712"/>
              <a:gd name="connsiteY675" fmla="*/ 516523 h 895572"/>
              <a:gd name="connsiteX676" fmla="*/ 1061726 w 1090712"/>
              <a:gd name="connsiteY676" fmla="*/ 507257 h 895572"/>
              <a:gd name="connsiteX677" fmla="*/ 1066715 w 1090712"/>
              <a:gd name="connsiteY677" fmla="*/ 497041 h 895572"/>
              <a:gd name="connsiteX678" fmla="*/ 1070992 w 1090712"/>
              <a:gd name="connsiteY678" fmla="*/ 486349 h 895572"/>
              <a:gd name="connsiteX679" fmla="*/ 1075506 w 1090712"/>
              <a:gd name="connsiteY679" fmla="*/ 475182 h 895572"/>
              <a:gd name="connsiteX680" fmla="*/ 1079070 w 1090712"/>
              <a:gd name="connsiteY680" fmla="*/ 462828 h 895572"/>
              <a:gd name="connsiteX681" fmla="*/ 1082634 w 1090712"/>
              <a:gd name="connsiteY681" fmla="*/ 449998 h 895572"/>
              <a:gd name="connsiteX682" fmla="*/ 1084772 w 1090712"/>
              <a:gd name="connsiteY682" fmla="*/ 437405 h 895572"/>
              <a:gd name="connsiteX683" fmla="*/ 1087148 w 1090712"/>
              <a:gd name="connsiteY683" fmla="*/ 425050 h 895572"/>
              <a:gd name="connsiteX684" fmla="*/ 1088811 w 1090712"/>
              <a:gd name="connsiteY684" fmla="*/ 411983 h 895572"/>
              <a:gd name="connsiteX685" fmla="*/ 1089762 w 1090712"/>
              <a:gd name="connsiteY685" fmla="*/ 399628 h 895572"/>
              <a:gd name="connsiteX686" fmla="*/ 1090712 w 1090712"/>
              <a:gd name="connsiteY686" fmla="*/ 386798 h 895572"/>
              <a:gd name="connsiteX687" fmla="*/ 1090712 w 1090712"/>
              <a:gd name="connsiteY687" fmla="*/ 373731 h 895572"/>
              <a:gd name="connsiteX688" fmla="*/ 1090712 w 1090712"/>
              <a:gd name="connsiteY688" fmla="*/ 360901 h 895572"/>
              <a:gd name="connsiteX689" fmla="*/ 1089762 w 1090712"/>
              <a:gd name="connsiteY689" fmla="*/ 348071 h 895572"/>
              <a:gd name="connsiteX690" fmla="*/ 1088811 w 1090712"/>
              <a:gd name="connsiteY690" fmla="*/ 335004 h 895572"/>
              <a:gd name="connsiteX691" fmla="*/ 1088099 w 1090712"/>
              <a:gd name="connsiteY691" fmla="*/ 321698 h 895572"/>
              <a:gd name="connsiteX692" fmla="*/ 1084772 w 1090712"/>
              <a:gd name="connsiteY692" fmla="*/ 295563 h 895572"/>
              <a:gd name="connsiteX693" fmla="*/ 1080971 w 1090712"/>
              <a:gd name="connsiteY693" fmla="*/ 268478 h 895572"/>
              <a:gd name="connsiteX694" fmla="*/ 1078595 w 1090712"/>
              <a:gd name="connsiteY694" fmla="*/ 258262 h 895572"/>
              <a:gd name="connsiteX695" fmla="*/ 1075981 w 1090712"/>
              <a:gd name="connsiteY695" fmla="*/ 248283 h 895572"/>
              <a:gd name="connsiteX696" fmla="*/ 1072417 w 1090712"/>
              <a:gd name="connsiteY696" fmla="*/ 238542 h 895572"/>
              <a:gd name="connsiteX697" fmla="*/ 1069329 w 1090712"/>
              <a:gd name="connsiteY697" fmla="*/ 229275 h 895572"/>
              <a:gd name="connsiteX698" fmla="*/ 1061251 w 1090712"/>
              <a:gd name="connsiteY698" fmla="*/ 210031 h 895572"/>
              <a:gd name="connsiteX699" fmla="*/ 1053173 w 1090712"/>
              <a:gd name="connsiteY699" fmla="*/ 190073 h 895572"/>
              <a:gd name="connsiteX700" fmla="*/ 1051034 w 1090712"/>
              <a:gd name="connsiteY700" fmla="*/ 186034 h 895572"/>
              <a:gd name="connsiteX701" fmla="*/ 1048896 w 1090712"/>
              <a:gd name="connsiteY701" fmla="*/ 182470 h 895572"/>
              <a:gd name="connsiteX702" fmla="*/ 1046045 w 1090712"/>
              <a:gd name="connsiteY702" fmla="*/ 179381 h 895572"/>
              <a:gd name="connsiteX703" fmla="*/ 1043906 w 1090712"/>
              <a:gd name="connsiteY703" fmla="*/ 176768 h 895572"/>
              <a:gd name="connsiteX704" fmla="*/ 1041293 w 1090712"/>
              <a:gd name="connsiteY704" fmla="*/ 174630 h 895572"/>
              <a:gd name="connsiteX705" fmla="*/ 1038680 w 1090712"/>
              <a:gd name="connsiteY705" fmla="*/ 172729 h 895572"/>
              <a:gd name="connsiteX706" fmla="*/ 1035828 w 1090712"/>
              <a:gd name="connsiteY706" fmla="*/ 171303 h 895572"/>
              <a:gd name="connsiteX707" fmla="*/ 1032740 w 1090712"/>
              <a:gd name="connsiteY707" fmla="*/ 170591 h 895572"/>
              <a:gd name="connsiteX708" fmla="*/ 1030126 w 1090712"/>
              <a:gd name="connsiteY708" fmla="*/ 170591 h 895572"/>
              <a:gd name="connsiteX709" fmla="*/ 1027038 w 1090712"/>
              <a:gd name="connsiteY709" fmla="*/ 170591 h 895572"/>
              <a:gd name="connsiteX710" fmla="*/ 1024424 w 1090712"/>
              <a:gd name="connsiteY710" fmla="*/ 171303 h 895572"/>
              <a:gd name="connsiteX711" fmla="*/ 1021335 w 1090712"/>
              <a:gd name="connsiteY711" fmla="*/ 172729 h 895572"/>
              <a:gd name="connsiteX712" fmla="*/ 1018247 w 1090712"/>
              <a:gd name="connsiteY712" fmla="*/ 174867 h 895572"/>
              <a:gd name="connsiteX713" fmla="*/ 1014920 w 1090712"/>
              <a:gd name="connsiteY713" fmla="*/ 177718 h 895572"/>
              <a:gd name="connsiteX714" fmla="*/ 1011832 w 1090712"/>
              <a:gd name="connsiteY714" fmla="*/ 180807 h 895572"/>
              <a:gd name="connsiteX715" fmla="*/ 1008743 w 1090712"/>
              <a:gd name="connsiteY715" fmla="*/ 184846 h 895572"/>
              <a:gd name="connsiteX716" fmla="*/ 991874 w 1090712"/>
              <a:gd name="connsiteY716" fmla="*/ 201240 h 895572"/>
              <a:gd name="connsiteX717" fmla="*/ 983321 w 1090712"/>
              <a:gd name="connsiteY717" fmla="*/ 209318 h 895572"/>
              <a:gd name="connsiteX718" fmla="*/ 974530 w 1090712"/>
              <a:gd name="connsiteY718" fmla="*/ 216683 h 895572"/>
              <a:gd name="connsiteX719" fmla="*/ 965739 w 1090712"/>
              <a:gd name="connsiteY719" fmla="*/ 223811 h 895572"/>
              <a:gd name="connsiteX720" fmla="*/ 956236 w 1090712"/>
              <a:gd name="connsiteY720" fmla="*/ 230226 h 895572"/>
              <a:gd name="connsiteX721" fmla="*/ 946494 w 1090712"/>
              <a:gd name="connsiteY721" fmla="*/ 235928 h 895572"/>
              <a:gd name="connsiteX722" fmla="*/ 941505 w 1090712"/>
              <a:gd name="connsiteY722" fmla="*/ 238066 h 895572"/>
              <a:gd name="connsiteX723" fmla="*/ 936753 w 1090712"/>
              <a:gd name="connsiteY723" fmla="*/ 240442 h 895572"/>
              <a:gd name="connsiteX724" fmla="*/ 932239 w 1090712"/>
              <a:gd name="connsiteY724" fmla="*/ 242581 h 895572"/>
              <a:gd name="connsiteX725" fmla="*/ 928675 w 1090712"/>
              <a:gd name="connsiteY725" fmla="*/ 245669 h 895572"/>
              <a:gd name="connsiteX726" fmla="*/ 925111 w 1090712"/>
              <a:gd name="connsiteY726" fmla="*/ 249233 h 895572"/>
              <a:gd name="connsiteX727" fmla="*/ 922022 w 1090712"/>
              <a:gd name="connsiteY727" fmla="*/ 252797 h 895572"/>
              <a:gd name="connsiteX728" fmla="*/ 919884 w 1090712"/>
              <a:gd name="connsiteY728" fmla="*/ 257311 h 895572"/>
              <a:gd name="connsiteX729" fmla="*/ 918934 w 1090712"/>
              <a:gd name="connsiteY729" fmla="*/ 259925 h 895572"/>
              <a:gd name="connsiteX730" fmla="*/ 918459 w 1090712"/>
              <a:gd name="connsiteY730" fmla="*/ 262538 h 895572"/>
              <a:gd name="connsiteX731" fmla="*/ 918459 w 1090712"/>
              <a:gd name="connsiteY731" fmla="*/ 265389 h 895572"/>
              <a:gd name="connsiteX732" fmla="*/ 918459 w 1090712"/>
              <a:gd name="connsiteY732" fmla="*/ 268003 h 895572"/>
              <a:gd name="connsiteX733" fmla="*/ 918934 w 1090712"/>
              <a:gd name="connsiteY733" fmla="*/ 271091 h 895572"/>
              <a:gd name="connsiteX734" fmla="*/ 919884 w 1090712"/>
              <a:gd name="connsiteY734" fmla="*/ 274180 h 895572"/>
              <a:gd name="connsiteX735" fmla="*/ 921547 w 1090712"/>
              <a:gd name="connsiteY735" fmla="*/ 282258 h 895572"/>
              <a:gd name="connsiteX736" fmla="*/ 922973 w 1090712"/>
              <a:gd name="connsiteY736" fmla="*/ 290574 h 895572"/>
              <a:gd name="connsiteX737" fmla="*/ 923923 w 1090712"/>
              <a:gd name="connsiteY737" fmla="*/ 299127 h 895572"/>
              <a:gd name="connsiteX738" fmla="*/ 924161 w 1090712"/>
              <a:gd name="connsiteY738" fmla="*/ 307443 h 895572"/>
              <a:gd name="connsiteX739" fmla="*/ 924161 w 1090712"/>
              <a:gd name="connsiteY739" fmla="*/ 315996 h 895572"/>
              <a:gd name="connsiteX740" fmla="*/ 923923 w 1090712"/>
              <a:gd name="connsiteY740" fmla="*/ 324550 h 895572"/>
              <a:gd name="connsiteX741" fmla="*/ 922973 w 1090712"/>
              <a:gd name="connsiteY741" fmla="*/ 332865 h 895572"/>
              <a:gd name="connsiteX742" fmla="*/ 922022 w 1090712"/>
              <a:gd name="connsiteY742" fmla="*/ 340943 h 895572"/>
              <a:gd name="connsiteX743" fmla="*/ 920597 w 1090712"/>
              <a:gd name="connsiteY743" fmla="*/ 349259 h 895572"/>
              <a:gd name="connsiteX744" fmla="*/ 918934 w 1090712"/>
              <a:gd name="connsiteY744" fmla="*/ 357812 h 895572"/>
              <a:gd name="connsiteX745" fmla="*/ 914420 w 1090712"/>
              <a:gd name="connsiteY745" fmla="*/ 374681 h 895572"/>
              <a:gd name="connsiteX746" fmla="*/ 909192 w 1090712"/>
              <a:gd name="connsiteY746" fmla="*/ 391075 h 895572"/>
              <a:gd name="connsiteX747" fmla="*/ 903253 w 1090712"/>
              <a:gd name="connsiteY747" fmla="*/ 408182 h 895572"/>
              <a:gd name="connsiteX748" fmla="*/ 903253 w 1090712"/>
              <a:gd name="connsiteY748" fmla="*/ 397965 h 895572"/>
              <a:gd name="connsiteX749" fmla="*/ 904203 w 1090712"/>
              <a:gd name="connsiteY749" fmla="*/ 387274 h 895572"/>
              <a:gd name="connsiteX750" fmla="*/ 906104 w 1090712"/>
              <a:gd name="connsiteY750" fmla="*/ 367078 h 895572"/>
              <a:gd name="connsiteX751" fmla="*/ 907767 w 1090712"/>
              <a:gd name="connsiteY751" fmla="*/ 347596 h 895572"/>
              <a:gd name="connsiteX752" fmla="*/ 908717 w 1090712"/>
              <a:gd name="connsiteY752" fmla="*/ 338567 h 895572"/>
              <a:gd name="connsiteX753" fmla="*/ 908717 w 1090712"/>
              <a:gd name="connsiteY753" fmla="*/ 329777 h 895572"/>
              <a:gd name="connsiteX754" fmla="*/ 908717 w 1090712"/>
              <a:gd name="connsiteY754" fmla="*/ 325738 h 895572"/>
              <a:gd name="connsiteX755" fmla="*/ 907767 w 1090712"/>
              <a:gd name="connsiteY755" fmla="*/ 322649 h 895572"/>
              <a:gd name="connsiteX756" fmla="*/ 906817 w 1090712"/>
              <a:gd name="connsiteY756" fmla="*/ 319560 h 895572"/>
              <a:gd name="connsiteX757" fmla="*/ 905154 w 1090712"/>
              <a:gd name="connsiteY757" fmla="*/ 316471 h 895572"/>
              <a:gd name="connsiteX758" fmla="*/ 903728 w 1090712"/>
              <a:gd name="connsiteY758" fmla="*/ 314096 h 895572"/>
              <a:gd name="connsiteX759" fmla="*/ 901590 w 1090712"/>
              <a:gd name="connsiteY759" fmla="*/ 311957 h 895572"/>
              <a:gd name="connsiteX760" fmla="*/ 897551 w 1090712"/>
              <a:gd name="connsiteY760" fmla="*/ 307443 h 895572"/>
              <a:gd name="connsiteX761" fmla="*/ 895412 w 1090712"/>
              <a:gd name="connsiteY761" fmla="*/ 309344 h 895572"/>
              <a:gd name="connsiteX762" fmla="*/ 892561 w 1090712"/>
              <a:gd name="connsiteY762" fmla="*/ 310769 h 895572"/>
              <a:gd name="connsiteX763" fmla="*/ 887334 w 1090712"/>
              <a:gd name="connsiteY763" fmla="*/ 313383 h 895572"/>
              <a:gd name="connsiteX764" fmla="*/ 884721 w 1090712"/>
              <a:gd name="connsiteY764" fmla="*/ 314096 h 895572"/>
              <a:gd name="connsiteX765" fmla="*/ 882820 w 1090712"/>
              <a:gd name="connsiteY765" fmla="*/ 315521 h 895572"/>
              <a:gd name="connsiteX766" fmla="*/ 881632 w 1090712"/>
              <a:gd name="connsiteY766" fmla="*/ 316947 h 895572"/>
              <a:gd name="connsiteX767" fmla="*/ 881157 w 1090712"/>
              <a:gd name="connsiteY767" fmla="*/ 318610 h 895572"/>
              <a:gd name="connsiteX768" fmla="*/ 872604 w 1090712"/>
              <a:gd name="connsiteY768" fmla="*/ 331915 h 895572"/>
              <a:gd name="connsiteX769" fmla="*/ 864288 w 1090712"/>
              <a:gd name="connsiteY769" fmla="*/ 346646 h 895572"/>
              <a:gd name="connsiteX770" fmla="*/ 856210 w 1090712"/>
              <a:gd name="connsiteY770" fmla="*/ 361376 h 895572"/>
              <a:gd name="connsiteX771" fmla="*/ 847656 w 1090712"/>
              <a:gd name="connsiteY771" fmla="*/ 374681 h 895572"/>
              <a:gd name="connsiteX772" fmla="*/ 841954 w 1090712"/>
              <a:gd name="connsiteY772" fmla="*/ 374681 h 895572"/>
              <a:gd name="connsiteX773" fmla="*/ 846468 w 1090712"/>
              <a:gd name="connsiteY773" fmla="*/ 357812 h 895572"/>
              <a:gd name="connsiteX774" fmla="*/ 850508 w 1090712"/>
              <a:gd name="connsiteY774" fmla="*/ 339518 h 895572"/>
              <a:gd name="connsiteX775" fmla="*/ 854784 w 1090712"/>
              <a:gd name="connsiteY775" fmla="*/ 319560 h 895572"/>
              <a:gd name="connsiteX776" fmla="*/ 858823 w 1090712"/>
              <a:gd name="connsiteY776" fmla="*/ 296514 h 895572"/>
              <a:gd name="connsiteX777" fmla="*/ 848132 w 1090712"/>
              <a:gd name="connsiteY777" fmla="*/ 303879 h 895572"/>
              <a:gd name="connsiteX778" fmla="*/ 840054 w 1090712"/>
              <a:gd name="connsiteY778" fmla="*/ 310294 h 895572"/>
              <a:gd name="connsiteX779" fmla="*/ 833163 w 1090712"/>
              <a:gd name="connsiteY779" fmla="*/ 316947 h 895572"/>
              <a:gd name="connsiteX780" fmla="*/ 825560 w 1090712"/>
              <a:gd name="connsiteY780" fmla="*/ 324550 h 895572"/>
              <a:gd name="connsiteX781" fmla="*/ 823185 w 1090712"/>
              <a:gd name="connsiteY781" fmla="*/ 326688 h 895572"/>
              <a:gd name="connsiteX782" fmla="*/ 821522 w 1090712"/>
              <a:gd name="connsiteY782" fmla="*/ 329301 h 895572"/>
              <a:gd name="connsiteX783" fmla="*/ 817007 w 1090712"/>
              <a:gd name="connsiteY783" fmla="*/ 335954 h 895572"/>
              <a:gd name="connsiteX784" fmla="*/ 812968 w 1090712"/>
              <a:gd name="connsiteY784" fmla="*/ 344032 h 895572"/>
              <a:gd name="connsiteX785" fmla="*/ 808929 w 1090712"/>
              <a:gd name="connsiteY785" fmla="*/ 352585 h 895572"/>
              <a:gd name="connsiteX786" fmla="*/ 809880 w 1090712"/>
              <a:gd name="connsiteY786" fmla="*/ 343557 h 895572"/>
              <a:gd name="connsiteX787" fmla="*/ 811305 w 1090712"/>
              <a:gd name="connsiteY787" fmla="*/ 335479 h 895572"/>
              <a:gd name="connsiteX788" fmla="*/ 812493 w 1090712"/>
              <a:gd name="connsiteY788" fmla="*/ 328826 h 895572"/>
              <a:gd name="connsiteX789" fmla="*/ 814394 w 1090712"/>
              <a:gd name="connsiteY789" fmla="*/ 323124 h 895572"/>
              <a:gd name="connsiteX790" fmla="*/ 816532 w 1090712"/>
              <a:gd name="connsiteY790" fmla="*/ 317659 h 895572"/>
              <a:gd name="connsiteX791" fmla="*/ 819146 w 1090712"/>
              <a:gd name="connsiteY791" fmla="*/ 313383 h 895572"/>
              <a:gd name="connsiteX792" fmla="*/ 822709 w 1090712"/>
              <a:gd name="connsiteY792" fmla="*/ 309344 h 895572"/>
              <a:gd name="connsiteX793" fmla="*/ 826748 w 1090712"/>
              <a:gd name="connsiteY793" fmla="*/ 306255 h 895572"/>
              <a:gd name="connsiteX794" fmla="*/ 832213 w 1090712"/>
              <a:gd name="connsiteY794" fmla="*/ 303166 h 895572"/>
              <a:gd name="connsiteX795" fmla="*/ 838390 w 1090712"/>
              <a:gd name="connsiteY795" fmla="*/ 300315 h 895572"/>
              <a:gd name="connsiteX796" fmla="*/ 845518 w 1090712"/>
              <a:gd name="connsiteY796" fmla="*/ 298177 h 895572"/>
              <a:gd name="connsiteX797" fmla="*/ 854071 w 1090712"/>
              <a:gd name="connsiteY797" fmla="*/ 295563 h 895572"/>
              <a:gd name="connsiteX798" fmla="*/ 875217 w 1090712"/>
              <a:gd name="connsiteY798" fmla="*/ 290574 h 895572"/>
              <a:gd name="connsiteX799" fmla="*/ 903253 w 1090712"/>
              <a:gd name="connsiteY799" fmla="*/ 285347 h 895572"/>
              <a:gd name="connsiteX800" fmla="*/ 886384 w 1090712"/>
              <a:gd name="connsiteY800" fmla="*/ 268478 h 895572"/>
              <a:gd name="connsiteX801" fmla="*/ 879731 w 1090712"/>
              <a:gd name="connsiteY801" fmla="*/ 270141 h 895572"/>
              <a:gd name="connsiteX802" fmla="*/ 873079 w 1090712"/>
              <a:gd name="connsiteY802" fmla="*/ 271091 h 895572"/>
              <a:gd name="connsiteX803" fmla="*/ 867376 w 1090712"/>
              <a:gd name="connsiteY803" fmla="*/ 271567 h 895572"/>
              <a:gd name="connsiteX804" fmla="*/ 862387 w 1090712"/>
              <a:gd name="connsiteY804" fmla="*/ 271091 h 895572"/>
              <a:gd name="connsiteX805" fmla="*/ 857398 w 1090712"/>
              <a:gd name="connsiteY805" fmla="*/ 269666 h 895572"/>
              <a:gd name="connsiteX806" fmla="*/ 853596 w 1090712"/>
              <a:gd name="connsiteY806" fmla="*/ 268003 h 895572"/>
              <a:gd name="connsiteX807" fmla="*/ 849557 w 1090712"/>
              <a:gd name="connsiteY807" fmla="*/ 265627 h 895572"/>
              <a:gd name="connsiteX808" fmla="*/ 846468 w 1090712"/>
              <a:gd name="connsiteY808" fmla="*/ 262538 h 895572"/>
              <a:gd name="connsiteX809" fmla="*/ 843380 w 1090712"/>
              <a:gd name="connsiteY809" fmla="*/ 259450 h 895572"/>
              <a:gd name="connsiteX810" fmla="*/ 840529 w 1090712"/>
              <a:gd name="connsiteY810" fmla="*/ 255411 h 895572"/>
              <a:gd name="connsiteX811" fmla="*/ 838390 w 1090712"/>
              <a:gd name="connsiteY811" fmla="*/ 251134 h 895572"/>
              <a:gd name="connsiteX812" fmla="*/ 836490 w 1090712"/>
              <a:gd name="connsiteY812" fmla="*/ 246620 h 895572"/>
              <a:gd name="connsiteX813" fmla="*/ 834827 w 1090712"/>
              <a:gd name="connsiteY813" fmla="*/ 241155 h 895572"/>
              <a:gd name="connsiteX814" fmla="*/ 833401 w 1090712"/>
              <a:gd name="connsiteY814" fmla="*/ 235453 h 895572"/>
              <a:gd name="connsiteX815" fmla="*/ 831263 w 1090712"/>
              <a:gd name="connsiteY815" fmla="*/ 223336 h 895572"/>
              <a:gd name="connsiteX816" fmla="*/ 897551 w 1090712"/>
              <a:gd name="connsiteY816" fmla="*/ 206942 h 895572"/>
              <a:gd name="connsiteX817" fmla="*/ 888997 w 1090712"/>
              <a:gd name="connsiteY817" fmla="*/ 194112 h 895572"/>
              <a:gd name="connsiteX818" fmla="*/ 880682 w 1090712"/>
              <a:gd name="connsiteY818" fmla="*/ 181282 h 895572"/>
              <a:gd name="connsiteX819" fmla="*/ 871416 w 1090712"/>
              <a:gd name="connsiteY819" fmla="*/ 168690 h 895572"/>
              <a:gd name="connsiteX820" fmla="*/ 866901 w 1090712"/>
              <a:gd name="connsiteY820" fmla="*/ 162988 h 895572"/>
              <a:gd name="connsiteX821" fmla="*/ 861437 w 1090712"/>
              <a:gd name="connsiteY821" fmla="*/ 157048 h 895572"/>
              <a:gd name="connsiteX822" fmla="*/ 856210 w 1090712"/>
              <a:gd name="connsiteY822" fmla="*/ 151821 h 895572"/>
              <a:gd name="connsiteX823" fmla="*/ 850745 w 1090712"/>
              <a:gd name="connsiteY823" fmla="*/ 146831 h 895572"/>
              <a:gd name="connsiteX824" fmla="*/ 844568 w 1090712"/>
              <a:gd name="connsiteY824" fmla="*/ 142555 h 895572"/>
              <a:gd name="connsiteX825" fmla="*/ 838390 w 1090712"/>
              <a:gd name="connsiteY825" fmla="*/ 138516 h 895572"/>
              <a:gd name="connsiteX826" fmla="*/ 831738 w 1090712"/>
              <a:gd name="connsiteY826" fmla="*/ 134952 h 895572"/>
              <a:gd name="connsiteX827" fmla="*/ 824610 w 1090712"/>
              <a:gd name="connsiteY827" fmla="*/ 132338 h 895572"/>
              <a:gd name="connsiteX828" fmla="*/ 817007 w 1090712"/>
              <a:gd name="connsiteY828" fmla="*/ 129963 h 895572"/>
              <a:gd name="connsiteX829" fmla="*/ 808929 w 1090712"/>
              <a:gd name="connsiteY829" fmla="*/ 128774 h 895572"/>
              <a:gd name="connsiteX830" fmla="*/ 806791 w 1090712"/>
              <a:gd name="connsiteY830" fmla="*/ 128299 h 895572"/>
              <a:gd name="connsiteX831" fmla="*/ 804652 w 1090712"/>
              <a:gd name="connsiteY831" fmla="*/ 127824 h 895572"/>
              <a:gd name="connsiteX832" fmla="*/ 802752 w 1090712"/>
              <a:gd name="connsiteY832" fmla="*/ 126399 h 895572"/>
              <a:gd name="connsiteX833" fmla="*/ 801089 w 1090712"/>
              <a:gd name="connsiteY833" fmla="*/ 125211 h 895572"/>
              <a:gd name="connsiteX834" fmla="*/ 799663 w 1090712"/>
              <a:gd name="connsiteY834" fmla="*/ 123310 h 895572"/>
              <a:gd name="connsiteX835" fmla="*/ 798713 w 1090712"/>
              <a:gd name="connsiteY835" fmla="*/ 121647 h 895572"/>
              <a:gd name="connsiteX836" fmla="*/ 798000 w 1090712"/>
              <a:gd name="connsiteY836" fmla="*/ 119271 h 895572"/>
              <a:gd name="connsiteX837" fmla="*/ 798000 w 1090712"/>
              <a:gd name="connsiteY837" fmla="*/ 117608 h 895572"/>
              <a:gd name="connsiteX838" fmla="*/ 785408 w 1090712"/>
              <a:gd name="connsiteY838" fmla="*/ 106916 h 895572"/>
              <a:gd name="connsiteX839" fmla="*/ 772578 w 1090712"/>
              <a:gd name="connsiteY839" fmla="*/ 95749 h 895572"/>
              <a:gd name="connsiteX840" fmla="*/ 747155 w 1090712"/>
              <a:gd name="connsiteY840" fmla="*/ 72703 h 895572"/>
              <a:gd name="connsiteX841" fmla="*/ 733850 w 1090712"/>
              <a:gd name="connsiteY841" fmla="*/ 61061 h 895572"/>
              <a:gd name="connsiteX842" fmla="*/ 720545 w 1090712"/>
              <a:gd name="connsiteY842" fmla="*/ 49894 h 895572"/>
              <a:gd name="connsiteX843" fmla="*/ 706765 w 1090712"/>
              <a:gd name="connsiteY843" fmla="*/ 38728 h 895572"/>
              <a:gd name="connsiteX844" fmla="*/ 692510 w 1090712"/>
              <a:gd name="connsiteY844" fmla="*/ 28036 h 895572"/>
              <a:gd name="connsiteX845" fmla="*/ 679442 w 1090712"/>
              <a:gd name="connsiteY845" fmla="*/ 21859 h 895572"/>
              <a:gd name="connsiteX846" fmla="*/ 666137 w 1090712"/>
              <a:gd name="connsiteY846" fmla="*/ 16632 h 895572"/>
              <a:gd name="connsiteX847" fmla="*/ 652832 w 1090712"/>
              <a:gd name="connsiteY847" fmla="*/ 11642 h 895572"/>
              <a:gd name="connsiteX848" fmla="*/ 639527 w 1090712"/>
              <a:gd name="connsiteY848" fmla="*/ 7603 h 895572"/>
              <a:gd name="connsiteX849" fmla="*/ 626222 w 1090712"/>
              <a:gd name="connsiteY849" fmla="*/ 4514 h 895572"/>
              <a:gd name="connsiteX850" fmla="*/ 612917 w 1090712"/>
              <a:gd name="connsiteY850" fmla="*/ 1901 h 895572"/>
              <a:gd name="connsiteX851" fmla="*/ 599374 w 1090712"/>
              <a:gd name="connsiteY851" fmla="*/ 475 h 8955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Lst>
            <a:rect l="l" t="t" r="r" b="b"/>
            <a:pathLst>
              <a:path w="1090712" h="895572">
                <a:moveTo>
                  <a:pt x="603413" y="721327"/>
                </a:moveTo>
                <a:lnTo>
                  <a:pt x="578466" y="770746"/>
                </a:lnTo>
                <a:lnTo>
                  <a:pt x="553519" y="818264"/>
                </a:lnTo>
                <a:lnTo>
                  <a:pt x="528334" y="865069"/>
                </a:lnTo>
                <a:lnTo>
                  <a:pt x="511825" y="895572"/>
                </a:lnTo>
                <a:lnTo>
                  <a:pt x="624528" y="895572"/>
                </a:lnTo>
                <a:lnTo>
                  <a:pt x="624796" y="894768"/>
                </a:lnTo>
                <a:lnTo>
                  <a:pt x="625271" y="891679"/>
                </a:lnTo>
                <a:lnTo>
                  <a:pt x="625747" y="889066"/>
                </a:lnTo>
                <a:lnTo>
                  <a:pt x="625747" y="860555"/>
                </a:lnTo>
                <a:lnTo>
                  <a:pt x="624796" y="833945"/>
                </a:lnTo>
                <a:lnTo>
                  <a:pt x="624321" y="820877"/>
                </a:lnTo>
                <a:lnTo>
                  <a:pt x="623608" y="808047"/>
                </a:lnTo>
                <a:lnTo>
                  <a:pt x="621708" y="795218"/>
                </a:lnTo>
                <a:lnTo>
                  <a:pt x="620044" y="782625"/>
                </a:lnTo>
                <a:lnTo>
                  <a:pt x="616005" y="766707"/>
                </a:lnTo>
                <a:lnTo>
                  <a:pt x="611966" y="751976"/>
                </a:lnTo>
                <a:lnTo>
                  <a:pt x="607452" y="737245"/>
                </a:lnTo>
                <a:close/>
                <a:moveTo>
                  <a:pt x="698212" y="530778"/>
                </a:moveTo>
                <a:lnTo>
                  <a:pt x="693460" y="534818"/>
                </a:lnTo>
                <a:lnTo>
                  <a:pt x="688471" y="538857"/>
                </a:lnTo>
                <a:lnTo>
                  <a:pt x="678254" y="546935"/>
                </a:lnTo>
                <a:lnTo>
                  <a:pt x="669226" y="553587"/>
                </a:lnTo>
                <a:lnTo>
                  <a:pt x="663048" y="558814"/>
                </a:lnTo>
                <a:lnTo>
                  <a:pt x="663048" y="556676"/>
                </a:lnTo>
                <a:lnTo>
                  <a:pt x="663523" y="554538"/>
                </a:lnTo>
                <a:lnTo>
                  <a:pt x="665424" y="550498"/>
                </a:lnTo>
                <a:lnTo>
                  <a:pt x="668038" y="546459"/>
                </a:lnTo>
                <a:lnTo>
                  <a:pt x="671602" y="542420"/>
                </a:lnTo>
                <a:lnTo>
                  <a:pt x="676829" y="538857"/>
                </a:lnTo>
                <a:lnTo>
                  <a:pt x="682768" y="535768"/>
                </a:lnTo>
                <a:lnTo>
                  <a:pt x="689896" y="533154"/>
                </a:lnTo>
                <a:close/>
                <a:moveTo>
                  <a:pt x="654257" y="302216"/>
                </a:moveTo>
                <a:lnTo>
                  <a:pt x="651882" y="302691"/>
                </a:lnTo>
                <a:lnTo>
                  <a:pt x="649268" y="303166"/>
                </a:lnTo>
                <a:lnTo>
                  <a:pt x="647130" y="304354"/>
                </a:lnTo>
                <a:lnTo>
                  <a:pt x="644516" y="306255"/>
                </a:lnTo>
                <a:lnTo>
                  <a:pt x="642140" y="307918"/>
                </a:lnTo>
                <a:lnTo>
                  <a:pt x="640002" y="310294"/>
                </a:lnTo>
                <a:lnTo>
                  <a:pt x="638101" y="312432"/>
                </a:lnTo>
                <a:lnTo>
                  <a:pt x="636913" y="314571"/>
                </a:lnTo>
                <a:lnTo>
                  <a:pt x="635963" y="316946"/>
                </a:lnTo>
                <a:lnTo>
                  <a:pt x="635963" y="319085"/>
                </a:lnTo>
                <a:lnTo>
                  <a:pt x="636913" y="321223"/>
                </a:lnTo>
                <a:lnTo>
                  <a:pt x="637626" y="324074"/>
                </a:lnTo>
                <a:lnTo>
                  <a:pt x="639527" y="326688"/>
                </a:lnTo>
                <a:lnTo>
                  <a:pt x="643091" y="331677"/>
                </a:lnTo>
                <a:lnTo>
                  <a:pt x="647130" y="335954"/>
                </a:lnTo>
                <a:lnTo>
                  <a:pt x="655920" y="330727"/>
                </a:lnTo>
                <a:lnTo>
                  <a:pt x="663999" y="324787"/>
                </a:lnTo>
                <a:lnTo>
                  <a:pt x="679917" y="313383"/>
                </a:lnTo>
                <a:lnTo>
                  <a:pt x="676354" y="311007"/>
                </a:lnTo>
                <a:lnTo>
                  <a:pt x="672790" y="308393"/>
                </a:lnTo>
                <a:lnTo>
                  <a:pt x="668988" y="306730"/>
                </a:lnTo>
                <a:lnTo>
                  <a:pt x="664949" y="304829"/>
                </a:lnTo>
                <a:lnTo>
                  <a:pt x="660910" y="303641"/>
                </a:lnTo>
                <a:lnTo>
                  <a:pt x="657346" y="302691"/>
                </a:lnTo>
                <a:close/>
                <a:moveTo>
                  <a:pt x="696549" y="252322"/>
                </a:moveTo>
                <a:lnTo>
                  <a:pt x="696786" y="259925"/>
                </a:lnTo>
                <a:lnTo>
                  <a:pt x="698212" y="266102"/>
                </a:lnTo>
                <a:lnTo>
                  <a:pt x="700113" y="272042"/>
                </a:lnTo>
                <a:lnTo>
                  <a:pt x="701776" y="276794"/>
                </a:lnTo>
                <a:lnTo>
                  <a:pt x="704389" y="280833"/>
                </a:lnTo>
                <a:lnTo>
                  <a:pt x="707240" y="284397"/>
                </a:lnTo>
                <a:lnTo>
                  <a:pt x="710329" y="287010"/>
                </a:lnTo>
                <a:lnTo>
                  <a:pt x="713418" y="289624"/>
                </a:lnTo>
                <a:lnTo>
                  <a:pt x="716506" y="291524"/>
                </a:lnTo>
                <a:lnTo>
                  <a:pt x="719595" y="293187"/>
                </a:lnTo>
                <a:lnTo>
                  <a:pt x="725772" y="295088"/>
                </a:lnTo>
                <a:lnTo>
                  <a:pt x="731237" y="296514"/>
                </a:lnTo>
                <a:lnTo>
                  <a:pt x="734801" y="296751"/>
                </a:lnTo>
                <a:lnTo>
                  <a:pt x="722209" y="303879"/>
                </a:lnTo>
                <a:lnTo>
                  <a:pt x="710804" y="311007"/>
                </a:lnTo>
                <a:lnTo>
                  <a:pt x="688471" y="324787"/>
                </a:lnTo>
                <a:lnTo>
                  <a:pt x="667563" y="339043"/>
                </a:lnTo>
                <a:lnTo>
                  <a:pt x="646179" y="352823"/>
                </a:lnTo>
                <a:lnTo>
                  <a:pt x="620044" y="313383"/>
                </a:lnTo>
                <a:lnTo>
                  <a:pt x="617668" y="312432"/>
                </a:lnTo>
                <a:lnTo>
                  <a:pt x="615055" y="312432"/>
                </a:lnTo>
                <a:lnTo>
                  <a:pt x="612441" y="313383"/>
                </a:lnTo>
                <a:lnTo>
                  <a:pt x="609353" y="314095"/>
                </a:lnTo>
                <a:lnTo>
                  <a:pt x="602938" y="316946"/>
                </a:lnTo>
                <a:lnTo>
                  <a:pt x="599849" y="317659"/>
                </a:lnTo>
                <a:lnTo>
                  <a:pt x="596760" y="318610"/>
                </a:lnTo>
                <a:lnTo>
                  <a:pt x="607927" y="307205"/>
                </a:lnTo>
                <a:lnTo>
                  <a:pt x="618619" y="295088"/>
                </a:lnTo>
                <a:lnTo>
                  <a:pt x="623846" y="289386"/>
                </a:lnTo>
                <a:lnTo>
                  <a:pt x="629786" y="283921"/>
                </a:lnTo>
                <a:lnTo>
                  <a:pt x="635963" y="278694"/>
                </a:lnTo>
                <a:lnTo>
                  <a:pt x="642140" y="273705"/>
                </a:lnTo>
                <a:lnTo>
                  <a:pt x="648793" y="269191"/>
                </a:lnTo>
                <a:lnTo>
                  <a:pt x="655446" y="265627"/>
                </a:lnTo>
                <a:lnTo>
                  <a:pt x="662098" y="263013"/>
                </a:lnTo>
                <a:lnTo>
                  <a:pt x="668988" y="260400"/>
                </a:lnTo>
                <a:lnTo>
                  <a:pt x="682768" y="256361"/>
                </a:lnTo>
                <a:close/>
                <a:moveTo>
                  <a:pt x="1030602" y="200289"/>
                </a:moveTo>
                <a:lnTo>
                  <a:pt x="1027513" y="207892"/>
                </a:lnTo>
                <a:lnTo>
                  <a:pt x="1023949" y="214545"/>
                </a:lnTo>
                <a:lnTo>
                  <a:pt x="1019910" y="221197"/>
                </a:lnTo>
                <a:lnTo>
                  <a:pt x="1015396" y="226899"/>
                </a:lnTo>
                <a:lnTo>
                  <a:pt x="1011119" y="232839"/>
                </a:lnTo>
                <a:lnTo>
                  <a:pt x="1006130" y="237591"/>
                </a:lnTo>
                <a:lnTo>
                  <a:pt x="1001140" y="242105"/>
                </a:lnTo>
                <a:lnTo>
                  <a:pt x="996388" y="246144"/>
                </a:lnTo>
                <a:lnTo>
                  <a:pt x="990924" y="249708"/>
                </a:lnTo>
                <a:lnTo>
                  <a:pt x="985697" y="252797"/>
                </a:lnTo>
                <a:lnTo>
                  <a:pt x="980232" y="254935"/>
                </a:lnTo>
                <a:lnTo>
                  <a:pt x="975005" y="256836"/>
                </a:lnTo>
                <a:lnTo>
                  <a:pt x="969541" y="258262"/>
                </a:lnTo>
                <a:lnTo>
                  <a:pt x="963839" y="258499"/>
                </a:lnTo>
                <a:lnTo>
                  <a:pt x="958612" y="258499"/>
                </a:lnTo>
                <a:lnTo>
                  <a:pt x="953622" y="257786"/>
                </a:lnTo>
                <a:lnTo>
                  <a:pt x="970966" y="244006"/>
                </a:lnTo>
                <a:lnTo>
                  <a:pt x="990211" y="229275"/>
                </a:lnTo>
                <a:lnTo>
                  <a:pt x="1010169" y="214069"/>
                </a:lnTo>
                <a:lnTo>
                  <a:pt x="1020385" y="206942"/>
                </a:lnTo>
                <a:close/>
                <a:moveTo>
                  <a:pt x="389581" y="176768"/>
                </a:moveTo>
                <a:lnTo>
                  <a:pt x="397422" y="177243"/>
                </a:lnTo>
                <a:lnTo>
                  <a:pt x="414766" y="178906"/>
                </a:lnTo>
                <a:lnTo>
                  <a:pt x="405500" y="179856"/>
                </a:lnTo>
                <a:lnTo>
                  <a:pt x="396946" y="181995"/>
                </a:lnTo>
                <a:lnTo>
                  <a:pt x="389581" y="184371"/>
                </a:lnTo>
                <a:lnTo>
                  <a:pt x="381978" y="186984"/>
                </a:lnTo>
                <a:lnTo>
                  <a:pt x="375326" y="190548"/>
                </a:lnTo>
                <a:lnTo>
                  <a:pt x="368911" y="194112"/>
                </a:lnTo>
                <a:lnTo>
                  <a:pt x="363208" y="198626"/>
                </a:lnTo>
                <a:lnTo>
                  <a:pt x="357981" y="202903"/>
                </a:lnTo>
                <a:lnTo>
                  <a:pt x="352517" y="208367"/>
                </a:lnTo>
                <a:lnTo>
                  <a:pt x="348003" y="214070"/>
                </a:lnTo>
                <a:lnTo>
                  <a:pt x="343726" y="220247"/>
                </a:lnTo>
                <a:lnTo>
                  <a:pt x="339687" y="226662"/>
                </a:lnTo>
                <a:lnTo>
                  <a:pt x="335648" y="233790"/>
                </a:lnTo>
                <a:lnTo>
                  <a:pt x="332559" y="240917"/>
                </a:lnTo>
                <a:lnTo>
                  <a:pt x="328995" y="248758"/>
                </a:lnTo>
                <a:lnTo>
                  <a:pt x="325907" y="256836"/>
                </a:lnTo>
                <a:lnTo>
                  <a:pt x="325432" y="252797"/>
                </a:lnTo>
                <a:lnTo>
                  <a:pt x="324956" y="248283"/>
                </a:lnTo>
                <a:lnTo>
                  <a:pt x="323056" y="239492"/>
                </a:lnTo>
                <a:lnTo>
                  <a:pt x="320917" y="229275"/>
                </a:lnTo>
                <a:lnTo>
                  <a:pt x="320442" y="223811"/>
                </a:lnTo>
                <a:lnTo>
                  <a:pt x="319967" y="217633"/>
                </a:lnTo>
                <a:lnTo>
                  <a:pt x="314740" y="217633"/>
                </a:lnTo>
                <a:lnTo>
                  <a:pt x="302148" y="243056"/>
                </a:lnTo>
                <a:lnTo>
                  <a:pt x="289793" y="267528"/>
                </a:lnTo>
                <a:lnTo>
                  <a:pt x="277438" y="291049"/>
                </a:lnTo>
                <a:lnTo>
                  <a:pt x="264371" y="312907"/>
                </a:lnTo>
                <a:lnTo>
                  <a:pt x="267459" y="295088"/>
                </a:lnTo>
                <a:lnTo>
                  <a:pt x="271023" y="279170"/>
                </a:lnTo>
                <a:lnTo>
                  <a:pt x="274587" y="263964"/>
                </a:lnTo>
                <a:lnTo>
                  <a:pt x="279101" y="250183"/>
                </a:lnTo>
                <a:lnTo>
                  <a:pt x="284091" y="238066"/>
                </a:lnTo>
                <a:lnTo>
                  <a:pt x="289318" y="226900"/>
                </a:lnTo>
                <a:lnTo>
                  <a:pt x="292406" y="221673"/>
                </a:lnTo>
                <a:lnTo>
                  <a:pt x="295495" y="217158"/>
                </a:lnTo>
                <a:lnTo>
                  <a:pt x="298584" y="212406"/>
                </a:lnTo>
                <a:lnTo>
                  <a:pt x="302148" y="208367"/>
                </a:lnTo>
                <a:lnTo>
                  <a:pt x="305711" y="204328"/>
                </a:lnTo>
                <a:lnTo>
                  <a:pt x="309275" y="200765"/>
                </a:lnTo>
                <a:lnTo>
                  <a:pt x="313314" y="197201"/>
                </a:lnTo>
                <a:lnTo>
                  <a:pt x="317354" y="194112"/>
                </a:lnTo>
                <a:lnTo>
                  <a:pt x="321868" y="191498"/>
                </a:lnTo>
                <a:lnTo>
                  <a:pt x="326382" y="188647"/>
                </a:lnTo>
                <a:lnTo>
                  <a:pt x="330659" y="186509"/>
                </a:lnTo>
                <a:lnTo>
                  <a:pt x="335648" y="184371"/>
                </a:lnTo>
                <a:lnTo>
                  <a:pt x="340637" y="182470"/>
                </a:lnTo>
                <a:lnTo>
                  <a:pt x="345864" y="181282"/>
                </a:lnTo>
                <a:lnTo>
                  <a:pt x="351091" y="179856"/>
                </a:lnTo>
                <a:lnTo>
                  <a:pt x="357031" y="178431"/>
                </a:lnTo>
                <a:lnTo>
                  <a:pt x="368911" y="177243"/>
                </a:lnTo>
                <a:lnTo>
                  <a:pt x="381978" y="176768"/>
                </a:lnTo>
                <a:close/>
                <a:moveTo>
                  <a:pt x="609353" y="174629"/>
                </a:moveTo>
                <a:lnTo>
                  <a:pt x="602463" y="180807"/>
                </a:lnTo>
                <a:lnTo>
                  <a:pt x="596285" y="187459"/>
                </a:lnTo>
                <a:lnTo>
                  <a:pt x="583931" y="201715"/>
                </a:lnTo>
                <a:lnTo>
                  <a:pt x="571101" y="215495"/>
                </a:lnTo>
                <a:lnTo>
                  <a:pt x="564686" y="222148"/>
                </a:lnTo>
                <a:lnTo>
                  <a:pt x="558508" y="228325"/>
                </a:lnTo>
                <a:lnTo>
                  <a:pt x="557558" y="223335"/>
                </a:lnTo>
                <a:lnTo>
                  <a:pt x="557083" y="219059"/>
                </a:lnTo>
                <a:lnTo>
                  <a:pt x="557083" y="215020"/>
                </a:lnTo>
                <a:lnTo>
                  <a:pt x="557558" y="210981"/>
                </a:lnTo>
                <a:lnTo>
                  <a:pt x="558508" y="207417"/>
                </a:lnTo>
                <a:lnTo>
                  <a:pt x="560409" y="203853"/>
                </a:lnTo>
                <a:lnTo>
                  <a:pt x="562072" y="200764"/>
                </a:lnTo>
                <a:lnTo>
                  <a:pt x="564686" y="197676"/>
                </a:lnTo>
                <a:lnTo>
                  <a:pt x="567774" y="194587"/>
                </a:lnTo>
                <a:lnTo>
                  <a:pt x="571813" y="191973"/>
                </a:lnTo>
                <a:lnTo>
                  <a:pt x="576328" y="188647"/>
                </a:lnTo>
                <a:lnTo>
                  <a:pt x="581317" y="186034"/>
                </a:lnTo>
                <a:lnTo>
                  <a:pt x="587019" y="183420"/>
                </a:lnTo>
                <a:lnTo>
                  <a:pt x="593672" y="180332"/>
                </a:lnTo>
                <a:close/>
                <a:moveTo>
                  <a:pt x="586544" y="0"/>
                </a:moveTo>
                <a:lnTo>
                  <a:pt x="570150" y="2851"/>
                </a:lnTo>
                <a:lnTo>
                  <a:pt x="553519" y="5940"/>
                </a:lnTo>
                <a:lnTo>
                  <a:pt x="536650" y="10454"/>
                </a:lnTo>
                <a:lnTo>
                  <a:pt x="520256" y="14731"/>
                </a:lnTo>
                <a:lnTo>
                  <a:pt x="486993" y="24472"/>
                </a:lnTo>
                <a:lnTo>
                  <a:pt x="469887" y="28986"/>
                </a:lnTo>
                <a:lnTo>
                  <a:pt x="453493" y="33500"/>
                </a:lnTo>
                <a:lnTo>
                  <a:pt x="438762" y="40153"/>
                </a:lnTo>
                <a:lnTo>
                  <a:pt x="424507" y="47281"/>
                </a:lnTo>
                <a:lnTo>
                  <a:pt x="417379" y="51320"/>
                </a:lnTo>
                <a:lnTo>
                  <a:pt x="410727" y="55834"/>
                </a:lnTo>
                <a:lnTo>
                  <a:pt x="403599" y="60111"/>
                </a:lnTo>
                <a:lnTo>
                  <a:pt x="397422" y="65100"/>
                </a:lnTo>
                <a:lnTo>
                  <a:pt x="390769" y="69852"/>
                </a:lnTo>
                <a:lnTo>
                  <a:pt x="384592" y="75792"/>
                </a:lnTo>
                <a:lnTo>
                  <a:pt x="378889" y="81494"/>
                </a:lnTo>
                <a:lnTo>
                  <a:pt x="372950" y="87671"/>
                </a:lnTo>
                <a:lnTo>
                  <a:pt x="367723" y="94324"/>
                </a:lnTo>
                <a:lnTo>
                  <a:pt x="362733" y="101452"/>
                </a:lnTo>
                <a:lnTo>
                  <a:pt x="357981" y="109055"/>
                </a:lnTo>
                <a:lnTo>
                  <a:pt x="353467" y="117608"/>
                </a:lnTo>
                <a:lnTo>
                  <a:pt x="409064" y="117608"/>
                </a:lnTo>
                <a:lnTo>
                  <a:pt x="406925" y="119271"/>
                </a:lnTo>
                <a:lnTo>
                  <a:pt x="404074" y="121647"/>
                </a:lnTo>
                <a:lnTo>
                  <a:pt x="400510" y="123310"/>
                </a:lnTo>
                <a:lnTo>
                  <a:pt x="397422" y="125211"/>
                </a:lnTo>
                <a:lnTo>
                  <a:pt x="393383" y="126399"/>
                </a:lnTo>
                <a:lnTo>
                  <a:pt x="389581" y="127824"/>
                </a:lnTo>
                <a:lnTo>
                  <a:pt x="385542" y="128299"/>
                </a:lnTo>
                <a:lnTo>
                  <a:pt x="381503" y="128774"/>
                </a:lnTo>
                <a:lnTo>
                  <a:pt x="375326" y="130438"/>
                </a:lnTo>
                <a:lnTo>
                  <a:pt x="368435" y="131863"/>
                </a:lnTo>
                <a:lnTo>
                  <a:pt x="361783" y="133051"/>
                </a:lnTo>
                <a:lnTo>
                  <a:pt x="355606" y="134001"/>
                </a:lnTo>
                <a:lnTo>
                  <a:pt x="342300" y="135427"/>
                </a:lnTo>
                <a:lnTo>
                  <a:pt x="329471" y="137090"/>
                </a:lnTo>
                <a:lnTo>
                  <a:pt x="322818" y="138040"/>
                </a:lnTo>
                <a:lnTo>
                  <a:pt x="316403" y="139704"/>
                </a:lnTo>
                <a:lnTo>
                  <a:pt x="310226" y="141604"/>
                </a:lnTo>
                <a:lnTo>
                  <a:pt x="304048" y="144218"/>
                </a:lnTo>
                <a:lnTo>
                  <a:pt x="298346" y="147307"/>
                </a:lnTo>
                <a:lnTo>
                  <a:pt x="292406" y="151346"/>
                </a:lnTo>
                <a:lnTo>
                  <a:pt x="286704" y="156335"/>
                </a:lnTo>
                <a:lnTo>
                  <a:pt x="281240" y="162037"/>
                </a:lnTo>
                <a:lnTo>
                  <a:pt x="262232" y="182945"/>
                </a:lnTo>
                <a:lnTo>
                  <a:pt x="242987" y="203378"/>
                </a:lnTo>
                <a:lnTo>
                  <a:pt x="203547" y="244006"/>
                </a:lnTo>
                <a:lnTo>
                  <a:pt x="183827" y="264439"/>
                </a:lnTo>
                <a:lnTo>
                  <a:pt x="164345" y="285822"/>
                </a:lnTo>
                <a:lnTo>
                  <a:pt x="144862" y="307443"/>
                </a:lnTo>
                <a:lnTo>
                  <a:pt x="126093" y="329777"/>
                </a:lnTo>
                <a:lnTo>
                  <a:pt x="122054" y="335004"/>
                </a:lnTo>
                <a:lnTo>
                  <a:pt x="118015" y="340468"/>
                </a:lnTo>
                <a:lnTo>
                  <a:pt x="110887" y="352110"/>
                </a:lnTo>
                <a:lnTo>
                  <a:pt x="104709" y="363514"/>
                </a:lnTo>
                <a:lnTo>
                  <a:pt x="99007" y="375156"/>
                </a:lnTo>
                <a:lnTo>
                  <a:pt x="87840" y="400103"/>
                </a:lnTo>
                <a:lnTo>
                  <a:pt x="82138" y="412458"/>
                </a:lnTo>
                <a:lnTo>
                  <a:pt x="75723" y="425050"/>
                </a:lnTo>
                <a:lnTo>
                  <a:pt x="75723" y="429802"/>
                </a:lnTo>
                <a:lnTo>
                  <a:pt x="76674" y="436217"/>
                </a:lnTo>
                <a:lnTo>
                  <a:pt x="77149" y="439306"/>
                </a:lnTo>
                <a:lnTo>
                  <a:pt x="78574" y="442395"/>
                </a:lnTo>
                <a:lnTo>
                  <a:pt x="79762" y="445008"/>
                </a:lnTo>
                <a:lnTo>
                  <a:pt x="81663" y="447147"/>
                </a:lnTo>
                <a:lnTo>
                  <a:pt x="94018" y="468055"/>
                </a:lnTo>
                <a:lnTo>
                  <a:pt x="106848" y="488963"/>
                </a:lnTo>
                <a:lnTo>
                  <a:pt x="113975" y="499654"/>
                </a:lnTo>
                <a:lnTo>
                  <a:pt x="121103" y="510346"/>
                </a:lnTo>
                <a:lnTo>
                  <a:pt x="128706" y="520562"/>
                </a:lnTo>
                <a:lnTo>
                  <a:pt x="137259" y="531254"/>
                </a:lnTo>
                <a:lnTo>
                  <a:pt x="149614" y="514385"/>
                </a:lnTo>
                <a:lnTo>
                  <a:pt x="162206" y="498466"/>
                </a:lnTo>
                <a:lnTo>
                  <a:pt x="174561" y="483260"/>
                </a:lnTo>
                <a:lnTo>
                  <a:pt x="180739" y="476133"/>
                </a:lnTo>
                <a:lnTo>
                  <a:pt x="186916" y="469480"/>
                </a:lnTo>
                <a:lnTo>
                  <a:pt x="182639" y="482310"/>
                </a:lnTo>
                <a:lnTo>
                  <a:pt x="178125" y="495615"/>
                </a:lnTo>
                <a:lnTo>
                  <a:pt x="172423" y="509871"/>
                </a:lnTo>
                <a:lnTo>
                  <a:pt x="164820" y="525552"/>
                </a:lnTo>
                <a:lnTo>
                  <a:pt x="156267" y="538381"/>
                </a:lnTo>
                <a:lnTo>
                  <a:pt x="152703" y="544559"/>
                </a:lnTo>
                <a:lnTo>
                  <a:pt x="148664" y="551449"/>
                </a:lnTo>
                <a:lnTo>
                  <a:pt x="145100" y="558339"/>
                </a:lnTo>
                <a:lnTo>
                  <a:pt x="142011" y="565467"/>
                </a:lnTo>
                <a:lnTo>
                  <a:pt x="139398" y="573070"/>
                </a:lnTo>
                <a:lnTo>
                  <a:pt x="137259" y="581623"/>
                </a:lnTo>
                <a:lnTo>
                  <a:pt x="136309" y="583761"/>
                </a:lnTo>
                <a:lnTo>
                  <a:pt x="135359" y="586137"/>
                </a:lnTo>
                <a:lnTo>
                  <a:pt x="134883" y="590889"/>
                </a:lnTo>
                <a:lnTo>
                  <a:pt x="134883" y="595879"/>
                </a:lnTo>
                <a:lnTo>
                  <a:pt x="135359" y="601106"/>
                </a:lnTo>
                <a:lnTo>
                  <a:pt x="136784" y="606095"/>
                </a:lnTo>
                <a:lnTo>
                  <a:pt x="138447" y="611322"/>
                </a:lnTo>
                <a:lnTo>
                  <a:pt x="140348" y="616311"/>
                </a:lnTo>
                <a:lnTo>
                  <a:pt x="142486" y="620826"/>
                </a:lnTo>
                <a:lnTo>
                  <a:pt x="148664" y="629616"/>
                </a:lnTo>
                <a:lnTo>
                  <a:pt x="155554" y="637219"/>
                </a:lnTo>
                <a:lnTo>
                  <a:pt x="162444" y="643872"/>
                </a:lnTo>
                <a:lnTo>
                  <a:pt x="169572" y="649099"/>
                </a:lnTo>
                <a:lnTo>
                  <a:pt x="177175" y="653613"/>
                </a:lnTo>
                <a:lnTo>
                  <a:pt x="184778" y="657177"/>
                </a:lnTo>
                <a:lnTo>
                  <a:pt x="192856" y="659553"/>
                </a:lnTo>
                <a:lnTo>
                  <a:pt x="200934" y="661216"/>
                </a:lnTo>
                <a:lnTo>
                  <a:pt x="209250" y="661691"/>
                </a:lnTo>
                <a:lnTo>
                  <a:pt x="218278" y="661691"/>
                </a:lnTo>
                <a:lnTo>
                  <a:pt x="227069" y="660266"/>
                </a:lnTo>
                <a:lnTo>
                  <a:pt x="236335" y="658603"/>
                </a:lnTo>
                <a:lnTo>
                  <a:pt x="245838" y="655514"/>
                </a:lnTo>
                <a:lnTo>
                  <a:pt x="255580" y="652425"/>
                </a:lnTo>
                <a:lnTo>
                  <a:pt x="265321" y="647911"/>
                </a:lnTo>
                <a:lnTo>
                  <a:pt x="276013" y="642922"/>
                </a:lnTo>
                <a:lnTo>
                  <a:pt x="288367" y="635081"/>
                </a:lnTo>
                <a:lnTo>
                  <a:pt x="301910" y="627478"/>
                </a:lnTo>
                <a:lnTo>
                  <a:pt x="315215" y="620350"/>
                </a:lnTo>
                <a:lnTo>
                  <a:pt x="329471" y="613698"/>
                </a:lnTo>
                <a:lnTo>
                  <a:pt x="343726" y="607283"/>
                </a:lnTo>
                <a:lnTo>
                  <a:pt x="357981" y="602056"/>
                </a:lnTo>
                <a:lnTo>
                  <a:pt x="371999" y="597066"/>
                </a:lnTo>
                <a:lnTo>
                  <a:pt x="386730" y="592790"/>
                </a:lnTo>
                <a:lnTo>
                  <a:pt x="394808" y="590414"/>
                </a:lnTo>
                <a:lnTo>
                  <a:pt x="402411" y="587325"/>
                </a:lnTo>
                <a:lnTo>
                  <a:pt x="409064" y="583761"/>
                </a:lnTo>
                <a:lnTo>
                  <a:pt x="411677" y="581623"/>
                </a:lnTo>
                <a:lnTo>
                  <a:pt x="414766" y="579247"/>
                </a:lnTo>
                <a:lnTo>
                  <a:pt x="417142" y="577109"/>
                </a:lnTo>
                <a:lnTo>
                  <a:pt x="419280" y="574495"/>
                </a:lnTo>
                <a:lnTo>
                  <a:pt x="420943" y="571407"/>
                </a:lnTo>
                <a:lnTo>
                  <a:pt x="422844" y="568318"/>
                </a:lnTo>
                <a:lnTo>
                  <a:pt x="424269" y="565229"/>
                </a:lnTo>
                <a:lnTo>
                  <a:pt x="424982" y="561665"/>
                </a:lnTo>
                <a:lnTo>
                  <a:pt x="425457" y="557626"/>
                </a:lnTo>
                <a:lnTo>
                  <a:pt x="425932" y="553587"/>
                </a:lnTo>
                <a:lnTo>
                  <a:pt x="425932" y="413884"/>
                </a:lnTo>
                <a:lnTo>
                  <a:pt x="425932" y="285347"/>
                </a:lnTo>
                <a:lnTo>
                  <a:pt x="429496" y="300078"/>
                </a:lnTo>
                <a:lnTo>
                  <a:pt x="433060" y="314096"/>
                </a:lnTo>
                <a:lnTo>
                  <a:pt x="436149" y="328826"/>
                </a:lnTo>
                <a:lnTo>
                  <a:pt x="438762" y="343082"/>
                </a:lnTo>
                <a:lnTo>
                  <a:pt x="443752" y="370642"/>
                </a:lnTo>
                <a:lnTo>
                  <a:pt x="447791" y="397015"/>
                </a:lnTo>
                <a:lnTo>
                  <a:pt x="451830" y="421962"/>
                </a:lnTo>
                <a:lnTo>
                  <a:pt x="454919" y="446434"/>
                </a:lnTo>
                <a:lnTo>
                  <a:pt x="456106" y="458313"/>
                </a:lnTo>
                <a:lnTo>
                  <a:pt x="457057" y="470430"/>
                </a:lnTo>
                <a:lnTo>
                  <a:pt x="457532" y="482310"/>
                </a:lnTo>
                <a:lnTo>
                  <a:pt x="457532" y="493952"/>
                </a:lnTo>
                <a:lnTo>
                  <a:pt x="457532" y="506069"/>
                </a:lnTo>
                <a:lnTo>
                  <a:pt x="456582" y="517473"/>
                </a:lnTo>
                <a:lnTo>
                  <a:pt x="455869" y="529116"/>
                </a:lnTo>
                <a:lnTo>
                  <a:pt x="453968" y="540757"/>
                </a:lnTo>
                <a:lnTo>
                  <a:pt x="452305" y="552162"/>
                </a:lnTo>
                <a:lnTo>
                  <a:pt x="449454" y="563804"/>
                </a:lnTo>
                <a:lnTo>
                  <a:pt x="446365" y="575446"/>
                </a:lnTo>
                <a:lnTo>
                  <a:pt x="442326" y="586850"/>
                </a:lnTo>
                <a:lnTo>
                  <a:pt x="440188" y="591364"/>
                </a:lnTo>
                <a:lnTo>
                  <a:pt x="437574" y="595403"/>
                </a:lnTo>
                <a:lnTo>
                  <a:pt x="434486" y="598967"/>
                </a:lnTo>
                <a:lnTo>
                  <a:pt x="431397" y="602531"/>
                </a:lnTo>
                <a:lnTo>
                  <a:pt x="428071" y="605145"/>
                </a:lnTo>
                <a:lnTo>
                  <a:pt x="424982" y="607283"/>
                </a:lnTo>
                <a:lnTo>
                  <a:pt x="422369" y="608708"/>
                </a:lnTo>
                <a:lnTo>
                  <a:pt x="420230" y="609659"/>
                </a:lnTo>
                <a:lnTo>
                  <a:pt x="410727" y="610847"/>
                </a:lnTo>
                <a:lnTo>
                  <a:pt x="401461" y="612748"/>
                </a:lnTo>
                <a:lnTo>
                  <a:pt x="392670" y="614886"/>
                </a:lnTo>
                <a:lnTo>
                  <a:pt x="383641" y="617262"/>
                </a:lnTo>
                <a:lnTo>
                  <a:pt x="374850" y="620350"/>
                </a:lnTo>
                <a:lnTo>
                  <a:pt x="365822" y="623914"/>
                </a:lnTo>
                <a:lnTo>
                  <a:pt x="348478" y="631042"/>
                </a:lnTo>
                <a:lnTo>
                  <a:pt x="331609" y="639358"/>
                </a:lnTo>
                <a:lnTo>
                  <a:pt x="314740" y="647911"/>
                </a:lnTo>
                <a:lnTo>
                  <a:pt x="281240" y="665255"/>
                </a:lnTo>
                <a:lnTo>
                  <a:pt x="274587" y="669294"/>
                </a:lnTo>
                <a:lnTo>
                  <a:pt x="267935" y="672858"/>
                </a:lnTo>
                <a:lnTo>
                  <a:pt x="261757" y="675947"/>
                </a:lnTo>
                <a:lnTo>
                  <a:pt x="255105" y="679035"/>
                </a:lnTo>
                <a:lnTo>
                  <a:pt x="248927" y="681174"/>
                </a:lnTo>
                <a:lnTo>
                  <a:pt x="242987" y="683075"/>
                </a:lnTo>
                <a:lnTo>
                  <a:pt x="236810" y="684738"/>
                </a:lnTo>
                <a:lnTo>
                  <a:pt x="231108" y="686163"/>
                </a:lnTo>
                <a:lnTo>
                  <a:pt x="225406" y="687114"/>
                </a:lnTo>
                <a:lnTo>
                  <a:pt x="219466" y="687589"/>
                </a:lnTo>
                <a:lnTo>
                  <a:pt x="213764" y="687589"/>
                </a:lnTo>
                <a:lnTo>
                  <a:pt x="208299" y="687589"/>
                </a:lnTo>
                <a:lnTo>
                  <a:pt x="203072" y="687114"/>
                </a:lnTo>
                <a:lnTo>
                  <a:pt x="197607" y="686163"/>
                </a:lnTo>
                <a:lnTo>
                  <a:pt x="192380" y="684738"/>
                </a:lnTo>
                <a:lnTo>
                  <a:pt x="186916" y="683550"/>
                </a:lnTo>
                <a:lnTo>
                  <a:pt x="181689" y="681649"/>
                </a:lnTo>
                <a:lnTo>
                  <a:pt x="176699" y="679986"/>
                </a:lnTo>
                <a:lnTo>
                  <a:pt x="171472" y="677610"/>
                </a:lnTo>
                <a:lnTo>
                  <a:pt x="166483" y="674996"/>
                </a:lnTo>
                <a:lnTo>
                  <a:pt x="156742" y="669294"/>
                </a:lnTo>
                <a:lnTo>
                  <a:pt x="147001" y="662167"/>
                </a:lnTo>
                <a:lnTo>
                  <a:pt x="137735" y="654564"/>
                </a:lnTo>
                <a:lnTo>
                  <a:pt x="127756" y="645535"/>
                </a:lnTo>
                <a:lnTo>
                  <a:pt x="118490" y="636269"/>
                </a:lnTo>
                <a:lnTo>
                  <a:pt x="109224" y="626053"/>
                </a:lnTo>
                <a:lnTo>
                  <a:pt x="107323" y="623914"/>
                </a:lnTo>
                <a:lnTo>
                  <a:pt x="106135" y="620350"/>
                </a:lnTo>
                <a:lnTo>
                  <a:pt x="105185" y="616311"/>
                </a:lnTo>
                <a:lnTo>
                  <a:pt x="105185" y="612272"/>
                </a:lnTo>
                <a:lnTo>
                  <a:pt x="105185" y="608233"/>
                </a:lnTo>
                <a:lnTo>
                  <a:pt x="106135" y="604194"/>
                </a:lnTo>
                <a:lnTo>
                  <a:pt x="107323" y="600630"/>
                </a:lnTo>
                <a:lnTo>
                  <a:pt x="109224" y="598017"/>
                </a:lnTo>
                <a:lnTo>
                  <a:pt x="111837" y="591840"/>
                </a:lnTo>
                <a:lnTo>
                  <a:pt x="113975" y="586137"/>
                </a:lnTo>
                <a:lnTo>
                  <a:pt x="115401" y="579722"/>
                </a:lnTo>
                <a:lnTo>
                  <a:pt x="115876" y="574020"/>
                </a:lnTo>
                <a:lnTo>
                  <a:pt x="115876" y="568318"/>
                </a:lnTo>
                <a:lnTo>
                  <a:pt x="115401" y="562378"/>
                </a:lnTo>
                <a:lnTo>
                  <a:pt x="114451" y="557151"/>
                </a:lnTo>
                <a:lnTo>
                  <a:pt x="112788" y="551449"/>
                </a:lnTo>
                <a:lnTo>
                  <a:pt x="110412" y="545984"/>
                </a:lnTo>
                <a:lnTo>
                  <a:pt x="108273" y="540757"/>
                </a:lnTo>
                <a:lnTo>
                  <a:pt x="105185" y="535293"/>
                </a:lnTo>
                <a:lnTo>
                  <a:pt x="102096" y="530066"/>
                </a:lnTo>
                <a:lnTo>
                  <a:pt x="94968" y="519374"/>
                </a:lnTo>
                <a:lnTo>
                  <a:pt x="86890" y="508683"/>
                </a:lnTo>
                <a:lnTo>
                  <a:pt x="78812" y="497991"/>
                </a:lnTo>
                <a:lnTo>
                  <a:pt x="70972" y="486824"/>
                </a:lnTo>
                <a:lnTo>
                  <a:pt x="67408" y="481122"/>
                </a:lnTo>
                <a:lnTo>
                  <a:pt x="64319" y="474707"/>
                </a:lnTo>
                <a:lnTo>
                  <a:pt x="61230" y="469005"/>
                </a:lnTo>
                <a:lnTo>
                  <a:pt x="58379" y="462828"/>
                </a:lnTo>
                <a:lnTo>
                  <a:pt x="56716" y="456175"/>
                </a:lnTo>
                <a:lnTo>
                  <a:pt x="54815" y="449998"/>
                </a:lnTo>
                <a:lnTo>
                  <a:pt x="54103" y="443345"/>
                </a:lnTo>
                <a:lnTo>
                  <a:pt x="53627" y="436455"/>
                </a:lnTo>
                <a:lnTo>
                  <a:pt x="53627" y="429327"/>
                </a:lnTo>
                <a:lnTo>
                  <a:pt x="54815" y="422675"/>
                </a:lnTo>
                <a:lnTo>
                  <a:pt x="56716" y="415547"/>
                </a:lnTo>
                <a:lnTo>
                  <a:pt x="59330" y="408182"/>
                </a:lnTo>
                <a:lnTo>
                  <a:pt x="60280" y="403192"/>
                </a:lnTo>
                <a:lnTo>
                  <a:pt x="61943" y="397965"/>
                </a:lnTo>
                <a:lnTo>
                  <a:pt x="65507" y="387986"/>
                </a:lnTo>
                <a:lnTo>
                  <a:pt x="69546" y="378720"/>
                </a:lnTo>
                <a:lnTo>
                  <a:pt x="74535" y="369929"/>
                </a:lnTo>
                <a:lnTo>
                  <a:pt x="79762" y="360901"/>
                </a:lnTo>
                <a:lnTo>
                  <a:pt x="85940" y="352585"/>
                </a:lnTo>
                <a:lnTo>
                  <a:pt x="98057" y="335479"/>
                </a:lnTo>
                <a:lnTo>
                  <a:pt x="102571" y="328113"/>
                </a:lnTo>
                <a:lnTo>
                  <a:pt x="106848" y="320986"/>
                </a:lnTo>
                <a:lnTo>
                  <a:pt x="116827" y="307205"/>
                </a:lnTo>
                <a:lnTo>
                  <a:pt x="127043" y="293188"/>
                </a:lnTo>
                <a:lnTo>
                  <a:pt x="137735" y="279407"/>
                </a:lnTo>
                <a:lnTo>
                  <a:pt x="159831" y="251847"/>
                </a:lnTo>
                <a:lnTo>
                  <a:pt x="170522" y="238066"/>
                </a:lnTo>
                <a:lnTo>
                  <a:pt x="181214" y="223336"/>
                </a:lnTo>
                <a:lnTo>
                  <a:pt x="164820" y="223336"/>
                </a:lnTo>
                <a:lnTo>
                  <a:pt x="137972" y="230226"/>
                </a:lnTo>
                <a:lnTo>
                  <a:pt x="125142" y="233790"/>
                </a:lnTo>
                <a:lnTo>
                  <a:pt x="112788" y="237591"/>
                </a:lnTo>
                <a:lnTo>
                  <a:pt x="100195" y="241630"/>
                </a:lnTo>
                <a:lnTo>
                  <a:pt x="87840" y="245669"/>
                </a:lnTo>
                <a:lnTo>
                  <a:pt x="75723" y="250183"/>
                </a:lnTo>
                <a:lnTo>
                  <a:pt x="64319" y="254935"/>
                </a:lnTo>
                <a:lnTo>
                  <a:pt x="52677" y="260400"/>
                </a:lnTo>
                <a:lnTo>
                  <a:pt x="41035" y="265627"/>
                </a:lnTo>
                <a:lnTo>
                  <a:pt x="29868" y="271567"/>
                </a:lnTo>
                <a:lnTo>
                  <a:pt x="18939" y="277744"/>
                </a:lnTo>
                <a:lnTo>
                  <a:pt x="7772" y="284397"/>
                </a:lnTo>
                <a:lnTo>
                  <a:pt x="0" y="289924"/>
                </a:lnTo>
                <a:lnTo>
                  <a:pt x="0" y="895572"/>
                </a:lnTo>
                <a:lnTo>
                  <a:pt x="125653" y="895572"/>
                </a:lnTo>
                <a:lnTo>
                  <a:pt x="127756" y="892155"/>
                </a:lnTo>
                <a:lnTo>
                  <a:pt x="131082" y="885502"/>
                </a:lnTo>
                <a:lnTo>
                  <a:pt x="133696" y="878374"/>
                </a:lnTo>
                <a:lnTo>
                  <a:pt x="135834" y="871722"/>
                </a:lnTo>
                <a:lnTo>
                  <a:pt x="137735" y="864594"/>
                </a:lnTo>
                <a:lnTo>
                  <a:pt x="138923" y="857466"/>
                </a:lnTo>
                <a:lnTo>
                  <a:pt x="140348" y="850339"/>
                </a:lnTo>
                <a:lnTo>
                  <a:pt x="141298" y="843211"/>
                </a:lnTo>
                <a:lnTo>
                  <a:pt x="142011" y="828955"/>
                </a:lnTo>
                <a:lnTo>
                  <a:pt x="142486" y="814225"/>
                </a:lnTo>
                <a:lnTo>
                  <a:pt x="142486" y="799494"/>
                </a:lnTo>
                <a:lnTo>
                  <a:pt x="142486" y="782625"/>
                </a:lnTo>
                <a:lnTo>
                  <a:pt x="142486" y="771458"/>
                </a:lnTo>
                <a:lnTo>
                  <a:pt x="143912" y="778586"/>
                </a:lnTo>
                <a:lnTo>
                  <a:pt x="145100" y="784526"/>
                </a:lnTo>
                <a:lnTo>
                  <a:pt x="147476" y="789753"/>
                </a:lnTo>
                <a:lnTo>
                  <a:pt x="149614" y="794267"/>
                </a:lnTo>
                <a:lnTo>
                  <a:pt x="152228" y="797831"/>
                </a:lnTo>
                <a:lnTo>
                  <a:pt x="155554" y="801395"/>
                </a:lnTo>
                <a:lnTo>
                  <a:pt x="158643" y="803533"/>
                </a:lnTo>
                <a:lnTo>
                  <a:pt x="162206" y="805909"/>
                </a:lnTo>
                <a:lnTo>
                  <a:pt x="165770" y="807572"/>
                </a:lnTo>
                <a:lnTo>
                  <a:pt x="169572" y="808523"/>
                </a:lnTo>
                <a:lnTo>
                  <a:pt x="174086" y="809473"/>
                </a:lnTo>
                <a:lnTo>
                  <a:pt x="178600" y="810186"/>
                </a:lnTo>
                <a:lnTo>
                  <a:pt x="187866" y="810661"/>
                </a:lnTo>
                <a:lnTo>
                  <a:pt x="198083" y="810661"/>
                </a:lnTo>
                <a:lnTo>
                  <a:pt x="236810" y="810661"/>
                </a:lnTo>
                <a:lnTo>
                  <a:pt x="249640" y="811136"/>
                </a:lnTo>
                <a:lnTo>
                  <a:pt x="263183" y="811611"/>
                </a:lnTo>
                <a:lnTo>
                  <a:pt x="270310" y="811611"/>
                </a:lnTo>
                <a:lnTo>
                  <a:pt x="276963" y="811136"/>
                </a:lnTo>
                <a:lnTo>
                  <a:pt x="283140" y="810186"/>
                </a:lnTo>
                <a:lnTo>
                  <a:pt x="289793" y="808523"/>
                </a:lnTo>
                <a:lnTo>
                  <a:pt x="295495" y="806147"/>
                </a:lnTo>
                <a:lnTo>
                  <a:pt x="301435" y="803058"/>
                </a:lnTo>
                <a:lnTo>
                  <a:pt x="304524" y="801395"/>
                </a:lnTo>
                <a:lnTo>
                  <a:pt x="307137" y="799256"/>
                </a:lnTo>
                <a:lnTo>
                  <a:pt x="309275" y="796881"/>
                </a:lnTo>
                <a:lnTo>
                  <a:pt x="312126" y="794267"/>
                </a:lnTo>
                <a:lnTo>
                  <a:pt x="314265" y="791178"/>
                </a:lnTo>
                <a:lnTo>
                  <a:pt x="316403" y="788090"/>
                </a:lnTo>
                <a:lnTo>
                  <a:pt x="318304" y="784051"/>
                </a:lnTo>
                <a:lnTo>
                  <a:pt x="319967" y="780012"/>
                </a:lnTo>
                <a:lnTo>
                  <a:pt x="321868" y="775973"/>
                </a:lnTo>
                <a:lnTo>
                  <a:pt x="323056" y="771221"/>
                </a:lnTo>
                <a:lnTo>
                  <a:pt x="324481" y="765756"/>
                </a:lnTo>
                <a:lnTo>
                  <a:pt x="325907" y="760529"/>
                </a:lnTo>
                <a:lnTo>
                  <a:pt x="325907" y="827530"/>
                </a:lnTo>
                <a:lnTo>
                  <a:pt x="310226" y="835608"/>
                </a:lnTo>
                <a:lnTo>
                  <a:pt x="295970" y="843686"/>
                </a:lnTo>
                <a:lnTo>
                  <a:pt x="282665" y="850339"/>
                </a:lnTo>
                <a:lnTo>
                  <a:pt x="276488" y="852952"/>
                </a:lnTo>
                <a:lnTo>
                  <a:pt x="270310" y="855565"/>
                </a:lnTo>
                <a:lnTo>
                  <a:pt x="266271" y="857942"/>
                </a:lnTo>
                <a:lnTo>
                  <a:pt x="262708" y="860080"/>
                </a:lnTo>
                <a:lnTo>
                  <a:pt x="259619" y="862693"/>
                </a:lnTo>
                <a:lnTo>
                  <a:pt x="256768" y="865544"/>
                </a:lnTo>
                <a:lnTo>
                  <a:pt x="254154" y="868633"/>
                </a:lnTo>
                <a:lnTo>
                  <a:pt x="252491" y="871722"/>
                </a:lnTo>
                <a:lnTo>
                  <a:pt x="250590" y="874810"/>
                </a:lnTo>
                <a:lnTo>
                  <a:pt x="249402" y="877899"/>
                </a:lnTo>
                <a:lnTo>
                  <a:pt x="248452" y="880988"/>
                </a:lnTo>
                <a:lnTo>
                  <a:pt x="247977" y="884076"/>
                </a:lnTo>
                <a:lnTo>
                  <a:pt x="247977" y="887165"/>
                </a:lnTo>
                <a:lnTo>
                  <a:pt x="248452" y="890016"/>
                </a:lnTo>
                <a:lnTo>
                  <a:pt x="249402" y="893105"/>
                </a:lnTo>
                <a:lnTo>
                  <a:pt x="250075" y="895572"/>
                </a:lnTo>
                <a:lnTo>
                  <a:pt x="474750" y="895572"/>
                </a:lnTo>
                <a:lnTo>
                  <a:pt x="475827" y="894768"/>
                </a:lnTo>
                <a:lnTo>
                  <a:pt x="486993" y="882889"/>
                </a:lnTo>
                <a:lnTo>
                  <a:pt x="497210" y="870296"/>
                </a:lnTo>
                <a:lnTo>
                  <a:pt x="506951" y="857942"/>
                </a:lnTo>
                <a:lnTo>
                  <a:pt x="515742" y="844636"/>
                </a:lnTo>
                <a:lnTo>
                  <a:pt x="523820" y="831094"/>
                </a:lnTo>
                <a:lnTo>
                  <a:pt x="531898" y="816838"/>
                </a:lnTo>
                <a:lnTo>
                  <a:pt x="539026" y="802583"/>
                </a:lnTo>
                <a:lnTo>
                  <a:pt x="545678" y="788565"/>
                </a:lnTo>
                <a:lnTo>
                  <a:pt x="552331" y="773359"/>
                </a:lnTo>
                <a:lnTo>
                  <a:pt x="558033" y="758628"/>
                </a:lnTo>
                <a:lnTo>
                  <a:pt x="563498" y="743185"/>
                </a:lnTo>
                <a:lnTo>
                  <a:pt x="568725" y="727979"/>
                </a:lnTo>
                <a:lnTo>
                  <a:pt x="573714" y="712298"/>
                </a:lnTo>
                <a:lnTo>
                  <a:pt x="577991" y="696855"/>
                </a:lnTo>
                <a:lnTo>
                  <a:pt x="586544" y="665255"/>
                </a:lnTo>
                <a:lnTo>
                  <a:pt x="586069" y="663117"/>
                </a:lnTo>
                <a:lnTo>
                  <a:pt x="584881" y="660266"/>
                </a:lnTo>
                <a:lnTo>
                  <a:pt x="582980" y="657177"/>
                </a:lnTo>
                <a:lnTo>
                  <a:pt x="580367" y="654088"/>
                </a:lnTo>
                <a:lnTo>
                  <a:pt x="574902" y="647911"/>
                </a:lnTo>
                <a:lnTo>
                  <a:pt x="570150" y="642922"/>
                </a:lnTo>
                <a:lnTo>
                  <a:pt x="565636" y="636744"/>
                </a:lnTo>
                <a:lnTo>
                  <a:pt x="560647" y="631517"/>
                </a:lnTo>
                <a:lnTo>
                  <a:pt x="555420" y="626053"/>
                </a:lnTo>
                <a:lnTo>
                  <a:pt x="550193" y="621301"/>
                </a:lnTo>
                <a:lnTo>
                  <a:pt x="544253" y="616787"/>
                </a:lnTo>
                <a:lnTo>
                  <a:pt x="538075" y="612272"/>
                </a:lnTo>
                <a:lnTo>
                  <a:pt x="525721" y="603719"/>
                </a:lnTo>
                <a:lnTo>
                  <a:pt x="563023" y="619875"/>
                </a:lnTo>
                <a:lnTo>
                  <a:pt x="581317" y="628191"/>
                </a:lnTo>
                <a:lnTo>
                  <a:pt x="599374" y="636744"/>
                </a:lnTo>
                <a:lnTo>
                  <a:pt x="607927" y="641259"/>
                </a:lnTo>
                <a:lnTo>
                  <a:pt x="616718" y="646010"/>
                </a:lnTo>
                <a:lnTo>
                  <a:pt x="625271" y="651000"/>
                </a:lnTo>
                <a:lnTo>
                  <a:pt x="633349" y="656227"/>
                </a:lnTo>
                <a:lnTo>
                  <a:pt x="641665" y="662167"/>
                </a:lnTo>
                <a:lnTo>
                  <a:pt x="649268" y="668344"/>
                </a:lnTo>
                <a:lnTo>
                  <a:pt x="656871" y="674996"/>
                </a:lnTo>
                <a:lnTo>
                  <a:pt x="664474" y="682124"/>
                </a:lnTo>
                <a:lnTo>
                  <a:pt x="668988" y="686163"/>
                </a:lnTo>
                <a:lnTo>
                  <a:pt x="672790" y="690202"/>
                </a:lnTo>
                <a:lnTo>
                  <a:pt x="677304" y="693291"/>
                </a:lnTo>
                <a:lnTo>
                  <a:pt x="682293" y="696855"/>
                </a:lnTo>
                <a:lnTo>
                  <a:pt x="686570" y="699468"/>
                </a:lnTo>
                <a:lnTo>
                  <a:pt x="691559" y="702082"/>
                </a:lnTo>
                <a:lnTo>
                  <a:pt x="696549" y="703983"/>
                </a:lnTo>
                <a:lnTo>
                  <a:pt x="701300" y="705646"/>
                </a:lnTo>
                <a:lnTo>
                  <a:pt x="706290" y="707071"/>
                </a:lnTo>
                <a:lnTo>
                  <a:pt x="711042" y="708497"/>
                </a:lnTo>
                <a:lnTo>
                  <a:pt x="716506" y="708734"/>
                </a:lnTo>
                <a:lnTo>
                  <a:pt x="721258" y="708734"/>
                </a:lnTo>
                <a:lnTo>
                  <a:pt x="726723" y="708497"/>
                </a:lnTo>
                <a:lnTo>
                  <a:pt x="731712" y="707546"/>
                </a:lnTo>
                <a:lnTo>
                  <a:pt x="736939" y="706121"/>
                </a:lnTo>
                <a:lnTo>
                  <a:pt x="742166" y="704458"/>
                </a:lnTo>
                <a:lnTo>
                  <a:pt x="749294" y="702082"/>
                </a:lnTo>
                <a:lnTo>
                  <a:pt x="756184" y="699468"/>
                </a:lnTo>
                <a:lnTo>
                  <a:pt x="762361" y="696380"/>
                </a:lnTo>
                <a:lnTo>
                  <a:pt x="768063" y="692816"/>
                </a:lnTo>
                <a:lnTo>
                  <a:pt x="773528" y="689252"/>
                </a:lnTo>
                <a:lnTo>
                  <a:pt x="778755" y="684738"/>
                </a:lnTo>
                <a:lnTo>
                  <a:pt x="783269" y="680461"/>
                </a:lnTo>
                <a:lnTo>
                  <a:pt x="787308" y="674996"/>
                </a:lnTo>
                <a:lnTo>
                  <a:pt x="791110" y="669769"/>
                </a:lnTo>
                <a:lnTo>
                  <a:pt x="794436" y="663830"/>
                </a:lnTo>
                <a:lnTo>
                  <a:pt x="797050" y="657652"/>
                </a:lnTo>
                <a:lnTo>
                  <a:pt x="799188" y="651000"/>
                </a:lnTo>
                <a:lnTo>
                  <a:pt x="801089" y="643872"/>
                </a:lnTo>
                <a:lnTo>
                  <a:pt x="802277" y="636744"/>
                </a:lnTo>
                <a:lnTo>
                  <a:pt x="803227" y="628666"/>
                </a:lnTo>
                <a:lnTo>
                  <a:pt x="803227" y="620826"/>
                </a:lnTo>
                <a:lnTo>
                  <a:pt x="801089" y="622489"/>
                </a:lnTo>
                <a:lnTo>
                  <a:pt x="798238" y="623914"/>
                </a:lnTo>
                <a:lnTo>
                  <a:pt x="793011" y="626053"/>
                </a:lnTo>
                <a:lnTo>
                  <a:pt x="790397" y="627478"/>
                </a:lnTo>
                <a:lnTo>
                  <a:pt x="788496" y="628191"/>
                </a:lnTo>
                <a:lnTo>
                  <a:pt x="787308" y="630092"/>
                </a:lnTo>
                <a:lnTo>
                  <a:pt x="786833" y="631755"/>
                </a:lnTo>
                <a:lnTo>
                  <a:pt x="785408" y="635794"/>
                </a:lnTo>
                <a:lnTo>
                  <a:pt x="784220" y="639833"/>
                </a:lnTo>
                <a:lnTo>
                  <a:pt x="780656" y="646485"/>
                </a:lnTo>
                <a:lnTo>
                  <a:pt x="776617" y="653138"/>
                </a:lnTo>
                <a:lnTo>
                  <a:pt x="772103" y="659078"/>
                </a:lnTo>
                <a:lnTo>
                  <a:pt x="762361" y="670007"/>
                </a:lnTo>
                <a:lnTo>
                  <a:pt x="757847" y="675947"/>
                </a:lnTo>
                <a:lnTo>
                  <a:pt x="753333" y="682124"/>
                </a:lnTo>
                <a:lnTo>
                  <a:pt x="750244" y="684738"/>
                </a:lnTo>
                <a:lnTo>
                  <a:pt x="747155" y="687589"/>
                </a:lnTo>
                <a:lnTo>
                  <a:pt x="744067" y="689252"/>
                </a:lnTo>
                <a:lnTo>
                  <a:pt x="740978" y="690915"/>
                </a:lnTo>
                <a:lnTo>
                  <a:pt x="737890" y="691865"/>
                </a:lnTo>
                <a:lnTo>
                  <a:pt x="734801" y="692816"/>
                </a:lnTo>
                <a:lnTo>
                  <a:pt x="731950" y="693291"/>
                </a:lnTo>
                <a:lnTo>
                  <a:pt x="728861" y="693291"/>
                </a:lnTo>
                <a:lnTo>
                  <a:pt x="723634" y="692816"/>
                </a:lnTo>
                <a:lnTo>
                  <a:pt x="718169" y="691390"/>
                </a:lnTo>
                <a:lnTo>
                  <a:pt x="713418" y="689727"/>
                </a:lnTo>
                <a:lnTo>
                  <a:pt x="708903" y="687826"/>
                </a:lnTo>
                <a:lnTo>
                  <a:pt x="706765" y="687589"/>
                </a:lnTo>
                <a:lnTo>
                  <a:pt x="704864" y="687114"/>
                </a:lnTo>
                <a:lnTo>
                  <a:pt x="703201" y="686163"/>
                </a:lnTo>
                <a:lnTo>
                  <a:pt x="701776" y="684738"/>
                </a:lnTo>
                <a:lnTo>
                  <a:pt x="698687" y="681649"/>
                </a:lnTo>
                <a:lnTo>
                  <a:pt x="696549" y="678085"/>
                </a:lnTo>
                <a:lnTo>
                  <a:pt x="694648" y="673571"/>
                </a:lnTo>
                <a:lnTo>
                  <a:pt x="693460" y="668819"/>
                </a:lnTo>
                <a:lnTo>
                  <a:pt x="692510" y="664305"/>
                </a:lnTo>
                <a:lnTo>
                  <a:pt x="692510" y="659790"/>
                </a:lnTo>
                <a:lnTo>
                  <a:pt x="692510" y="647436"/>
                </a:lnTo>
                <a:lnTo>
                  <a:pt x="693460" y="635319"/>
                </a:lnTo>
                <a:lnTo>
                  <a:pt x="694173" y="624389"/>
                </a:lnTo>
                <a:lnTo>
                  <a:pt x="695598" y="612748"/>
                </a:lnTo>
                <a:lnTo>
                  <a:pt x="699162" y="591364"/>
                </a:lnTo>
                <a:lnTo>
                  <a:pt x="703676" y="570456"/>
                </a:lnTo>
                <a:lnTo>
                  <a:pt x="720070" y="574971"/>
                </a:lnTo>
                <a:lnTo>
                  <a:pt x="736939" y="579247"/>
                </a:lnTo>
                <a:lnTo>
                  <a:pt x="770677" y="589226"/>
                </a:lnTo>
                <a:lnTo>
                  <a:pt x="788021" y="593503"/>
                </a:lnTo>
                <a:lnTo>
                  <a:pt x="805365" y="597542"/>
                </a:lnTo>
                <a:lnTo>
                  <a:pt x="823660" y="601106"/>
                </a:lnTo>
                <a:lnTo>
                  <a:pt x="841954" y="603719"/>
                </a:lnTo>
                <a:lnTo>
                  <a:pt x="861437" y="606570"/>
                </a:lnTo>
                <a:lnTo>
                  <a:pt x="880682" y="608233"/>
                </a:lnTo>
                <a:lnTo>
                  <a:pt x="889948" y="608708"/>
                </a:lnTo>
                <a:lnTo>
                  <a:pt x="898976" y="608708"/>
                </a:lnTo>
                <a:lnTo>
                  <a:pt x="908242" y="608708"/>
                </a:lnTo>
                <a:lnTo>
                  <a:pt x="916795" y="608233"/>
                </a:lnTo>
                <a:lnTo>
                  <a:pt x="925586" y="607283"/>
                </a:lnTo>
                <a:lnTo>
                  <a:pt x="934140" y="606095"/>
                </a:lnTo>
                <a:lnTo>
                  <a:pt x="942455" y="604669"/>
                </a:lnTo>
                <a:lnTo>
                  <a:pt x="950533" y="603006"/>
                </a:lnTo>
                <a:lnTo>
                  <a:pt x="958611" y="600630"/>
                </a:lnTo>
                <a:lnTo>
                  <a:pt x="966452" y="598017"/>
                </a:lnTo>
                <a:lnTo>
                  <a:pt x="974055" y="595403"/>
                </a:lnTo>
                <a:lnTo>
                  <a:pt x="981658" y="591840"/>
                </a:lnTo>
                <a:lnTo>
                  <a:pt x="989261" y="588276"/>
                </a:lnTo>
                <a:lnTo>
                  <a:pt x="996388" y="584237"/>
                </a:lnTo>
                <a:lnTo>
                  <a:pt x="1003041" y="579247"/>
                </a:lnTo>
                <a:lnTo>
                  <a:pt x="1009694" y="574495"/>
                </a:lnTo>
                <a:lnTo>
                  <a:pt x="1016346" y="569031"/>
                </a:lnTo>
                <a:lnTo>
                  <a:pt x="1022998" y="562853"/>
                </a:lnTo>
                <a:lnTo>
                  <a:pt x="1029176" y="556676"/>
                </a:lnTo>
                <a:lnTo>
                  <a:pt x="1035116" y="549548"/>
                </a:lnTo>
                <a:lnTo>
                  <a:pt x="1040818" y="541945"/>
                </a:lnTo>
                <a:lnTo>
                  <a:pt x="1046520" y="534342"/>
                </a:lnTo>
                <a:lnTo>
                  <a:pt x="1051985" y="526027"/>
                </a:lnTo>
                <a:lnTo>
                  <a:pt x="1056737" y="516523"/>
                </a:lnTo>
                <a:lnTo>
                  <a:pt x="1061726" y="507257"/>
                </a:lnTo>
                <a:lnTo>
                  <a:pt x="1066715" y="497041"/>
                </a:lnTo>
                <a:lnTo>
                  <a:pt x="1070992" y="486349"/>
                </a:lnTo>
                <a:lnTo>
                  <a:pt x="1075506" y="475182"/>
                </a:lnTo>
                <a:lnTo>
                  <a:pt x="1079070" y="462828"/>
                </a:lnTo>
                <a:lnTo>
                  <a:pt x="1082634" y="449998"/>
                </a:lnTo>
                <a:lnTo>
                  <a:pt x="1084772" y="437405"/>
                </a:lnTo>
                <a:lnTo>
                  <a:pt x="1087148" y="425050"/>
                </a:lnTo>
                <a:lnTo>
                  <a:pt x="1088811" y="411983"/>
                </a:lnTo>
                <a:lnTo>
                  <a:pt x="1089762" y="399628"/>
                </a:lnTo>
                <a:lnTo>
                  <a:pt x="1090712" y="386798"/>
                </a:lnTo>
                <a:lnTo>
                  <a:pt x="1090712" y="373731"/>
                </a:lnTo>
                <a:lnTo>
                  <a:pt x="1090712" y="360901"/>
                </a:lnTo>
                <a:lnTo>
                  <a:pt x="1089762" y="348071"/>
                </a:lnTo>
                <a:lnTo>
                  <a:pt x="1088811" y="335004"/>
                </a:lnTo>
                <a:lnTo>
                  <a:pt x="1088099" y="321698"/>
                </a:lnTo>
                <a:lnTo>
                  <a:pt x="1084772" y="295563"/>
                </a:lnTo>
                <a:lnTo>
                  <a:pt x="1080971" y="268478"/>
                </a:lnTo>
                <a:lnTo>
                  <a:pt x="1078595" y="258262"/>
                </a:lnTo>
                <a:lnTo>
                  <a:pt x="1075981" y="248283"/>
                </a:lnTo>
                <a:lnTo>
                  <a:pt x="1072417" y="238542"/>
                </a:lnTo>
                <a:lnTo>
                  <a:pt x="1069329" y="229275"/>
                </a:lnTo>
                <a:lnTo>
                  <a:pt x="1061251" y="210031"/>
                </a:lnTo>
                <a:lnTo>
                  <a:pt x="1053173" y="190073"/>
                </a:lnTo>
                <a:lnTo>
                  <a:pt x="1051034" y="186034"/>
                </a:lnTo>
                <a:lnTo>
                  <a:pt x="1048896" y="182470"/>
                </a:lnTo>
                <a:lnTo>
                  <a:pt x="1046045" y="179381"/>
                </a:lnTo>
                <a:lnTo>
                  <a:pt x="1043906" y="176768"/>
                </a:lnTo>
                <a:lnTo>
                  <a:pt x="1041293" y="174630"/>
                </a:lnTo>
                <a:lnTo>
                  <a:pt x="1038680" y="172729"/>
                </a:lnTo>
                <a:lnTo>
                  <a:pt x="1035828" y="171303"/>
                </a:lnTo>
                <a:lnTo>
                  <a:pt x="1032740" y="170591"/>
                </a:lnTo>
                <a:lnTo>
                  <a:pt x="1030126" y="170591"/>
                </a:lnTo>
                <a:lnTo>
                  <a:pt x="1027038" y="170591"/>
                </a:lnTo>
                <a:lnTo>
                  <a:pt x="1024424" y="171303"/>
                </a:lnTo>
                <a:lnTo>
                  <a:pt x="1021335" y="172729"/>
                </a:lnTo>
                <a:lnTo>
                  <a:pt x="1018247" y="174867"/>
                </a:lnTo>
                <a:lnTo>
                  <a:pt x="1014920" y="177718"/>
                </a:lnTo>
                <a:lnTo>
                  <a:pt x="1011832" y="180807"/>
                </a:lnTo>
                <a:lnTo>
                  <a:pt x="1008743" y="184846"/>
                </a:lnTo>
                <a:lnTo>
                  <a:pt x="991874" y="201240"/>
                </a:lnTo>
                <a:lnTo>
                  <a:pt x="983321" y="209318"/>
                </a:lnTo>
                <a:lnTo>
                  <a:pt x="974530" y="216683"/>
                </a:lnTo>
                <a:lnTo>
                  <a:pt x="965739" y="223811"/>
                </a:lnTo>
                <a:lnTo>
                  <a:pt x="956236" y="230226"/>
                </a:lnTo>
                <a:lnTo>
                  <a:pt x="946494" y="235928"/>
                </a:lnTo>
                <a:lnTo>
                  <a:pt x="941505" y="238066"/>
                </a:lnTo>
                <a:lnTo>
                  <a:pt x="936753" y="240442"/>
                </a:lnTo>
                <a:lnTo>
                  <a:pt x="932239" y="242581"/>
                </a:lnTo>
                <a:lnTo>
                  <a:pt x="928675" y="245669"/>
                </a:lnTo>
                <a:lnTo>
                  <a:pt x="925111" y="249233"/>
                </a:lnTo>
                <a:lnTo>
                  <a:pt x="922022" y="252797"/>
                </a:lnTo>
                <a:lnTo>
                  <a:pt x="919884" y="257311"/>
                </a:lnTo>
                <a:lnTo>
                  <a:pt x="918934" y="259925"/>
                </a:lnTo>
                <a:lnTo>
                  <a:pt x="918459" y="262538"/>
                </a:lnTo>
                <a:lnTo>
                  <a:pt x="918459" y="265389"/>
                </a:lnTo>
                <a:lnTo>
                  <a:pt x="918459" y="268003"/>
                </a:lnTo>
                <a:lnTo>
                  <a:pt x="918934" y="271091"/>
                </a:lnTo>
                <a:lnTo>
                  <a:pt x="919884" y="274180"/>
                </a:lnTo>
                <a:lnTo>
                  <a:pt x="921547" y="282258"/>
                </a:lnTo>
                <a:lnTo>
                  <a:pt x="922973" y="290574"/>
                </a:lnTo>
                <a:lnTo>
                  <a:pt x="923923" y="299127"/>
                </a:lnTo>
                <a:lnTo>
                  <a:pt x="924161" y="307443"/>
                </a:lnTo>
                <a:lnTo>
                  <a:pt x="924161" y="315996"/>
                </a:lnTo>
                <a:lnTo>
                  <a:pt x="923923" y="324550"/>
                </a:lnTo>
                <a:lnTo>
                  <a:pt x="922973" y="332865"/>
                </a:lnTo>
                <a:lnTo>
                  <a:pt x="922022" y="340943"/>
                </a:lnTo>
                <a:lnTo>
                  <a:pt x="920597" y="349259"/>
                </a:lnTo>
                <a:lnTo>
                  <a:pt x="918934" y="357812"/>
                </a:lnTo>
                <a:lnTo>
                  <a:pt x="914420" y="374681"/>
                </a:lnTo>
                <a:lnTo>
                  <a:pt x="909192" y="391075"/>
                </a:lnTo>
                <a:lnTo>
                  <a:pt x="903253" y="408182"/>
                </a:lnTo>
                <a:lnTo>
                  <a:pt x="903253" y="397965"/>
                </a:lnTo>
                <a:lnTo>
                  <a:pt x="904203" y="387274"/>
                </a:lnTo>
                <a:lnTo>
                  <a:pt x="906104" y="367078"/>
                </a:lnTo>
                <a:lnTo>
                  <a:pt x="907767" y="347596"/>
                </a:lnTo>
                <a:lnTo>
                  <a:pt x="908717" y="338567"/>
                </a:lnTo>
                <a:lnTo>
                  <a:pt x="908717" y="329777"/>
                </a:lnTo>
                <a:lnTo>
                  <a:pt x="908717" y="325738"/>
                </a:lnTo>
                <a:lnTo>
                  <a:pt x="907767" y="322649"/>
                </a:lnTo>
                <a:lnTo>
                  <a:pt x="906817" y="319560"/>
                </a:lnTo>
                <a:lnTo>
                  <a:pt x="905154" y="316471"/>
                </a:lnTo>
                <a:lnTo>
                  <a:pt x="903728" y="314096"/>
                </a:lnTo>
                <a:lnTo>
                  <a:pt x="901590" y="311957"/>
                </a:lnTo>
                <a:lnTo>
                  <a:pt x="897551" y="307443"/>
                </a:lnTo>
                <a:lnTo>
                  <a:pt x="895412" y="309344"/>
                </a:lnTo>
                <a:lnTo>
                  <a:pt x="892561" y="310769"/>
                </a:lnTo>
                <a:lnTo>
                  <a:pt x="887334" y="313383"/>
                </a:lnTo>
                <a:lnTo>
                  <a:pt x="884721" y="314096"/>
                </a:lnTo>
                <a:lnTo>
                  <a:pt x="882820" y="315521"/>
                </a:lnTo>
                <a:lnTo>
                  <a:pt x="881632" y="316947"/>
                </a:lnTo>
                <a:lnTo>
                  <a:pt x="881157" y="318610"/>
                </a:lnTo>
                <a:lnTo>
                  <a:pt x="872604" y="331915"/>
                </a:lnTo>
                <a:lnTo>
                  <a:pt x="864288" y="346646"/>
                </a:lnTo>
                <a:lnTo>
                  <a:pt x="856210" y="361376"/>
                </a:lnTo>
                <a:lnTo>
                  <a:pt x="847656" y="374681"/>
                </a:lnTo>
                <a:lnTo>
                  <a:pt x="841954" y="374681"/>
                </a:lnTo>
                <a:lnTo>
                  <a:pt x="846468" y="357812"/>
                </a:lnTo>
                <a:lnTo>
                  <a:pt x="850508" y="339518"/>
                </a:lnTo>
                <a:lnTo>
                  <a:pt x="854784" y="319560"/>
                </a:lnTo>
                <a:lnTo>
                  <a:pt x="858823" y="296514"/>
                </a:lnTo>
                <a:lnTo>
                  <a:pt x="848132" y="303879"/>
                </a:lnTo>
                <a:lnTo>
                  <a:pt x="840054" y="310294"/>
                </a:lnTo>
                <a:lnTo>
                  <a:pt x="833163" y="316947"/>
                </a:lnTo>
                <a:lnTo>
                  <a:pt x="825560" y="324550"/>
                </a:lnTo>
                <a:lnTo>
                  <a:pt x="823185" y="326688"/>
                </a:lnTo>
                <a:lnTo>
                  <a:pt x="821522" y="329301"/>
                </a:lnTo>
                <a:lnTo>
                  <a:pt x="817007" y="335954"/>
                </a:lnTo>
                <a:lnTo>
                  <a:pt x="812968" y="344032"/>
                </a:lnTo>
                <a:lnTo>
                  <a:pt x="808929" y="352585"/>
                </a:lnTo>
                <a:lnTo>
                  <a:pt x="809880" y="343557"/>
                </a:lnTo>
                <a:lnTo>
                  <a:pt x="811305" y="335479"/>
                </a:lnTo>
                <a:lnTo>
                  <a:pt x="812493" y="328826"/>
                </a:lnTo>
                <a:lnTo>
                  <a:pt x="814394" y="323124"/>
                </a:lnTo>
                <a:lnTo>
                  <a:pt x="816532" y="317659"/>
                </a:lnTo>
                <a:lnTo>
                  <a:pt x="819146" y="313383"/>
                </a:lnTo>
                <a:lnTo>
                  <a:pt x="822709" y="309344"/>
                </a:lnTo>
                <a:lnTo>
                  <a:pt x="826748" y="306255"/>
                </a:lnTo>
                <a:lnTo>
                  <a:pt x="832213" y="303166"/>
                </a:lnTo>
                <a:lnTo>
                  <a:pt x="838390" y="300315"/>
                </a:lnTo>
                <a:lnTo>
                  <a:pt x="845518" y="298177"/>
                </a:lnTo>
                <a:lnTo>
                  <a:pt x="854071" y="295563"/>
                </a:lnTo>
                <a:lnTo>
                  <a:pt x="875217" y="290574"/>
                </a:lnTo>
                <a:lnTo>
                  <a:pt x="903253" y="285347"/>
                </a:lnTo>
                <a:lnTo>
                  <a:pt x="886384" y="268478"/>
                </a:lnTo>
                <a:lnTo>
                  <a:pt x="879731" y="270141"/>
                </a:lnTo>
                <a:lnTo>
                  <a:pt x="873079" y="271091"/>
                </a:lnTo>
                <a:lnTo>
                  <a:pt x="867376" y="271567"/>
                </a:lnTo>
                <a:lnTo>
                  <a:pt x="862387" y="271091"/>
                </a:lnTo>
                <a:lnTo>
                  <a:pt x="857398" y="269666"/>
                </a:lnTo>
                <a:lnTo>
                  <a:pt x="853596" y="268003"/>
                </a:lnTo>
                <a:lnTo>
                  <a:pt x="849557" y="265627"/>
                </a:lnTo>
                <a:lnTo>
                  <a:pt x="846468" y="262538"/>
                </a:lnTo>
                <a:lnTo>
                  <a:pt x="843380" y="259450"/>
                </a:lnTo>
                <a:lnTo>
                  <a:pt x="840529" y="255411"/>
                </a:lnTo>
                <a:lnTo>
                  <a:pt x="838390" y="251134"/>
                </a:lnTo>
                <a:lnTo>
                  <a:pt x="836490" y="246620"/>
                </a:lnTo>
                <a:lnTo>
                  <a:pt x="834827" y="241155"/>
                </a:lnTo>
                <a:lnTo>
                  <a:pt x="833401" y="235453"/>
                </a:lnTo>
                <a:lnTo>
                  <a:pt x="831263" y="223336"/>
                </a:lnTo>
                <a:lnTo>
                  <a:pt x="897551" y="206942"/>
                </a:lnTo>
                <a:lnTo>
                  <a:pt x="888997" y="194112"/>
                </a:lnTo>
                <a:lnTo>
                  <a:pt x="880682" y="181282"/>
                </a:lnTo>
                <a:lnTo>
                  <a:pt x="871416" y="168690"/>
                </a:lnTo>
                <a:lnTo>
                  <a:pt x="866901" y="162988"/>
                </a:lnTo>
                <a:lnTo>
                  <a:pt x="861437" y="157048"/>
                </a:lnTo>
                <a:lnTo>
                  <a:pt x="856210" y="151821"/>
                </a:lnTo>
                <a:lnTo>
                  <a:pt x="850745" y="146831"/>
                </a:lnTo>
                <a:lnTo>
                  <a:pt x="844568" y="142555"/>
                </a:lnTo>
                <a:lnTo>
                  <a:pt x="838390" y="138516"/>
                </a:lnTo>
                <a:lnTo>
                  <a:pt x="831738" y="134952"/>
                </a:lnTo>
                <a:lnTo>
                  <a:pt x="824610" y="132338"/>
                </a:lnTo>
                <a:lnTo>
                  <a:pt x="817007" y="129963"/>
                </a:lnTo>
                <a:lnTo>
                  <a:pt x="808929" y="128774"/>
                </a:lnTo>
                <a:lnTo>
                  <a:pt x="806791" y="128299"/>
                </a:lnTo>
                <a:lnTo>
                  <a:pt x="804652" y="127824"/>
                </a:lnTo>
                <a:lnTo>
                  <a:pt x="802752" y="126399"/>
                </a:lnTo>
                <a:lnTo>
                  <a:pt x="801089" y="125211"/>
                </a:lnTo>
                <a:lnTo>
                  <a:pt x="799663" y="123310"/>
                </a:lnTo>
                <a:lnTo>
                  <a:pt x="798713" y="121647"/>
                </a:lnTo>
                <a:lnTo>
                  <a:pt x="798000" y="119271"/>
                </a:lnTo>
                <a:lnTo>
                  <a:pt x="798000" y="117608"/>
                </a:lnTo>
                <a:lnTo>
                  <a:pt x="785408" y="106916"/>
                </a:lnTo>
                <a:lnTo>
                  <a:pt x="772578" y="95749"/>
                </a:lnTo>
                <a:lnTo>
                  <a:pt x="747155" y="72703"/>
                </a:lnTo>
                <a:lnTo>
                  <a:pt x="733850" y="61061"/>
                </a:lnTo>
                <a:lnTo>
                  <a:pt x="720545" y="49894"/>
                </a:lnTo>
                <a:lnTo>
                  <a:pt x="706765" y="38728"/>
                </a:lnTo>
                <a:lnTo>
                  <a:pt x="692510" y="28036"/>
                </a:lnTo>
                <a:lnTo>
                  <a:pt x="679442" y="21859"/>
                </a:lnTo>
                <a:lnTo>
                  <a:pt x="666137" y="16632"/>
                </a:lnTo>
                <a:lnTo>
                  <a:pt x="652832" y="11642"/>
                </a:lnTo>
                <a:lnTo>
                  <a:pt x="639527" y="7603"/>
                </a:lnTo>
                <a:lnTo>
                  <a:pt x="626222" y="4514"/>
                </a:lnTo>
                <a:lnTo>
                  <a:pt x="612917" y="1901"/>
                </a:lnTo>
                <a:lnTo>
                  <a:pt x="599374" y="475"/>
                </a:lnTo>
                <a:close/>
              </a:path>
            </a:pathLst>
          </a:custGeom>
          <a:solidFill>
            <a:schemeClr val="bg1">
              <a:alpha val="25000"/>
            </a:schemeClr>
          </a:solidFill>
          <a:ln>
            <a:noFill/>
          </a:ln>
        </p:spPr>
        <p:txBody>
          <a:bodyPr vert="horz" wrap="square" lIns="89642" tIns="44821" rIns="89642" bIns="44821" numCol="1" anchor="t" anchorCtr="0" compatLnSpc="1">
            <a:prstTxWarp prst="textNoShape">
              <a:avLst/>
            </a:prstTxWarp>
            <a:noAutofit/>
          </a:bodyPr>
          <a:lstStyle/>
          <a:p>
            <a:pPr defTabSz="914367"/>
            <a:endParaRPr lang="en-IN" sz="1765" dirty="0">
              <a:solidFill>
                <a:srgbClr val="000000"/>
              </a:solidFill>
            </a:endParaRPr>
          </a:p>
        </p:txBody>
      </p:sp>
      <p:sp>
        <p:nvSpPr>
          <p:cNvPr id="7" name="Rectangle 6"/>
          <p:cNvSpPr/>
          <p:nvPr/>
        </p:nvSpPr>
        <p:spPr>
          <a:xfrm>
            <a:off x="8929" y="1213304"/>
            <a:ext cx="5220355" cy="1558760"/>
          </a:xfrm>
          <a:prstGeom prst="rect">
            <a:avLst/>
          </a:prstGeom>
        </p:spPr>
        <p:txBody>
          <a:bodyPr wrap="square" lIns="268927">
            <a:spAutoFit/>
          </a:bodyPr>
          <a:lstStyle/>
          <a:p>
            <a:pPr defTabSz="914102" fontAlgn="base">
              <a:lnSpc>
                <a:spcPct val="90000"/>
              </a:lnSpc>
              <a:spcBef>
                <a:spcPct val="0"/>
              </a:spcBef>
              <a:spcAft>
                <a:spcPct val="0"/>
              </a:spcAft>
            </a:pPr>
            <a:r>
              <a:rPr lang="en-US" sz="5294" dirty="0" smtClean="0">
                <a:solidFill>
                  <a:srgbClr val="FFFFFF"/>
                </a:solidFill>
                <a:latin typeface="Segoe UI Light"/>
                <a:ea typeface="Segoe UI" pitchFamily="34" charset="0"/>
                <a:cs typeface="Segoe UI" pitchFamily="34" charset="0"/>
              </a:rPr>
              <a:t>Spark on HDInsight</a:t>
            </a:r>
            <a:endParaRPr lang="en-US" sz="5294" dirty="0">
              <a:solidFill>
                <a:srgbClr val="FFFFFF"/>
              </a:solidFill>
              <a:latin typeface="Segoe UI Light"/>
              <a:ea typeface="Segoe UI" pitchFamily="34" charset="0"/>
              <a:cs typeface="Segoe UI" pitchFamily="34" charset="0"/>
            </a:endParaRPr>
          </a:p>
        </p:txBody>
      </p:sp>
      <p:sp>
        <p:nvSpPr>
          <p:cNvPr id="2" name="Slide Number Placeholder 1"/>
          <p:cNvSpPr>
            <a:spLocks noGrp="1"/>
          </p:cNvSpPr>
          <p:nvPr>
            <p:ph type="sldNum" sz="quarter" idx="11"/>
          </p:nvPr>
        </p:nvSpPr>
        <p:spPr/>
        <p:txBody>
          <a:bodyPr/>
          <a:lstStyle/>
          <a:p>
            <a:pPr>
              <a:defRPr/>
            </a:pPr>
            <a:fld id="{F8A0AC42-AA1D-4944-8D96-660DE70C7E1B}" type="slidenum">
              <a:rPr lang="en-IN"/>
              <a:pPr>
                <a:defRPr/>
              </a:pPr>
              <a:t>2</a:t>
            </a:fld>
            <a:endParaRPr lang="en-IN" dirty="0"/>
          </a:p>
        </p:txBody>
      </p:sp>
      <p:sp>
        <p:nvSpPr>
          <p:cNvPr id="8" name="TextBox 7"/>
          <p:cNvSpPr txBox="1"/>
          <p:nvPr/>
        </p:nvSpPr>
        <p:spPr>
          <a:xfrm>
            <a:off x="5220356" y="1283299"/>
            <a:ext cx="6553002" cy="3072391"/>
          </a:xfrm>
          <a:prstGeom prst="rect">
            <a:avLst/>
          </a:prstGeom>
          <a:noFill/>
        </p:spPr>
        <p:txBody>
          <a:bodyPr wrap="square" lIns="268927" tIns="143428" rIns="179285" bIns="143428" rtlCol="0">
            <a:noAutofit/>
          </a:bodyPr>
          <a:lstStyle/>
          <a:p>
            <a:pPr marL="52912" lvl="1" defTabSz="913770" fontAlgn="base">
              <a:spcBef>
                <a:spcPts val="1176"/>
              </a:spcBef>
              <a:buClr>
                <a:srgbClr val="68217A">
                  <a:lumMod val="50000"/>
                </a:srgbClr>
              </a:buClr>
            </a:pPr>
            <a:r>
              <a:rPr lang="en-US" sz="3137" dirty="0" smtClean="0">
                <a:ln>
                  <a:solidFill>
                    <a:srgbClr val="FFFFFF">
                      <a:alpha val="0"/>
                    </a:srgbClr>
                  </a:solidFill>
                </a:ln>
                <a:solidFill>
                  <a:srgbClr val="68217A"/>
                </a:solidFill>
                <a:latin typeface="Segoe UI Light"/>
                <a:ea typeface="Segoe UI" pitchFamily="34" charset="0"/>
                <a:cs typeface="Segoe UI" pitchFamily="34" charset="0"/>
              </a:rPr>
              <a:t>Agenda</a:t>
            </a:r>
            <a:endParaRPr lang="en-US" sz="3137" dirty="0">
              <a:ln>
                <a:solidFill>
                  <a:srgbClr val="FFFFFF">
                    <a:alpha val="0"/>
                  </a:srgbClr>
                </a:solidFill>
              </a:ln>
              <a:solidFill>
                <a:srgbClr val="68217A"/>
              </a:solidFill>
              <a:latin typeface="Segoe UI Light"/>
              <a:ea typeface="Segoe UI" pitchFamily="34" charset="0"/>
              <a:cs typeface="Segoe UI" pitchFamily="34" charset="0"/>
            </a:endParaRPr>
          </a:p>
          <a:p>
            <a:pPr marL="558686" lvl="1" indent="-448193" defTabSz="913770" fontAlgn="base">
              <a:buClr>
                <a:srgbClr val="68217A">
                  <a:lumMod val="50000"/>
                </a:srgbClr>
              </a:buClr>
              <a:buBlip>
                <a:blip r:embed="rId2"/>
              </a:buBlip>
            </a:pPr>
            <a:r>
              <a:rPr lang="en-US" sz="2353" dirty="0" smtClean="0">
                <a:ln>
                  <a:solidFill>
                    <a:srgbClr val="FFFFFF">
                      <a:alpha val="0"/>
                    </a:srgbClr>
                  </a:solidFill>
                </a:ln>
                <a:gradFill>
                  <a:gsLst>
                    <a:gs pos="85321">
                      <a:srgbClr val="505050"/>
                    </a:gs>
                    <a:gs pos="57000">
                      <a:srgbClr val="505050"/>
                    </a:gs>
                  </a:gsLst>
                </a:gradFill>
                <a:ea typeface="Segoe UI" pitchFamily="34" charset="0"/>
                <a:cs typeface="Segoe UI" pitchFamily="34" charset="0"/>
              </a:rPr>
              <a:t>Apache Spark Overview</a:t>
            </a:r>
          </a:p>
          <a:p>
            <a:pPr marL="558686" lvl="1" indent="-448193" defTabSz="913770" fontAlgn="base">
              <a:buClr>
                <a:srgbClr val="68217A">
                  <a:lumMod val="50000"/>
                </a:srgbClr>
              </a:buClr>
              <a:buBlip>
                <a:blip r:embed="rId2"/>
              </a:buBlip>
            </a:pPr>
            <a:r>
              <a:rPr lang="en-US" sz="2353" dirty="0" smtClean="0">
                <a:ln>
                  <a:solidFill>
                    <a:srgbClr val="FFFFFF">
                      <a:alpha val="0"/>
                    </a:srgbClr>
                  </a:solidFill>
                </a:ln>
                <a:gradFill>
                  <a:gsLst>
                    <a:gs pos="85321">
                      <a:srgbClr val="505050"/>
                    </a:gs>
                    <a:gs pos="57000">
                      <a:srgbClr val="505050"/>
                    </a:gs>
                  </a:gsLst>
                </a:gradFill>
                <a:ea typeface="Segoe UI" pitchFamily="34" charset="0"/>
                <a:cs typeface="Segoe UI" pitchFamily="34" charset="0"/>
              </a:rPr>
              <a:t>Apache Technical Overview</a:t>
            </a:r>
          </a:p>
          <a:p>
            <a:pPr marL="558686" lvl="1" indent="-448193" defTabSz="913770" fontAlgn="base">
              <a:buClr>
                <a:srgbClr val="68217A">
                  <a:lumMod val="50000"/>
                </a:srgbClr>
              </a:buClr>
              <a:buBlip>
                <a:blip r:embed="rId2"/>
              </a:buBlip>
            </a:pPr>
            <a:r>
              <a:rPr lang="en-US" sz="2353" dirty="0" smtClean="0">
                <a:ln>
                  <a:solidFill>
                    <a:srgbClr val="FFFFFF">
                      <a:alpha val="0"/>
                    </a:srgbClr>
                  </a:solidFill>
                </a:ln>
                <a:gradFill>
                  <a:gsLst>
                    <a:gs pos="85321">
                      <a:srgbClr val="505050"/>
                    </a:gs>
                    <a:gs pos="57000">
                      <a:srgbClr val="505050"/>
                    </a:gs>
                  </a:gsLst>
                </a:gradFill>
                <a:ea typeface="Segoe UI" pitchFamily="34" charset="0"/>
                <a:cs typeface="Segoe UI" pitchFamily="34" charset="0"/>
              </a:rPr>
              <a:t>Spark SQL</a:t>
            </a:r>
          </a:p>
          <a:p>
            <a:pPr marL="558686" lvl="1" indent="-448193" defTabSz="913770" fontAlgn="base">
              <a:buClr>
                <a:srgbClr val="68217A">
                  <a:lumMod val="50000"/>
                </a:srgbClr>
              </a:buClr>
              <a:buBlip>
                <a:blip r:embed="rId2"/>
              </a:buBlip>
            </a:pPr>
            <a:r>
              <a:rPr lang="en-US" sz="2353" dirty="0" smtClean="0">
                <a:ln>
                  <a:solidFill>
                    <a:srgbClr val="FFFFFF">
                      <a:alpha val="0"/>
                    </a:srgbClr>
                  </a:solidFill>
                </a:ln>
                <a:gradFill>
                  <a:gsLst>
                    <a:gs pos="85321">
                      <a:srgbClr val="505050"/>
                    </a:gs>
                    <a:gs pos="57000">
                      <a:srgbClr val="505050"/>
                    </a:gs>
                  </a:gsLst>
                </a:gradFill>
                <a:ea typeface="Segoe UI" pitchFamily="34" charset="0"/>
                <a:cs typeface="Segoe UI" pitchFamily="34" charset="0"/>
              </a:rPr>
              <a:t>Spark Streaming</a:t>
            </a:r>
          </a:p>
          <a:p>
            <a:pPr marL="558686" lvl="1" indent="-448193" defTabSz="913770" fontAlgn="base">
              <a:buClr>
                <a:srgbClr val="68217A">
                  <a:lumMod val="50000"/>
                </a:srgbClr>
              </a:buClr>
              <a:buBlip>
                <a:blip r:embed="rId2"/>
              </a:buBlip>
            </a:pPr>
            <a:r>
              <a:rPr lang="en-US" sz="2353" dirty="0" smtClean="0">
                <a:ln>
                  <a:solidFill>
                    <a:srgbClr val="FFFFFF">
                      <a:alpha val="0"/>
                    </a:srgbClr>
                  </a:solidFill>
                </a:ln>
                <a:gradFill>
                  <a:gsLst>
                    <a:gs pos="85321">
                      <a:srgbClr val="505050"/>
                    </a:gs>
                    <a:gs pos="57000">
                      <a:srgbClr val="505050"/>
                    </a:gs>
                  </a:gsLst>
                </a:gradFill>
                <a:ea typeface="Segoe UI" pitchFamily="34" charset="0"/>
                <a:cs typeface="Segoe UI" pitchFamily="34" charset="0"/>
              </a:rPr>
              <a:t>Spark ML</a:t>
            </a:r>
          </a:p>
          <a:p>
            <a:pPr marL="558686" lvl="1" indent="-448193" defTabSz="913770" fontAlgn="base">
              <a:buClr>
                <a:srgbClr val="68217A">
                  <a:lumMod val="50000"/>
                </a:srgbClr>
              </a:buClr>
              <a:buBlip>
                <a:blip r:embed="rId2"/>
              </a:buBlip>
            </a:pPr>
            <a:r>
              <a:rPr lang="en-US" sz="2353" dirty="0" smtClean="0">
                <a:ln>
                  <a:solidFill>
                    <a:srgbClr val="FFFFFF">
                      <a:alpha val="0"/>
                    </a:srgbClr>
                  </a:solidFill>
                </a:ln>
                <a:gradFill>
                  <a:gsLst>
                    <a:gs pos="85321">
                      <a:srgbClr val="505050"/>
                    </a:gs>
                    <a:gs pos="57000">
                      <a:srgbClr val="505050"/>
                    </a:gs>
                  </a:gsLst>
                </a:gradFill>
                <a:ea typeface="Segoe UI" pitchFamily="34" charset="0"/>
                <a:cs typeface="Segoe UI" pitchFamily="34" charset="0"/>
              </a:rPr>
              <a:t>Azure HDInsight Spark</a:t>
            </a:r>
          </a:p>
        </p:txBody>
      </p:sp>
    </p:spTree>
    <p:extLst>
      <p:ext uri="{BB962C8B-B14F-4D97-AF65-F5344CB8AC3E}">
        <p14:creationId xmlns:p14="http://schemas.microsoft.com/office/powerpoint/2010/main" val="1874291417"/>
      </p:ext>
    </p:extLst>
  </p:cSld>
  <p:clrMapOvr>
    <a:masterClrMapping/>
  </p:clrMapOvr>
  <p:transition spd="med">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DD Actions (1)</a:t>
            </a:r>
            <a:endParaRPr lang="en-US" dirty="0"/>
          </a:p>
        </p:txBody>
      </p:sp>
      <p:sp>
        <p:nvSpPr>
          <p:cNvPr id="3" name="Slide Number Placeholder 2"/>
          <p:cNvSpPr>
            <a:spLocks noGrp="1"/>
          </p:cNvSpPr>
          <p:nvPr>
            <p:ph type="sldNum" sz="quarter" idx="11"/>
          </p:nvPr>
        </p:nvSpPr>
        <p:spPr/>
        <p:txBody>
          <a:bodyPr/>
          <a:lstStyle/>
          <a:p>
            <a:pPr>
              <a:defRPr/>
            </a:pPr>
            <a:fld id="{F8A0AC42-AA1D-4944-8D96-660DE70C7E1B}" type="slidenum">
              <a:rPr lang="en-US" smtClean="0"/>
              <a:pPr>
                <a:defRPr/>
              </a:pPr>
              <a:t>20</a:t>
            </a:fld>
            <a:endParaRPr lang="en-US" dirty="0"/>
          </a:p>
        </p:txBody>
      </p:sp>
      <p:graphicFrame>
        <p:nvGraphicFramePr>
          <p:cNvPr id="5" name="Table 4"/>
          <p:cNvGraphicFramePr>
            <a:graphicFrameLocks noGrp="1"/>
          </p:cNvGraphicFramePr>
          <p:nvPr>
            <p:extLst>
              <p:ext uri="{D42A27DB-BD31-4B8C-83A1-F6EECF244321}">
                <p14:modId xmlns:p14="http://schemas.microsoft.com/office/powerpoint/2010/main" val="3468975975"/>
              </p:ext>
            </p:extLst>
          </p:nvPr>
        </p:nvGraphicFramePr>
        <p:xfrm>
          <a:off x="880501" y="1664812"/>
          <a:ext cx="10278319" cy="4502905"/>
        </p:xfrm>
        <a:graphic>
          <a:graphicData uri="http://schemas.openxmlformats.org/drawingml/2006/table">
            <a:tbl>
              <a:tblPr firstRow="1" bandRow="1">
                <a:tableStyleId>{5C22544A-7EE6-4342-B048-85BDC9FD1C3A}</a:tableStyleId>
              </a:tblPr>
              <a:tblGrid>
                <a:gridCol w="2047894"/>
                <a:gridCol w="8230425"/>
              </a:tblGrid>
              <a:tr h="420455">
                <a:tc>
                  <a:txBody>
                    <a:bodyPr/>
                    <a:lstStyle/>
                    <a:p>
                      <a:pPr algn="ctr"/>
                      <a:r>
                        <a:rPr lang="en-US" dirty="0" smtClean="0"/>
                        <a:t>Action</a:t>
                      </a:r>
                      <a:endParaRPr lang="en-US" dirty="0"/>
                    </a:p>
                  </a:txBody>
                  <a:tcPr/>
                </a:tc>
                <a:tc>
                  <a:txBody>
                    <a:bodyPr/>
                    <a:lstStyle/>
                    <a:p>
                      <a:pPr algn="ctr"/>
                      <a:r>
                        <a:rPr lang="en-US" dirty="0" smtClean="0"/>
                        <a:t>Description</a:t>
                      </a:r>
                      <a:endParaRPr lang="en-US" dirty="0"/>
                    </a:p>
                  </a:txBody>
                  <a:tcPr/>
                </a:tc>
              </a:tr>
              <a:tr h="1283260">
                <a:tc>
                  <a:txBody>
                    <a:bodyPr/>
                    <a:lstStyle/>
                    <a:p>
                      <a:pPr marL="0" marR="0" indent="0" algn="l" defTabSz="914367" rtl="0" eaLnBrk="1" fontAlgn="auto" latinLnBrk="0" hangingPunct="1">
                        <a:lnSpc>
                          <a:spcPct val="100000"/>
                        </a:lnSpc>
                        <a:spcBef>
                          <a:spcPts val="0"/>
                        </a:spcBef>
                        <a:spcAft>
                          <a:spcPts val="0"/>
                        </a:spcAft>
                        <a:buClrTx/>
                        <a:buSzTx/>
                        <a:buFontTx/>
                        <a:buNone/>
                        <a:tabLst/>
                        <a:defRPr/>
                      </a:pPr>
                      <a:r>
                        <a:rPr lang="en-US" sz="1600" b="0" dirty="0" smtClean="0">
                          <a:solidFill>
                            <a:schemeClr val="tx1">
                              <a:lumMod val="65000"/>
                              <a:lumOff val="35000"/>
                            </a:schemeClr>
                          </a:solidFill>
                          <a:latin typeface="+mn-lt"/>
                        </a:rPr>
                        <a:t>saveAsTextFile(</a:t>
                      </a:r>
                      <a:r>
                        <a:rPr lang="en-US" sz="1600" b="0" i="1" dirty="0" smtClean="0">
                          <a:solidFill>
                            <a:schemeClr val="tx1">
                              <a:lumMod val="65000"/>
                              <a:lumOff val="35000"/>
                            </a:schemeClr>
                          </a:solidFill>
                          <a:latin typeface="+mn-lt"/>
                        </a:rPr>
                        <a:t>path</a:t>
                      </a:r>
                      <a:r>
                        <a:rPr lang="en-US" sz="1600" b="0" dirty="0" smtClean="0">
                          <a:solidFill>
                            <a:schemeClr val="tx1">
                              <a:lumMod val="65000"/>
                              <a:lumOff val="35000"/>
                            </a:schemeClr>
                          </a:solidFill>
                          <a:latin typeface="+mn-lt"/>
                        </a:rPr>
                        <a:t>)</a:t>
                      </a:r>
                    </a:p>
                  </a:txBody>
                  <a:tcPr/>
                </a:tc>
                <a:tc>
                  <a:txBody>
                    <a:bodyPr/>
                    <a:lstStyle/>
                    <a:p>
                      <a:r>
                        <a:rPr lang="en-US" sz="1600" b="0" dirty="0" smtClean="0">
                          <a:solidFill>
                            <a:schemeClr val="tx1">
                              <a:lumMod val="65000"/>
                              <a:lumOff val="35000"/>
                            </a:schemeClr>
                          </a:solidFill>
                          <a:latin typeface="+mn-lt"/>
                        </a:rPr>
                        <a:t>write the elements of the dataset as a text file (or set</a:t>
                      </a:r>
                      <a:r>
                        <a:rPr lang="en-US" sz="1600" b="0" baseline="0" dirty="0" smtClean="0">
                          <a:solidFill>
                            <a:schemeClr val="tx1">
                              <a:lumMod val="65000"/>
                              <a:lumOff val="35000"/>
                            </a:schemeClr>
                          </a:solidFill>
                          <a:latin typeface="+mn-lt"/>
                        </a:rPr>
                        <a:t> </a:t>
                      </a:r>
                      <a:r>
                        <a:rPr lang="en-US" sz="1600" b="0" dirty="0" smtClean="0">
                          <a:solidFill>
                            <a:schemeClr val="tx1">
                              <a:lumMod val="65000"/>
                              <a:lumOff val="35000"/>
                            </a:schemeClr>
                          </a:solidFill>
                          <a:latin typeface="+mn-lt"/>
                        </a:rPr>
                        <a:t>of text files) in a given directory in the local filesystem,</a:t>
                      </a:r>
                      <a:r>
                        <a:rPr lang="en-US" sz="1600" b="0" baseline="0" dirty="0" smtClean="0">
                          <a:solidFill>
                            <a:schemeClr val="tx1">
                              <a:lumMod val="65000"/>
                              <a:lumOff val="35000"/>
                            </a:schemeClr>
                          </a:solidFill>
                          <a:latin typeface="+mn-lt"/>
                        </a:rPr>
                        <a:t> </a:t>
                      </a:r>
                      <a:r>
                        <a:rPr lang="en-US" sz="1600" b="0" dirty="0" smtClean="0">
                          <a:solidFill>
                            <a:schemeClr val="tx1">
                              <a:lumMod val="65000"/>
                              <a:lumOff val="35000"/>
                            </a:schemeClr>
                          </a:solidFill>
                          <a:latin typeface="+mn-lt"/>
                        </a:rPr>
                        <a:t>HDFS or any other Hadoop-supported file system.</a:t>
                      </a:r>
                      <a:r>
                        <a:rPr lang="en-US" sz="1600" b="0" baseline="0" dirty="0" smtClean="0">
                          <a:solidFill>
                            <a:schemeClr val="tx1">
                              <a:lumMod val="65000"/>
                              <a:lumOff val="35000"/>
                            </a:schemeClr>
                          </a:solidFill>
                          <a:latin typeface="+mn-lt"/>
                        </a:rPr>
                        <a:t>  </a:t>
                      </a:r>
                      <a:r>
                        <a:rPr lang="en-US" sz="1600" b="0" dirty="0" smtClean="0">
                          <a:solidFill>
                            <a:schemeClr val="tx1">
                              <a:lumMod val="65000"/>
                              <a:lumOff val="35000"/>
                            </a:schemeClr>
                          </a:solidFill>
                          <a:latin typeface="+mn-lt"/>
                        </a:rPr>
                        <a:t>Spark will call toString on each element to convert</a:t>
                      </a:r>
                    </a:p>
                    <a:p>
                      <a:r>
                        <a:rPr lang="en-US" sz="1600" b="0" dirty="0" smtClean="0">
                          <a:solidFill>
                            <a:schemeClr val="tx1">
                              <a:lumMod val="65000"/>
                              <a:lumOff val="35000"/>
                            </a:schemeClr>
                          </a:solidFill>
                          <a:latin typeface="+mn-lt"/>
                        </a:rPr>
                        <a:t>it to a line of text in the file</a:t>
                      </a:r>
                    </a:p>
                  </a:txBody>
                  <a:tcPr/>
                </a:tc>
              </a:tr>
              <a:tr h="1485990">
                <a:tc>
                  <a:txBody>
                    <a:bodyPr/>
                    <a:lstStyle/>
                    <a:p>
                      <a:pPr marL="0" marR="0" indent="0" algn="l" defTabSz="914367" rtl="0" eaLnBrk="1" fontAlgn="auto" latinLnBrk="0" hangingPunct="1">
                        <a:lnSpc>
                          <a:spcPct val="100000"/>
                        </a:lnSpc>
                        <a:spcBef>
                          <a:spcPts val="0"/>
                        </a:spcBef>
                        <a:spcAft>
                          <a:spcPts val="0"/>
                        </a:spcAft>
                        <a:buClrTx/>
                        <a:buSzTx/>
                        <a:buFontTx/>
                        <a:buNone/>
                        <a:tabLst/>
                        <a:defRPr/>
                      </a:pPr>
                      <a:r>
                        <a:rPr lang="en-US" sz="1600" b="0" dirty="0" smtClean="0">
                          <a:solidFill>
                            <a:schemeClr val="tx1">
                              <a:lumMod val="65000"/>
                              <a:lumOff val="35000"/>
                            </a:schemeClr>
                          </a:solidFill>
                          <a:latin typeface="+mn-lt"/>
                        </a:rPr>
                        <a:t>saveAsSequenceFile(</a:t>
                      </a:r>
                      <a:r>
                        <a:rPr lang="en-US" sz="1600" b="0" i="1" dirty="0" smtClean="0">
                          <a:solidFill>
                            <a:schemeClr val="tx1">
                              <a:lumMod val="65000"/>
                              <a:lumOff val="35000"/>
                            </a:schemeClr>
                          </a:solidFill>
                          <a:latin typeface="+mn-lt"/>
                        </a:rPr>
                        <a:t>path</a:t>
                      </a:r>
                      <a:r>
                        <a:rPr lang="en-US" sz="1600" b="0" dirty="0" smtClean="0">
                          <a:solidFill>
                            <a:schemeClr val="tx1">
                              <a:lumMod val="65000"/>
                              <a:lumOff val="35000"/>
                            </a:schemeClr>
                          </a:solidFill>
                          <a:latin typeface="+mn-lt"/>
                        </a:rPr>
                        <a:t>)</a:t>
                      </a:r>
                    </a:p>
                    <a:p>
                      <a:endParaRPr lang="en-US" sz="1600" b="0" dirty="0">
                        <a:solidFill>
                          <a:schemeClr val="tx1">
                            <a:lumMod val="65000"/>
                            <a:lumOff val="35000"/>
                          </a:schemeClr>
                        </a:solidFill>
                        <a:latin typeface="+mn-lt"/>
                      </a:endParaRPr>
                    </a:p>
                  </a:txBody>
                  <a:tcPr/>
                </a:tc>
                <a:tc>
                  <a:txBody>
                    <a:bodyPr/>
                    <a:lstStyle/>
                    <a:p>
                      <a:r>
                        <a:rPr lang="en-US" sz="1600" b="0" dirty="0" smtClean="0">
                          <a:solidFill>
                            <a:schemeClr val="tx1">
                              <a:lumMod val="65000"/>
                              <a:lumOff val="35000"/>
                            </a:schemeClr>
                          </a:solidFill>
                          <a:latin typeface="+mn-lt"/>
                        </a:rPr>
                        <a:t>write the elements of the dataset as a Hadoop</a:t>
                      </a:r>
                      <a:r>
                        <a:rPr lang="en-US" sz="1600" b="0" baseline="0" dirty="0" smtClean="0">
                          <a:solidFill>
                            <a:schemeClr val="tx1">
                              <a:lumMod val="65000"/>
                              <a:lumOff val="35000"/>
                            </a:schemeClr>
                          </a:solidFill>
                          <a:latin typeface="+mn-lt"/>
                        </a:rPr>
                        <a:t> </a:t>
                      </a:r>
                      <a:r>
                        <a:rPr lang="en-US" sz="1600" b="0" dirty="0" smtClean="0">
                          <a:solidFill>
                            <a:schemeClr val="tx1">
                              <a:lumMod val="65000"/>
                              <a:lumOff val="35000"/>
                            </a:schemeClr>
                          </a:solidFill>
                          <a:latin typeface="+mn-lt"/>
                        </a:rPr>
                        <a:t>SequenceFile in a given path in the local filesystem,</a:t>
                      </a:r>
                      <a:r>
                        <a:rPr lang="en-US" sz="1600" b="0" baseline="0" dirty="0" smtClean="0">
                          <a:solidFill>
                            <a:schemeClr val="tx1">
                              <a:lumMod val="65000"/>
                              <a:lumOff val="35000"/>
                            </a:schemeClr>
                          </a:solidFill>
                          <a:latin typeface="+mn-lt"/>
                        </a:rPr>
                        <a:t> </a:t>
                      </a:r>
                      <a:r>
                        <a:rPr lang="en-US" sz="1600" b="0" dirty="0" smtClean="0">
                          <a:solidFill>
                            <a:schemeClr val="tx1">
                              <a:lumMod val="65000"/>
                              <a:lumOff val="35000"/>
                            </a:schemeClr>
                          </a:solidFill>
                          <a:latin typeface="+mn-lt"/>
                        </a:rPr>
                        <a:t>HDFS or any other Hadoop-supported file system.</a:t>
                      </a:r>
                      <a:r>
                        <a:rPr lang="en-US" sz="1600" b="0" baseline="0" dirty="0" smtClean="0">
                          <a:solidFill>
                            <a:schemeClr val="tx1">
                              <a:lumMod val="65000"/>
                              <a:lumOff val="35000"/>
                            </a:schemeClr>
                          </a:solidFill>
                          <a:latin typeface="+mn-lt"/>
                        </a:rPr>
                        <a:t> </a:t>
                      </a:r>
                      <a:r>
                        <a:rPr lang="en-US" sz="1600" b="0" dirty="0" smtClean="0">
                          <a:solidFill>
                            <a:schemeClr val="tx1">
                              <a:lumMod val="65000"/>
                              <a:lumOff val="35000"/>
                            </a:schemeClr>
                          </a:solidFill>
                          <a:latin typeface="+mn-lt"/>
                        </a:rPr>
                        <a:t>Only available on RDDs of key-value pairs that either</a:t>
                      </a:r>
                      <a:r>
                        <a:rPr lang="en-US" sz="1600" b="0" baseline="0" dirty="0" smtClean="0">
                          <a:solidFill>
                            <a:schemeClr val="tx1">
                              <a:lumMod val="65000"/>
                              <a:lumOff val="35000"/>
                            </a:schemeClr>
                          </a:solidFill>
                          <a:latin typeface="+mn-lt"/>
                        </a:rPr>
                        <a:t> </a:t>
                      </a:r>
                      <a:r>
                        <a:rPr lang="en-US" sz="1600" b="0" dirty="0" smtClean="0">
                          <a:solidFill>
                            <a:schemeClr val="tx1">
                              <a:lumMod val="65000"/>
                              <a:lumOff val="35000"/>
                            </a:schemeClr>
                          </a:solidFill>
                          <a:latin typeface="+mn-lt"/>
                        </a:rPr>
                        <a:t>implement Hadoop's Writable interface or are</a:t>
                      </a:r>
                      <a:r>
                        <a:rPr lang="en-US" sz="1600" b="0" baseline="0" dirty="0" smtClean="0">
                          <a:solidFill>
                            <a:schemeClr val="tx1">
                              <a:lumMod val="65000"/>
                              <a:lumOff val="35000"/>
                            </a:schemeClr>
                          </a:solidFill>
                          <a:latin typeface="+mn-lt"/>
                        </a:rPr>
                        <a:t> </a:t>
                      </a:r>
                      <a:r>
                        <a:rPr lang="en-US" sz="1600" b="0" dirty="0" smtClean="0">
                          <a:solidFill>
                            <a:schemeClr val="tx1">
                              <a:lumMod val="65000"/>
                              <a:lumOff val="35000"/>
                            </a:schemeClr>
                          </a:solidFill>
                          <a:latin typeface="+mn-lt"/>
                        </a:rPr>
                        <a:t>implicitly convertible to Writable (Spark includes</a:t>
                      </a:r>
                      <a:r>
                        <a:rPr lang="en-US" sz="1600" b="0" baseline="0" dirty="0" smtClean="0">
                          <a:solidFill>
                            <a:schemeClr val="tx1">
                              <a:lumMod val="65000"/>
                              <a:lumOff val="35000"/>
                            </a:schemeClr>
                          </a:solidFill>
                          <a:latin typeface="+mn-lt"/>
                        </a:rPr>
                        <a:t> </a:t>
                      </a:r>
                      <a:r>
                        <a:rPr lang="en-US" sz="1600" b="0" dirty="0" smtClean="0">
                          <a:solidFill>
                            <a:schemeClr val="tx1">
                              <a:lumMod val="65000"/>
                              <a:lumOff val="35000"/>
                            </a:schemeClr>
                          </a:solidFill>
                          <a:latin typeface="+mn-lt"/>
                        </a:rPr>
                        <a:t>conversions for basic types like Int, Double, String,</a:t>
                      </a:r>
                      <a:r>
                        <a:rPr lang="en-US" sz="1600" b="0" baseline="0" dirty="0" smtClean="0">
                          <a:solidFill>
                            <a:schemeClr val="tx1">
                              <a:lumMod val="65000"/>
                              <a:lumOff val="35000"/>
                            </a:schemeClr>
                          </a:solidFill>
                          <a:latin typeface="+mn-lt"/>
                        </a:rPr>
                        <a:t> </a:t>
                      </a:r>
                      <a:r>
                        <a:rPr lang="en-US" sz="1600" b="0" dirty="0" smtClean="0">
                          <a:solidFill>
                            <a:schemeClr val="tx1">
                              <a:lumMod val="65000"/>
                              <a:lumOff val="35000"/>
                            </a:schemeClr>
                          </a:solidFill>
                          <a:latin typeface="+mn-lt"/>
                        </a:rPr>
                        <a:t>etc).</a:t>
                      </a:r>
                      <a:endParaRPr lang="en-US" sz="1600" b="0" dirty="0">
                        <a:solidFill>
                          <a:schemeClr val="tx1">
                            <a:lumMod val="65000"/>
                            <a:lumOff val="35000"/>
                          </a:schemeClr>
                        </a:solidFill>
                        <a:latin typeface="+mn-lt"/>
                      </a:endParaRPr>
                    </a:p>
                  </a:txBody>
                  <a:tcPr/>
                </a:tc>
              </a:tr>
              <a:tr h="656600">
                <a:tc>
                  <a:txBody>
                    <a:bodyPr/>
                    <a:lstStyle/>
                    <a:p>
                      <a:pPr marL="0" marR="0" indent="0" algn="l" defTabSz="914367" rtl="0" eaLnBrk="1" fontAlgn="auto" latinLnBrk="0" hangingPunct="1">
                        <a:lnSpc>
                          <a:spcPct val="100000"/>
                        </a:lnSpc>
                        <a:spcBef>
                          <a:spcPts val="0"/>
                        </a:spcBef>
                        <a:spcAft>
                          <a:spcPts val="0"/>
                        </a:spcAft>
                        <a:buClrTx/>
                        <a:buSzTx/>
                        <a:buFontTx/>
                        <a:buNone/>
                        <a:tabLst/>
                        <a:defRPr/>
                      </a:pPr>
                      <a:r>
                        <a:rPr lang="en-US" sz="1600" b="0" dirty="0" smtClean="0">
                          <a:solidFill>
                            <a:schemeClr val="tx1">
                              <a:lumMod val="65000"/>
                              <a:lumOff val="35000"/>
                            </a:schemeClr>
                          </a:solidFill>
                          <a:latin typeface="+mn-lt"/>
                        </a:rPr>
                        <a:t>countByKey()</a:t>
                      </a:r>
                    </a:p>
                    <a:p>
                      <a:endParaRPr lang="en-US" sz="1600" b="0" dirty="0">
                        <a:solidFill>
                          <a:schemeClr val="tx1">
                            <a:lumMod val="65000"/>
                            <a:lumOff val="35000"/>
                          </a:schemeClr>
                        </a:solidFill>
                        <a:latin typeface="+mn-lt"/>
                      </a:endParaRPr>
                    </a:p>
                  </a:txBody>
                  <a:tcPr/>
                </a:tc>
                <a:tc>
                  <a:txBody>
                    <a:bodyPr/>
                    <a:lstStyle/>
                    <a:p>
                      <a:r>
                        <a:rPr lang="en-US" sz="1600" b="0" dirty="0" smtClean="0">
                          <a:solidFill>
                            <a:schemeClr val="tx1">
                              <a:lumMod val="65000"/>
                              <a:lumOff val="35000"/>
                            </a:schemeClr>
                          </a:solidFill>
                          <a:latin typeface="+mn-lt"/>
                        </a:rPr>
                        <a:t>only available on RDDs of type (K, V). Returns a</a:t>
                      </a:r>
                      <a:r>
                        <a:rPr lang="en-US" sz="1600" b="0" baseline="0" dirty="0" smtClean="0">
                          <a:solidFill>
                            <a:schemeClr val="tx1">
                              <a:lumMod val="65000"/>
                              <a:lumOff val="35000"/>
                            </a:schemeClr>
                          </a:solidFill>
                          <a:latin typeface="+mn-lt"/>
                        </a:rPr>
                        <a:t> </a:t>
                      </a:r>
                      <a:r>
                        <a:rPr lang="en-US" sz="1600" b="0" dirty="0" smtClean="0">
                          <a:solidFill>
                            <a:schemeClr val="tx1">
                              <a:lumMod val="65000"/>
                              <a:lumOff val="35000"/>
                            </a:schemeClr>
                          </a:solidFill>
                          <a:latin typeface="+mn-lt"/>
                        </a:rPr>
                        <a:t>`Map` of (K, Int) pairs with the count of each key</a:t>
                      </a:r>
                    </a:p>
                  </a:txBody>
                  <a:tcPr/>
                </a:tc>
              </a:tr>
              <a:tr h="656600">
                <a:tc>
                  <a:txBody>
                    <a:bodyPr/>
                    <a:lstStyle/>
                    <a:p>
                      <a:pPr marL="0" marR="0" indent="0" algn="l" defTabSz="914367" rtl="0" eaLnBrk="1" fontAlgn="auto" latinLnBrk="0" hangingPunct="1">
                        <a:lnSpc>
                          <a:spcPct val="100000"/>
                        </a:lnSpc>
                        <a:spcBef>
                          <a:spcPts val="0"/>
                        </a:spcBef>
                        <a:spcAft>
                          <a:spcPts val="0"/>
                        </a:spcAft>
                        <a:buClrTx/>
                        <a:buSzTx/>
                        <a:buFontTx/>
                        <a:buNone/>
                        <a:tabLst/>
                        <a:defRPr/>
                      </a:pPr>
                      <a:r>
                        <a:rPr lang="en-US" sz="1600" b="0" dirty="0" smtClean="0">
                          <a:solidFill>
                            <a:schemeClr val="tx1">
                              <a:lumMod val="65000"/>
                              <a:lumOff val="35000"/>
                            </a:schemeClr>
                          </a:solidFill>
                          <a:latin typeface="+mn-lt"/>
                        </a:rPr>
                        <a:t>foreach(</a:t>
                      </a:r>
                      <a:r>
                        <a:rPr lang="en-US" sz="1600" b="0" i="1" dirty="0" smtClean="0">
                          <a:solidFill>
                            <a:schemeClr val="tx1">
                              <a:lumMod val="65000"/>
                              <a:lumOff val="35000"/>
                            </a:schemeClr>
                          </a:solidFill>
                          <a:latin typeface="+mn-lt"/>
                        </a:rPr>
                        <a:t>func</a:t>
                      </a:r>
                      <a:r>
                        <a:rPr lang="en-US" sz="1600" b="0" dirty="0" smtClean="0">
                          <a:solidFill>
                            <a:schemeClr val="tx1">
                              <a:lumMod val="65000"/>
                              <a:lumOff val="35000"/>
                            </a:schemeClr>
                          </a:solidFill>
                          <a:latin typeface="+mn-lt"/>
                        </a:rPr>
                        <a:t>)</a:t>
                      </a:r>
                    </a:p>
                    <a:p>
                      <a:endParaRPr lang="en-US" sz="1600" b="0" dirty="0">
                        <a:solidFill>
                          <a:schemeClr val="tx1">
                            <a:lumMod val="65000"/>
                            <a:lumOff val="35000"/>
                          </a:schemeClr>
                        </a:solidFill>
                        <a:latin typeface="+mn-lt"/>
                      </a:endParaRPr>
                    </a:p>
                  </a:txBody>
                  <a:tcPr/>
                </a:tc>
                <a:tc>
                  <a:txBody>
                    <a:bodyPr/>
                    <a:lstStyle/>
                    <a:p>
                      <a:r>
                        <a:rPr lang="en-US" sz="1600" b="0" dirty="0" smtClean="0">
                          <a:solidFill>
                            <a:schemeClr val="tx1">
                              <a:lumMod val="65000"/>
                              <a:lumOff val="35000"/>
                            </a:schemeClr>
                          </a:solidFill>
                          <a:latin typeface="+mn-lt"/>
                        </a:rPr>
                        <a:t>run a function </a:t>
                      </a:r>
                      <a:r>
                        <a:rPr lang="en-US" sz="1600" b="0" i="1" dirty="0" smtClean="0">
                          <a:solidFill>
                            <a:schemeClr val="tx1">
                              <a:lumMod val="65000"/>
                              <a:lumOff val="35000"/>
                            </a:schemeClr>
                          </a:solidFill>
                          <a:latin typeface="+mn-lt"/>
                        </a:rPr>
                        <a:t>func </a:t>
                      </a:r>
                      <a:r>
                        <a:rPr lang="en-US" sz="1600" b="0" dirty="0" smtClean="0">
                          <a:solidFill>
                            <a:schemeClr val="tx1">
                              <a:lumMod val="65000"/>
                              <a:lumOff val="35000"/>
                            </a:schemeClr>
                          </a:solidFill>
                          <a:latin typeface="+mn-lt"/>
                        </a:rPr>
                        <a:t>on each element of the dataset –usually done for side</a:t>
                      </a:r>
                      <a:r>
                        <a:rPr lang="en-US" sz="1600" b="0" baseline="0" dirty="0" smtClean="0">
                          <a:solidFill>
                            <a:schemeClr val="tx1">
                              <a:lumMod val="65000"/>
                              <a:lumOff val="35000"/>
                            </a:schemeClr>
                          </a:solidFill>
                          <a:latin typeface="+mn-lt"/>
                        </a:rPr>
                        <a:t> </a:t>
                      </a:r>
                      <a:r>
                        <a:rPr lang="en-US" sz="1600" b="0" dirty="0" smtClean="0">
                          <a:solidFill>
                            <a:schemeClr val="tx1">
                              <a:lumMod val="65000"/>
                              <a:lumOff val="35000"/>
                            </a:schemeClr>
                          </a:solidFill>
                          <a:latin typeface="+mn-lt"/>
                        </a:rPr>
                        <a:t>effects such as updating an</a:t>
                      </a:r>
                      <a:r>
                        <a:rPr lang="en-US" sz="1600" b="0" baseline="0" dirty="0" smtClean="0">
                          <a:solidFill>
                            <a:schemeClr val="tx1">
                              <a:lumMod val="65000"/>
                              <a:lumOff val="35000"/>
                            </a:schemeClr>
                          </a:solidFill>
                          <a:latin typeface="+mn-lt"/>
                        </a:rPr>
                        <a:t> </a:t>
                      </a:r>
                      <a:r>
                        <a:rPr lang="en-US" sz="1600" b="0" dirty="0" smtClean="0">
                          <a:solidFill>
                            <a:schemeClr val="tx1">
                              <a:lumMod val="65000"/>
                              <a:lumOff val="35000"/>
                            </a:schemeClr>
                          </a:solidFill>
                          <a:latin typeface="+mn-lt"/>
                        </a:rPr>
                        <a:t>accumulator</a:t>
                      </a:r>
                    </a:p>
                  </a:txBody>
                  <a:tcPr/>
                </a:tc>
              </a:tr>
            </a:tbl>
          </a:graphicData>
        </a:graphic>
      </p:graphicFrame>
    </p:spTree>
    <p:extLst>
      <p:ext uri="{BB962C8B-B14F-4D97-AF65-F5344CB8AC3E}">
        <p14:creationId xmlns:p14="http://schemas.microsoft.com/office/powerpoint/2010/main" val="1522367685"/>
      </p:ext>
    </p:extLst>
  </p:cSld>
  <p:clrMapOvr>
    <a:masterClrMapping/>
  </p:clrMapOvr>
  <p:transition spd="med">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DD Actions(2)</a:t>
            </a:r>
            <a:endParaRPr lang="en-US" dirty="0"/>
          </a:p>
        </p:txBody>
      </p:sp>
      <p:sp>
        <p:nvSpPr>
          <p:cNvPr id="3" name="Slide Number Placeholder 2"/>
          <p:cNvSpPr>
            <a:spLocks noGrp="1"/>
          </p:cNvSpPr>
          <p:nvPr>
            <p:ph type="sldNum" sz="quarter" idx="11"/>
          </p:nvPr>
        </p:nvSpPr>
        <p:spPr/>
        <p:txBody>
          <a:bodyPr/>
          <a:lstStyle/>
          <a:p>
            <a:pPr>
              <a:defRPr/>
            </a:pPr>
            <a:fld id="{F8A0AC42-AA1D-4944-8D96-660DE70C7E1B}" type="slidenum">
              <a:rPr lang="en-US" smtClean="0"/>
              <a:pPr>
                <a:defRPr/>
              </a:pPr>
              <a:t>21</a:t>
            </a:fld>
            <a:endParaRPr lang="en-US" dirty="0"/>
          </a:p>
        </p:txBody>
      </p:sp>
      <p:graphicFrame>
        <p:nvGraphicFramePr>
          <p:cNvPr id="5" name="Table 4"/>
          <p:cNvGraphicFramePr>
            <a:graphicFrameLocks noGrp="1"/>
          </p:cNvGraphicFramePr>
          <p:nvPr>
            <p:extLst>
              <p:ext uri="{D42A27DB-BD31-4B8C-83A1-F6EECF244321}">
                <p14:modId xmlns:p14="http://schemas.microsoft.com/office/powerpoint/2010/main" val="3663824739"/>
              </p:ext>
            </p:extLst>
          </p:nvPr>
        </p:nvGraphicFramePr>
        <p:xfrm>
          <a:off x="956528" y="1343747"/>
          <a:ext cx="10278319" cy="4737356"/>
        </p:xfrm>
        <a:graphic>
          <a:graphicData uri="http://schemas.openxmlformats.org/drawingml/2006/table">
            <a:tbl>
              <a:tblPr firstRow="1" bandRow="1">
                <a:tableStyleId>{5C22544A-7EE6-4342-B048-85BDC9FD1C3A}</a:tableStyleId>
              </a:tblPr>
              <a:tblGrid>
                <a:gridCol w="2395133"/>
                <a:gridCol w="7883186"/>
              </a:tblGrid>
              <a:tr h="332882">
                <a:tc>
                  <a:txBody>
                    <a:bodyPr/>
                    <a:lstStyle/>
                    <a:p>
                      <a:pPr algn="ctr"/>
                      <a:r>
                        <a:rPr lang="en-US" dirty="0" smtClean="0"/>
                        <a:t>Action</a:t>
                      </a:r>
                      <a:endParaRPr lang="en-US" dirty="0"/>
                    </a:p>
                  </a:txBody>
                  <a:tcPr/>
                </a:tc>
                <a:tc>
                  <a:txBody>
                    <a:bodyPr/>
                    <a:lstStyle/>
                    <a:p>
                      <a:pPr algn="ctr"/>
                      <a:r>
                        <a:rPr lang="en-US" dirty="0" smtClean="0"/>
                        <a:t>Description</a:t>
                      </a:r>
                      <a:endParaRPr lang="en-US" dirty="0"/>
                    </a:p>
                  </a:txBody>
                  <a:tcPr/>
                </a:tc>
              </a:tr>
              <a:tr h="829743">
                <a:tc>
                  <a:txBody>
                    <a:bodyPr/>
                    <a:lstStyle/>
                    <a:p>
                      <a:pPr marL="0" marR="0" indent="0" algn="l" defTabSz="914367" rtl="0" eaLnBrk="1" fontAlgn="auto" latinLnBrk="0" hangingPunct="1">
                        <a:lnSpc>
                          <a:spcPct val="100000"/>
                        </a:lnSpc>
                        <a:spcBef>
                          <a:spcPts val="0"/>
                        </a:spcBef>
                        <a:spcAft>
                          <a:spcPts val="0"/>
                        </a:spcAft>
                        <a:buClrTx/>
                        <a:buSzTx/>
                        <a:buFontTx/>
                        <a:buNone/>
                        <a:tabLst/>
                        <a:defRPr/>
                      </a:pPr>
                      <a:r>
                        <a:rPr lang="en-US" sz="1600" b="0" dirty="0" smtClean="0">
                          <a:solidFill>
                            <a:schemeClr val="tx1">
                              <a:lumMod val="65000"/>
                              <a:lumOff val="35000"/>
                            </a:schemeClr>
                          </a:solidFill>
                          <a:latin typeface="+mn-lt"/>
                        </a:rPr>
                        <a:t>reduce(</a:t>
                      </a:r>
                      <a:r>
                        <a:rPr lang="en-US" sz="1600" b="0" i="1" dirty="0" smtClean="0">
                          <a:solidFill>
                            <a:schemeClr val="tx1">
                              <a:lumMod val="65000"/>
                              <a:lumOff val="35000"/>
                            </a:schemeClr>
                          </a:solidFill>
                          <a:latin typeface="+mn-lt"/>
                        </a:rPr>
                        <a:t>func</a:t>
                      </a:r>
                      <a:r>
                        <a:rPr lang="en-US" sz="1600" b="0" dirty="0" smtClean="0">
                          <a:solidFill>
                            <a:schemeClr val="tx1">
                              <a:lumMod val="65000"/>
                              <a:lumOff val="35000"/>
                            </a:schemeClr>
                          </a:solidFill>
                          <a:latin typeface="+mn-lt"/>
                        </a:rPr>
                        <a:t>)</a:t>
                      </a:r>
                    </a:p>
                    <a:p>
                      <a:endParaRPr lang="en-US" sz="1600" b="0" dirty="0">
                        <a:solidFill>
                          <a:schemeClr val="tx1">
                            <a:lumMod val="65000"/>
                            <a:lumOff val="35000"/>
                          </a:schemeClr>
                        </a:solidFill>
                        <a:latin typeface="+mn-lt"/>
                      </a:endParaRPr>
                    </a:p>
                  </a:txBody>
                  <a:tcPr anchor="ctr"/>
                </a:tc>
                <a:tc>
                  <a:txBody>
                    <a:bodyPr/>
                    <a:lstStyle/>
                    <a:p>
                      <a:r>
                        <a:rPr lang="en-US" sz="1600" b="0" dirty="0" smtClean="0">
                          <a:solidFill>
                            <a:schemeClr val="tx1">
                              <a:lumMod val="65000"/>
                              <a:lumOff val="35000"/>
                            </a:schemeClr>
                          </a:solidFill>
                          <a:latin typeface="+mn-lt"/>
                        </a:rPr>
                        <a:t>aggregate the elements of the dataset using a function</a:t>
                      </a:r>
                      <a:r>
                        <a:rPr lang="en-US" sz="1600" b="0" baseline="0" dirty="0" smtClean="0">
                          <a:solidFill>
                            <a:schemeClr val="tx1">
                              <a:lumMod val="65000"/>
                              <a:lumOff val="35000"/>
                            </a:schemeClr>
                          </a:solidFill>
                          <a:latin typeface="+mn-lt"/>
                        </a:rPr>
                        <a:t> </a:t>
                      </a:r>
                      <a:r>
                        <a:rPr lang="en-US" sz="1600" b="0" i="1" dirty="0" smtClean="0">
                          <a:solidFill>
                            <a:schemeClr val="tx1">
                              <a:lumMod val="65000"/>
                              <a:lumOff val="35000"/>
                            </a:schemeClr>
                          </a:solidFill>
                          <a:latin typeface="+mn-lt"/>
                        </a:rPr>
                        <a:t>func </a:t>
                      </a:r>
                      <a:r>
                        <a:rPr lang="en-US" sz="1600" b="0" dirty="0" smtClean="0">
                          <a:solidFill>
                            <a:schemeClr val="tx1">
                              <a:lumMod val="65000"/>
                              <a:lumOff val="35000"/>
                            </a:schemeClr>
                          </a:solidFill>
                          <a:latin typeface="+mn-lt"/>
                        </a:rPr>
                        <a:t>(which takes two arguments and returns one),</a:t>
                      </a:r>
                      <a:r>
                        <a:rPr lang="en-US" sz="1600" b="0" baseline="0" dirty="0" smtClean="0">
                          <a:solidFill>
                            <a:schemeClr val="tx1">
                              <a:lumMod val="65000"/>
                              <a:lumOff val="35000"/>
                            </a:schemeClr>
                          </a:solidFill>
                          <a:latin typeface="+mn-lt"/>
                        </a:rPr>
                        <a:t> </a:t>
                      </a:r>
                      <a:r>
                        <a:rPr lang="en-US" sz="1600" b="0" dirty="0" smtClean="0">
                          <a:solidFill>
                            <a:schemeClr val="tx1">
                              <a:lumMod val="65000"/>
                              <a:lumOff val="35000"/>
                            </a:schemeClr>
                          </a:solidFill>
                          <a:latin typeface="+mn-lt"/>
                        </a:rPr>
                        <a:t>and should also be commutative and associative so</a:t>
                      </a:r>
                      <a:r>
                        <a:rPr lang="en-US" sz="1600" b="0" baseline="0" dirty="0" smtClean="0">
                          <a:solidFill>
                            <a:schemeClr val="tx1">
                              <a:lumMod val="65000"/>
                              <a:lumOff val="35000"/>
                            </a:schemeClr>
                          </a:solidFill>
                          <a:latin typeface="+mn-lt"/>
                        </a:rPr>
                        <a:t> </a:t>
                      </a:r>
                      <a:r>
                        <a:rPr lang="en-US" sz="1600" b="0" dirty="0" smtClean="0">
                          <a:solidFill>
                            <a:schemeClr val="tx1">
                              <a:lumMod val="65000"/>
                              <a:lumOff val="35000"/>
                            </a:schemeClr>
                          </a:solidFill>
                          <a:latin typeface="+mn-lt"/>
                        </a:rPr>
                        <a:t>that it can be computed correctly in parallel</a:t>
                      </a:r>
                    </a:p>
                  </a:txBody>
                  <a:tcPr anchor="ctr"/>
                </a:tc>
              </a:tr>
              <a:tr h="829743">
                <a:tc>
                  <a:txBody>
                    <a:bodyPr/>
                    <a:lstStyle/>
                    <a:p>
                      <a:pPr marL="0" marR="0" indent="0" algn="l" defTabSz="914367" rtl="0" eaLnBrk="1" fontAlgn="auto" latinLnBrk="0" hangingPunct="1">
                        <a:lnSpc>
                          <a:spcPct val="100000"/>
                        </a:lnSpc>
                        <a:spcBef>
                          <a:spcPts val="0"/>
                        </a:spcBef>
                        <a:spcAft>
                          <a:spcPts val="0"/>
                        </a:spcAft>
                        <a:buClrTx/>
                        <a:buSzTx/>
                        <a:buFontTx/>
                        <a:buNone/>
                        <a:tabLst/>
                        <a:defRPr/>
                      </a:pPr>
                      <a:r>
                        <a:rPr lang="en-US" sz="1600" b="0" dirty="0" smtClean="0">
                          <a:solidFill>
                            <a:schemeClr val="tx1">
                              <a:lumMod val="65000"/>
                              <a:lumOff val="35000"/>
                            </a:schemeClr>
                          </a:solidFill>
                          <a:latin typeface="+mn-lt"/>
                        </a:rPr>
                        <a:t>collect()</a:t>
                      </a:r>
                    </a:p>
                    <a:p>
                      <a:endParaRPr lang="en-US" sz="1600" b="0" dirty="0">
                        <a:solidFill>
                          <a:schemeClr val="tx1">
                            <a:lumMod val="65000"/>
                            <a:lumOff val="35000"/>
                          </a:schemeClr>
                        </a:solidFill>
                        <a:latin typeface="+mn-lt"/>
                      </a:endParaRPr>
                    </a:p>
                  </a:txBody>
                  <a:tcPr anchor="ctr"/>
                </a:tc>
                <a:tc>
                  <a:txBody>
                    <a:bodyPr/>
                    <a:lstStyle/>
                    <a:p>
                      <a:r>
                        <a:rPr lang="en-US" sz="1600" b="0" dirty="0" smtClean="0">
                          <a:solidFill>
                            <a:schemeClr val="tx1">
                              <a:lumMod val="65000"/>
                              <a:lumOff val="35000"/>
                            </a:schemeClr>
                          </a:solidFill>
                          <a:latin typeface="+mn-lt"/>
                        </a:rPr>
                        <a:t>return all the elements of the dataset as an array at</a:t>
                      </a:r>
                      <a:r>
                        <a:rPr lang="en-US" sz="1600" b="0" baseline="0" dirty="0" smtClean="0">
                          <a:solidFill>
                            <a:schemeClr val="tx1">
                              <a:lumMod val="65000"/>
                              <a:lumOff val="35000"/>
                            </a:schemeClr>
                          </a:solidFill>
                          <a:latin typeface="+mn-lt"/>
                        </a:rPr>
                        <a:t> </a:t>
                      </a:r>
                      <a:r>
                        <a:rPr lang="en-US" sz="1600" b="0" dirty="0" smtClean="0">
                          <a:solidFill>
                            <a:schemeClr val="tx1">
                              <a:lumMod val="65000"/>
                              <a:lumOff val="35000"/>
                            </a:schemeClr>
                          </a:solidFill>
                          <a:latin typeface="+mn-lt"/>
                        </a:rPr>
                        <a:t>the driver program – usually useful after a filter or</a:t>
                      </a:r>
                      <a:r>
                        <a:rPr lang="en-US" sz="1600" b="0" baseline="0" dirty="0" smtClean="0">
                          <a:solidFill>
                            <a:schemeClr val="tx1">
                              <a:lumMod val="65000"/>
                              <a:lumOff val="35000"/>
                            </a:schemeClr>
                          </a:solidFill>
                          <a:latin typeface="+mn-lt"/>
                        </a:rPr>
                        <a:t> </a:t>
                      </a:r>
                      <a:r>
                        <a:rPr lang="en-US" sz="1600" b="0" dirty="0" smtClean="0">
                          <a:solidFill>
                            <a:schemeClr val="tx1">
                              <a:lumMod val="65000"/>
                              <a:lumOff val="35000"/>
                            </a:schemeClr>
                          </a:solidFill>
                          <a:latin typeface="+mn-lt"/>
                        </a:rPr>
                        <a:t>other operation that returns a sufficiently small subset</a:t>
                      </a:r>
                      <a:r>
                        <a:rPr lang="en-US" sz="1600" b="0" baseline="0" dirty="0" smtClean="0">
                          <a:solidFill>
                            <a:schemeClr val="tx1">
                              <a:lumMod val="65000"/>
                              <a:lumOff val="35000"/>
                            </a:schemeClr>
                          </a:solidFill>
                          <a:latin typeface="+mn-lt"/>
                        </a:rPr>
                        <a:t> </a:t>
                      </a:r>
                      <a:r>
                        <a:rPr lang="en-US" sz="1600" b="0" dirty="0" smtClean="0">
                          <a:solidFill>
                            <a:schemeClr val="tx1">
                              <a:lumMod val="65000"/>
                              <a:lumOff val="35000"/>
                            </a:schemeClr>
                          </a:solidFill>
                          <a:latin typeface="+mn-lt"/>
                        </a:rPr>
                        <a:t>of the data</a:t>
                      </a:r>
                    </a:p>
                  </a:txBody>
                  <a:tcPr anchor="ctr"/>
                </a:tc>
              </a:tr>
              <a:tr h="581313">
                <a:tc>
                  <a:txBody>
                    <a:bodyPr/>
                    <a:lstStyle/>
                    <a:p>
                      <a:r>
                        <a:rPr lang="en-US" sz="1600" b="0" dirty="0" smtClean="0">
                          <a:solidFill>
                            <a:schemeClr val="tx1">
                              <a:lumMod val="65000"/>
                              <a:lumOff val="35000"/>
                            </a:schemeClr>
                          </a:solidFill>
                          <a:latin typeface="+mn-lt"/>
                        </a:rPr>
                        <a:t>first()</a:t>
                      </a:r>
                      <a:endParaRPr lang="en-US" sz="1600" b="0" dirty="0">
                        <a:solidFill>
                          <a:schemeClr val="tx1">
                            <a:lumMod val="65000"/>
                            <a:lumOff val="35000"/>
                          </a:schemeClr>
                        </a:solidFill>
                        <a:latin typeface="+mn-lt"/>
                      </a:endParaRPr>
                    </a:p>
                  </a:txBody>
                  <a:tcPr anchor="ctr"/>
                </a:tc>
                <a:tc>
                  <a:txBody>
                    <a:bodyPr/>
                    <a:lstStyle/>
                    <a:p>
                      <a:r>
                        <a:rPr lang="en-US" sz="1600" b="0" dirty="0" smtClean="0">
                          <a:solidFill>
                            <a:schemeClr val="tx1">
                              <a:lumMod val="65000"/>
                              <a:lumOff val="35000"/>
                            </a:schemeClr>
                          </a:solidFill>
                          <a:latin typeface="+mn-lt"/>
                        </a:rPr>
                        <a:t>return the first element of the dataset – similar to</a:t>
                      </a:r>
                      <a:r>
                        <a:rPr lang="en-US" sz="1600" b="0" baseline="0" dirty="0" smtClean="0">
                          <a:solidFill>
                            <a:schemeClr val="tx1">
                              <a:lumMod val="65000"/>
                              <a:lumOff val="35000"/>
                            </a:schemeClr>
                          </a:solidFill>
                          <a:latin typeface="+mn-lt"/>
                        </a:rPr>
                        <a:t> </a:t>
                      </a:r>
                      <a:r>
                        <a:rPr lang="en-US" sz="1600" b="0" i="1" dirty="0" smtClean="0">
                          <a:solidFill>
                            <a:schemeClr val="tx1">
                              <a:lumMod val="65000"/>
                              <a:lumOff val="35000"/>
                            </a:schemeClr>
                          </a:solidFill>
                          <a:latin typeface="+mn-lt"/>
                        </a:rPr>
                        <a:t>take(1)</a:t>
                      </a:r>
                    </a:p>
                    <a:p>
                      <a:endParaRPr lang="en-US" sz="1600" b="0" dirty="0">
                        <a:solidFill>
                          <a:schemeClr val="tx1">
                            <a:lumMod val="65000"/>
                            <a:lumOff val="35000"/>
                          </a:schemeClr>
                        </a:solidFill>
                        <a:latin typeface="+mn-lt"/>
                      </a:endParaRPr>
                    </a:p>
                  </a:txBody>
                  <a:tcPr anchor="ctr"/>
                </a:tc>
              </a:tr>
              <a:tr h="378097">
                <a:tc>
                  <a:txBody>
                    <a:bodyPr/>
                    <a:lstStyle/>
                    <a:p>
                      <a:pPr marL="0" marR="0" indent="0" algn="l" defTabSz="914367" rtl="0" eaLnBrk="1" fontAlgn="auto" latinLnBrk="0" hangingPunct="1">
                        <a:lnSpc>
                          <a:spcPct val="100000"/>
                        </a:lnSpc>
                        <a:spcBef>
                          <a:spcPts val="0"/>
                        </a:spcBef>
                        <a:spcAft>
                          <a:spcPts val="0"/>
                        </a:spcAft>
                        <a:buClrTx/>
                        <a:buSzTx/>
                        <a:buFontTx/>
                        <a:buNone/>
                        <a:tabLst/>
                        <a:defRPr/>
                      </a:pPr>
                      <a:r>
                        <a:rPr lang="en-US" sz="1600" b="0" dirty="0" smtClean="0">
                          <a:solidFill>
                            <a:schemeClr val="tx1">
                              <a:lumMod val="65000"/>
                              <a:lumOff val="35000"/>
                            </a:schemeClr>
                          </a:solidFill>
                          <a:latin typeface="+mn-lt"/>
                        </a:rPr>
                        <a:t>count()</a:t>
                      </a:r>
                    </a:p>
                  </a:txBody>
                  <a:tcPr anchor="ctr"/>
                </a:tc>
                <a:tc>
                  <a:txBody>
                    <a:bodyPr/>
                    <a:lstStyle/>
                    <a:p>
                      <a:r>
                        <a:rPr lang="en-US" sz="1600" b="0" dirty="0" smtClean="0">
                          <a:solidFill>
                            <a:schemeClr val="tx1">
                              <a:lumMod val="65000"/>
                              <a:lumOff val="35000"/>
                            </a:schemeClr>
                          </a:solidFill>
                          <a:latin typeface="+mn-lt"/>
                        </a:rPr>
                        <a:t>return the number of elements in the dataset</a:t>
                      </a:r>
                      <a:endParaRPr lang="en-US" sz="1600" b="0" dirty="0">
                        <a:solidFill>
                          <a:schemeClr val="tx1">
                            <a:lumMod val="65000"/>
                            <a:lumOff val="35000"/>
                          </a:schemeClr>
                        </a:solidFill>
                        <a:latin typeface="+mn-lt"/>
                      </a:endParaRPr>
                    </a:p>
                  </a:txBody>
                  <a:tcPr anchor="ctr"/>
                </a:tc>
              </a:tr>
              <a:tr h="767394">
                <a:tc>
                  <a:txBody>
                    <a:bodyPr/>
                    <a:lstStyle/>
                    <a:p>
                      <a:pPr marL="0" marR="0" indent="0" algn="l" defTabSz="914367" rtl="0" eaLnBrk="1" fontAlgn="auto" latinLnBrk="0" hangingPunct="1">
                        <a:lnSpc>
                          <a:spcPct val="100000"/>
                        </a:lnSpc>
                        <a:spcBef>
                          <a:spcPts val="0"/>
                        </a:spcBef>
                        <a:spcAft>
                          <a:spcPts val="0"/>
                        </a:spcAft>
                        <a:buClrTx/>
                        <a:buSzTx/>
                        <a:buFontTx/>
                        <a:buNone/>
                        <a:tabLst/>
                        <a:defRPr/>
                      </a:pPr>
                      <a:r>
                        <a:rPr lang="en-US" sz="1600" b="0" dirty="0" smtClean="0">
                          <a:solidFill>
                            <a:schemeClr val="tx1">
                              <a:lumMod val="65000"/>
                              <a:lumOff val="35000"/>
                            </a:schemeClr>
                          </a:solidFill>
                          <a:latin typeface="+mn-lt"/>
                        </a:rPr>
                        <a:t>take(</a:t>
                      </a:r>
                      <a:r>
                        <a:rPr lang="en-US" sz="1600" b="0" i="1" dirty="0" smtClean="0">
                          <a:solidFill>
                            <a:schemeClr val="tx1">
                              <a:lumMod val="65000"/>
                              <a:lumOff val="35000"/>
                            </a:schemeClr>
                          </a:solidFill>
                          <a:latin typeface="+mn-lt"/>
                        </a:rPr>
                        <a:t>n</a:t>
                      </a:r>
                      <a:r>
                        <a:rPr lang="en-US" sz="1600" b="0" dirty="0" smtClean="0">
                          <a:solidFill>
                            <a:schemeClr val="tx1">
                              <a:lumMod val="65000"/>
                              <a:lumOff val="35000"/>
                            </a:schemeClr>
                          </a:solidFill>
                          <a:latin typeface="+mn-lt"/>
                        </a:rPr>
                        <a:t>)</a:t>
                      </a:r>
                    </a:p>
                    <a:p>
                      <a:endParaRPr lang="en-US" sz="1600" b="0" dirty="0">
                        <a:solidFill>
                          <a:schemeClr val="tx1">
                            <a:lumMod val="65000"/>
                            <a:lumOff val="35000"/>
                          </a:schemeClr>
                        </a:solidFill>
                        <a:latin typeface="+mn-lt"/>
                      </a:endParaRPr>
                    </a:p>
                  </a:txBody>
                  <a:tcPr anchor="ctr"/>
                </a:tc>
                <a:tc>
                  <a:txBody>
                    <a:bodyPr/>
                    <a:lstStyle/>
                    <a:p>
                      <a:r>
                        <a:rPr lang="en-US" sz="1600" b="0" dirty="0" smtClean="0">
                          <a:solidFill>
                            <a:schemeClr val="tx1">
                              <a:lumMod val="65000"/>
                              <a:lumOff val="35000"/>
                            </a:schemeClr>
                          </a:solidFill>
                          <a:latin typeface="+mn-lt"/>
                        </a:rPr>
                        <a:t>return an array with the first </a:t>
                      </a:r>
                      <a:r>
                        <a:rPr lang="en-US" sz="1600" b="0" i="1" dirty="0" smtClean="0">
                          <a:solidFill>
                            <a:schemeClr val="tx1">
                              <a:lumMod val="65000"/>
                              <a:lumOff val="35000"/>
                            </a:schemeClr>
                          </a:solidFill>
                          <a:latin typeface="+mn-lt"/>
                        </a:rPr>
                        <a:t>n </a:t>
                      </a:r>
                      <a:r>
                        <a:rPr lang="en-US" sz="1600" b="0" dirty="0" smtClean="0">
                          <a:solidFill>
                            <a:schemeClr val="tx1">
                              <a:lumMod val="65000"/>
                              <a:lumOff val="35000"/>
                            </a:schemeClr>
                          </a:solidFill>
                          <a:latin typeface="+mn-lt"/>
                        </a:rPr>
                        <a:t>elements of the dataset</a:t>
                      </a:r>
                      <a:r>
                        <a:rPr lang="en-US" sz="1600" b="0" baseline="0" dirty="0" smtClean="0">
                          <a:solidFill>
                            <a:schemeClr val="tx1">
                              <a:lumMod val="65000"/>
                              <a:lumOff val="35000"/>
                            </a:schemeClr>
                          </a:solidFill>
                          <a:latin typeface="+mn-lt"/>
                        </a:rPr>
                        <a:t> </a:t>
                      </a:r>
                      <a:r>
                        <a:rPr lang="en-US" sz="1600" b="0" dirty="0" smtClean="0">
                          <a:solidFill>
                            <a:schemeClr val="tx1">
                              <a:lumMod val="65000"/>
                              <a:lumOff val="35000"/>
                            </a:schemeClr>
                          </a:solidFill>
                          <a:latin typeface="+mn-lt"/>
                        </a:rPr>
                        <a:t>– currently not executed in parallel, instead the driver</a:t>
                      </a:r>
                      <a:r>
                        <a:rPr lang="en-US" sz="1600" b="0" baseline="0" dirty="0" smtClean="0">
                          <a:solidFill>
                            <a:schemeClr val="tx1">
                              <a:lumMod val="65000"/>
                              <a:lumOff val="35000"/>
                            </a:schemeClr>
                          </a:solidFill>
                          <a:latin typeface="+mn-lt"/>
                        </a:rPr>
                        <a:t> </a:t>
                      </a:r>
                      <a:r>
                        <a:rPr lang="en-US" sz="1600" b="0" dirty="0" smtClean="0">
                          <a:solidFill>
                            <a:schemeClr val="tx1">
                              <a:lumMod val="65000"/>
                              <a:lumOff val="35000"/>
                            </a:schemeClr>
                          </a:solidFill>
                          <a:latin typeface="+mn-lt"/>
                        </a:rPr>
                        <a:t>program computes all the elements</a:t>
                      </a:r>
                    </a:p>
                  </a:txBody>
                  <a:tcPr anchor="ctr"/>
                </a:tc>
              </a:tr>
              <a:tr h="990640">
                <a:tc>
                  <a:txBody>
                    <a:bodyPr/>
                    <a:lstStyle/>
                    <a:p>
                      <a:r>
                        <a:rPr lang="en-US" sz="1600" b="0" dirty="0" smtClean="0">
                          <a:solidFill>
                            <a:schemeClr val="tx1">
                              <a:lumMod val="65000"/>
                              <a:lumOff val="35000"/>
                            </a:schemeClr>
                          </a:solidFill>
                          <a:latin typeface="+mn-lt"/>
                        </a:rPr>
                        <a:t>takeSample</a:t>
                      </a:r>
                    </a:p>
                    <a:p>
                      <a:r>
                        <a:rPr lang="en-US" sz="1600" b="0" dirty="0" smtClean="0">
                          <a:solidFill>
                            <a:schemeClr val="tx1">
                              <a:lumMod val="65000"/>
                              <a:lumOff val="35000"/>
                            </a:schemeClr>
                          </a:solidFill>
                          <a:latin typeface="+mn-lt"/>
                        </a:rPr>
                        <a:t>(</a:t>
                      </a:r>
                      <a:r>
                        <a:rPr lang="en-US" sz="1600" b="0" i="1" dirty="0" smtClean="0">
                          <a:solidFill>
                            <a:schemeClr val="tx1">
                              <a:lumMod val="65000"/>
                              <a:lumOff val="35000"/>
                            </a:schemeClr>
                          </a:solidFill>
                          <a:latin typeface="+mn-lt"/>
                        </a:rPr>
                        <a:t>withReplacement</a:t>
                      </a:r>
                      <a:r>
                        <a:rPr lang="en-US" sz="1600" b="0" dirty="0" smtClean="0">
                          <a:solidFill>
                            <a:schemeClr val="tx1">
                              <a:lumMod val="65000"/>
                              <a:lumOff val="35000"/>
                            </a:schemeClr>
                          </a:solidFill>
                          <a:latin typeface="+mn-lt"/>
                        </a:rPr>
                        <a:t>,</a:t>
                      </a:r>
                    </a:p>
                    <a:p>
                      <a:r>
                        <a:rPr lang="en-US" sz="1600" b="0" i="1" dirty="0" smtClean="0">
                          <a:solidFill>
                            <a:schemeClr val="tx1">
                              <a:lumMod val="65000"/>
                              <a:lumOff val="35000"/>
                            </a:schemeClr>
                          </a:solidFill>
                          <a:latin typeface="+mn-lt"/>
                        </a:rPr>
                        <a:t>fraction</a:t>
                      </a:r>
                      <a:r>
                        <a:rPr lang="en-US" sz="1600" b="0" dirty="0" smtClean="0">
                          <a:solidFill>
                            <a:schemeClr val="tx1">
                              <a:lumMod val="65000"/>
                              <a:lumOff val="35000"/>
                            </a:schemeClr>
                          </a:solidFill>
                          <a:latin typeface="+mn-lt"/>
                        </a:rPr>
                        <a:t>, </a:t>
                      </a:r>
                      <a:r>
                        <a:rPr lang="en-US" sz="1600" b="0" i="1" dirty="0" smtClean="0">
                          <a:solidFill>
                            <a:schemeClr val="tx1">
                              <a:lumMod val="65000"/>
                              <a:lumOff val="35000"/>
                            </a:schemeClr>
                          </a:solidFill>
                          <a:latin typeface="+mn-lt"/>
                        </a:rPr>
                        <a:t>seed</a:t>
                      </a:r>
                      <a:r>
                        <a:rPr lang="en-US" sz="1600" b="0" dirty="0" smtClean="0">
                          <a:solidFill>
                            <a:schemeClr val="tx1">
                              <a:lumMod val="65000"/>
                              <a:lumOff val="35000"/>
                            </a:schemeClr>
                          </a:solidFill>
                          <a:latin typeface="+mn-lt"/>
                        </a:rPr>
                        <a:t>)</a:t>
                      </a:r>
                    </a:p>
                  </a:txBody>
                  <a:tcPr anchor="ctr"/>
                </a:tc>
                <a:tc>
                  <a:txBody>
                    <a:bodyPr/>
                    <a:lstStyle/>
                    <a:p>
                      <a:r>
                        <a:rPr lang="en-US" sz="1600" b="0" dirty="0" smtClean="0">
                          <a:solidFill>
                            <a:schemeClr val="tx1">
                              <a:lumMod val="65000"/>
                              <a:lumOff val="35000"/>
                            </a:schemeClr>
                          </a:solidFill>
                          <a:latin typeface="+mn-lt"/>
                        </a:rPr>
                        <a:t>return an array with a random sample of </a:t>
                      </a:r>
                      <a:r>
                        <a:rPr lang="en-US" sz="1600" b="0" i="1" dirty="0" smtClean="0">
                          <a:solidFill>
                            <a:schemeClr val="tx1">
                              <a:lumMod val="65000"/>
                              <a:lumOff val="35000"/>
                            </a:schemeClr>
                          </a:solidFill>
                          <a:latin typeface="+mn-lt"/>
                        </a:rPr>
                        <a:t>num </a:t>
                      </a:r>
                      <a:r>
                        <a:rPr lang="en-US" sz="1600" b="0" dirty="0" smtClean="0">
                          <a:solidFill>
                            <a:schemeClr val="tx1">
                              <a:lumMod val="65000"/>
                              <a:lumOff val="35000"/>
                            </a:schemeClr>
                          </a:solidFill>
                          <a:latin typeface="+mn-lt"/>
                        </a:rPr>
                        <a:t>elements</a:t>
                      </a:r>
                      <a:r>
                        <a:rPr lang="en-US" sz="1600" b="0" baseline="0" dirty="0" smtClean="0">
                          <a:solidFill>
                            <a:schemeClr val="tx1">
                              <a:lumMod val="65000"/>
                              <a:lumOff val="35000"/>
                            </a:schemeClr>
                          </a:solidFill>
                          <a:latin typeface="+mn-lt"/>
                        </a:rPr>
                        <a:t> </a:t>
                      </a:r>
                      <a:r>
                        <a:rPr lang="en-US" sz="1600" b="0" dirty="0" smtClean="0">
                          <a:solidFill>
                            <a:schemeClr val="tx1">
                              <a:lumMod val="65000"/>
                              <a:lumOff val="35000"/>
                            </a:schemeClr>
                          </a:solidFill>
                          <a:latin typeface="+mn-lt"/>
                        </a:rPr>
                        <a:t>of the dataset, with or without replacement, using the</a:t>
                      </a:r>
                      <a:r>
                        <a:rPr lang="en-US" sz="1600" b="0" baseline="0" dirty="0" smtClean="0">
                          <a:solidFill>
                            <a:schemeClr val="tx1">
                              <a:lumMod val="65000"/>
                              <a:lumOff val="35000"/>
                            </a:schemeClr>
                          </a:solidFill>
                          <a:latin typeface="+mn-lt"/>
                        </a:rPr>
                        <a:t> </a:t>
                      </a:r>
                      <a:r>
                        <a:rPr lang="en-US" sz="1600" b="0" dirty="0" smtClean="0">
                          <a:solidFill>
                            <a:schemeClr val="tx1">
                              <a:lumMod val="65000"/>
                              <a:lumOff val="35000"/>
                            </a:schemeClr>
                          </a:solidFill>
                          <a:latin typeface="+mn-lt"/>
                        </a:rPr>
                        <a:t>given random number generator seed</a:t>
                      </a:r>
                    </a:p>
                  </a:txBody>
                  <a:tcPr anchor="ctr"/>
                </a:tc>
              </a:tr>
            </a:tbl>
          </a:graphicData>
        </a:graphic>
      </p:graphicFrame>
    </p:spTree>
    <p:extLst>
      <p:ext uri="{BB962C8B-B14F-4D97-AF65-F5344CB8AC3E}">
        <p14:creationId xmlns:p14="http://schemas.microsoft.com/office/powerpoint/2010/main" val="26828011"/>
      </p:ext>
    </p:extLst>
  </p:cSld>
  <p:clrMapOvr>
    <a:masterClrMapping/>
  </p:clrMapOvr>
  <p:transition spd="med">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DD Persistence Options</a:t>
            </a:r>
            <a:endParaRPr lang="en-US" dirty="0"/>
          </a:p>
        </p:txBody>
      </p:sp>
      <p:sp>
        <p:nvSpPr>
          <p:cNvPr id="3" name="Slide Number Placeholder 2"/>
          <p:cNvSpPr>
            <a:spLocks noGrp="1"/>
          </p:cNvSpPr>
          <p:nvPr>
            <p:ph type="sldNum" sz="quarter" idx="11"/>
          </p:nvPr>
        </p:nvSpPr>
        <p:spPr/>
        <p:txBody>
          <a:bodyPr/>
          <a:lstStyle/>
          <a:p>
            <a:pPr>
              <a:defRPr/>
            </a:pPr>
            <a:fld id="{F8A0AC42-AA1D-4944-8D96-660DE70C7E1B}" type="slidenum">
              <a:rPr lang="en-US" smtClean="0"/>
              <a:pPr>
                <a:defRPr/>
              </a:pPr>
              <a:t>22</a:t>
            </a:fld>
            <a:endParaRPr lang="en-US" dirty="0"/>
          </a:p>
        </p:txBody>
      </p:sp>
      <p:graphicFrame>
        <p:nvGraphicFramePr>
          <p:cNvPr id="4" name="Table 3"/>
          <p:cNvGraphicFramePr>
            <a:graphicFrameLocks noGrp="1"/>
          </p:cNvGraphicFramePr>
          <p:nvPr>
            <p:extLst>
              <p:ext uri="{D42A27DB-BD31-4B8C-83A1-F6EECF244321}">
                <p14:modId xmlns:p14="http://schemas.microsoft.com/office/powerpoint/2010/main" val="3170296858"/>
              </p:ext>
            </p:extLst>
          </p:nvPr>
        </p:nvGraphicFramePr>
        <p:xfrm>
          <a:off x="657490" y="1296705"/>
          <a:ext cx="10926500" cy="4740976"/>
        </p:xfrm>
        <a:graphic>
          <a:graphicData uri="http://schemas.openxmlformats.org/drawingml/2006/table">
            <a:tbl>
              <a:tblPr>
                <a:tableStyleId>{BC89EF96-8CEA-46FF-86C4-4CE0E7609802}</a:tableStyleId>
              </a:tblPr>
              <a:tblGrid>
                <a:gridCol w="2384383"/>
                <a:gridCol w="8542117"/>
              </a:tblGrid>
              <a:tr h="462988">
                <a:tc>
                  <a:txBody>
                    <a:bodyPr/>
                    <a:lstStyle/>
                    <a:p>
                      <a:pPr marL="0" algn="ctr" defTabSz="914367" rtl="0" eaLnBrk="1" fontAlgn="t" latinLnBrk="0" hangingPunct="1"/>
                      <a:r>
                        <a:rPr lang="en-US" sz="2400" kern="1200" dirty="0">
                          <a:solidFill>
                            <a:schemeClr val="bg1"/>
                          </a:solidFill>
                          <a:latin typeface="+mn-lt"/>
                          <a:ea typeface="+mn-ea"/>
                          <a:cs typeface="+mn-cs"/>
                        </a:rPr>
                        <a:t>Storage Level</a:t>
                      </a:r>
                    </a:p>
                  </a:txBody>
                  <a:tcPr marL="17327" marR="17327" marT="17327" marB="17327" anchor="ctr">
                    <a:lnB w="12700" cap="flat" cmpd="sng" algn="ctr">
                      <a:solidFill>
                        <a:schemeClr val="tx1"/>
                      </a:solidFill>
                      <a:prstDash val="solid"/>
                      <a:round/>
                      <a:headEnd type="none" w="med" len="med"/>
                      <a:tailEnd type="none" w="med" len="med"/>
                    </a:lnB>
                    <a:solidFill>
                      <a:schemeClr val="accent1"/>
                    </a:solidFill>
                  </a:tcPr>
                </a:tc>
                <a:tc>
                  <a:txBody>
                    <a:bodyPr/>
                    <a:lstStyle/>
                    <a:p>
                      <a:pPr marL="0" algn="ctr" defTabSz="914367" rtl="0" eaLnBrk="1" fontAlgn="t" latinLnBrk="0" hangingPunct="1"/>
                      <a:r>
                        <a:rPr lang="en-US" sz="2400" kern="1200" dirty="0">
                          <a:solidFill>
                            <a:schemeClr val="bg1"/>
                          </a:solidFill>
                          <a:latin typeface="+mn-lt"/>
                          <a:ea typeface="+mn-ea"/>
                          <a:cs typeface="+mn-cs"/>
                        </a:rPr>
                        <a:t>Meaning</a:t>
                      </a:r>
                    </a:p>
                  </a:txBody>
                  <a:tcPr marL="17327" marR="17327" marT="17327" marB="17327" anchor="ctr">
                    <a:lnB w="12700" cap="flat" cmpd="sng" algn="ctr">
                      <a:solidFill>
                        <a:schemeClr val="tx1"/>
                      </a:solidFill>
                      <a:prstDash val="solid"/>
                      <a:round/>
                      <a:headEnd type="none" w="med" len="med"/>
                      <a:tailEnd type="none" w="med" len="med"/>
                    </a:lnB>
                    <a:solidFill>
                      <a:schemeClr val="accent1"/>
                    </a:solidFill>
                  </a:tcPr>
                </a:tc>
              </a:tr>
              <a:tr h="785703">
                <a:tc>
                  <a:txBody>
                    <a:bodyPr/>
                    <a:lstStyle/>
                    <a:p>
                      <a:pPr marL="0" algn="l" defTabSz="914367" rtl="0" eaLnBrk="1" fontAlgn="t" latinLnBrk="0" hangingPunct="1"/>
                      <a:r>
                        <a:rPr lang="en-US" sz="1500" kern="1200" dirty="0">
                          <a:solidFill>
                            <a:schemeClr val="tx1">
                              <a:lumMod val="65000"/>
                              <a:lumOff val="35000"/>
                            </a:schemeClr>
                          </a:solidFill>
                          <a:latin typeface="+mn-lt"/>
                          <a:ea typeface="+mn-ea"/>
                          <a:cs typeface="+mn-cs"/>
                        </a:rPr>
                        <a:t>MEMORY_ONLY</a:t>
                      </a:r>
                    </a:p>
                  </a:txBody>
                  <a:tcPr marL="17327" marR="17327" marT="17327" marB="1732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274320" algn="l" defTabSz="914367" rtl="0" eaLnBrk="1" fontAlgn="t" latinLnBrk="0" hangingPunct="1"/>
                      <a:r>
                        <a:rPr lang="en-US" sz="1500" kern="1200" dirty="0">
                          <a:solidFill>
                            <a:schemeClr val="tx1">
                              <a:lumMod val="65000"/>
                              <a:lumOff val="35000"/>
                            </a:schemeClr>
                          </a:solidFill>
                          <a:latin typeface="+mn-lt"/>
                          <a:ea typeface="+mn-ea"/>
                          <a:cs typeface="+mn-cs"/>
                        </a:rPr>
                        <a:t>Store RDD as deserialized Java objects in the JVM. If the RDD does not fit in memory, some partitions will not be cached and will be recomputed on the fly each time they're needed. This is the default level.</a:t>
                      </a:r>
                    </a:p>
                  </a:txBody>
                  <a:tcPr marL="17327" marR="17327" marT="17327" marB="1732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712768">
                <a:tc>
                  <a:txBody>
                    <a:bodyPr/>
                    <a:lstStyle/>
                    <a:p>
                      <a:pPr marL="0" algn="l" defTabSz="914367" rtl="0" eaLnBrk="1" fontAlgn="t" latinLnBrk="0" hangingPunct="1"/>
                      <a:r>
                        <a:rPr lang="en-US" sz="1500" kern="1200" dirty="0">
                          <a:solidFill>
                            <a:schemeClr val="tx1">
                              <a:lumMod val="65000"/>
                              <a:lumOff val="35000"/>
                            </a:schemeClr>
                          </a:solidFill>
                          <a:latin typeface="+mn-lt"/>
                          <a:ea typeface="+mn-ea"/>
                          <a:cs typeface="+mn-cs"/>
                        </a:rPr>
                        <a:t>MEMORY_AND_DISK</a:t>
                      </a:r>
                    </a:p>
                  </a:txBody>
                  <a:tcPr marL="17327" marR="17327" marT="17327" marB="1732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274320" algn="l" defTabSz="914367" rtl="0" eaLnBrk="1" fontAlgn="t" latinLnBrk="0" hangingPunct="1"/>
                      <a:r>
                        <a:rPr lang="en-US" sz="1500" kern="1200" dirty="0">
                          <a:solidFill>
                            <a:schemeClr val="tx1">
                              <a:lumMod val="65000"/>
                              <a:lumOff val="35000"/>
                            </a:schemeClr>
                          </a:solidFill>
                          <a:latin typeface="+mn-lt"/>
                          <a:ea typeface="+mn-ea"/>
                          <a:cs typeface="+mn-cs"/>
                        </a:rPr>
                        <a:t>Store RDD as deserialized Java objects in the JVM. If the RDD does not fit in memory, store the partitions that don't fit on disk, and read them from there when they're needed.</a:t>
                      </a:r>
                    </a:p>
                  </a:txBody>
                  <a:tcPr marL="17327" marR="17327" marT="17327" marB="1732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r>
              <a:tr h="885384">
                <a:tc>
                  <a:txBody>
                    <a:bodyPr/>
                    <a:lstStyle/>
                    <a:p>
                      <a:pPr marL="0" algn="l" defTabSz="914367" rtl="0" eaLnBrk="1" fontAlgn="t" latinLnBrk="0" hangingPunct="1"/>
                      <a:r>
                        <a:rPr lang="en-US" sz="1500" kern="1200" dirty="0">
                          <a:solidFill>
                            <a:schemeClr val="tx1">
                              <a:lumMod val="65000"/>
                              <a:lumOff val="35000"/>
                            </a:schemeClr>
                          </a:solidFill>
                          <a:latin typeface="+mn-lt"/>
                          <a:ea typeface="+mn-ea"/>
                          <a:cs typeface="+mn-cs"/>
                        </a:rPr>
                        <a:t>MEMORY_ONLY_SER</a:t>
                      </a:r>
                    </a:p>
                  </a:txBody>
                  <a:tcPr marL="17327" marR="17327" marT="17327" marB="1732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274320" algn="l" defTabSz="914367" rtl="0" eaLnBrk="1" fontAlgn="t" latinLnBrk="0" hangingPunct="1"/>
                      <a:r>
                        <a:rPr lang="en-US" sz="1500" kern="1200" dirty="0">
                          <a:solidFill>
                            <a:schemeClr val="tx1">
                              <a:lumMod val="65000"/>
                              <a:lumOff val="35000"/>
                            </a:schemeClr>
                          </a:solidFill>
                          <a:latin typeface="+mn-lt"/>
                          <a:ea typeface="+mn-ea"/>
                          <a:cs typeface="+mn-cs"/>
                        </a:rPr>
                        <a:t>Store RDD as serialized Java objects (one byte array per partition). This is generally more space-efficient than deserialized objects, especially when using a </a:t>
                      </a:r>
                      <a:r>
                        <a:rPr lang="en-US" sz="1500" kern="1200" dirty="0">
                          <a:solidFill>
                            <a:schemeClr val="tx1">
                              <a:lumMod val="65000"/>
                              <a:lumOff val="35000"/>
                            </a:schemeClr>
                          </a:solidFill>
                          <a:latin typeface="+mn-lt"/>
                          <a:ea typeface="+mn-ea"/>
                          <a:cs typeface="+mn-cs"/>
                          <a:hlinkClick r:id="rId2"/>
                        </a:rPr>
                        <a:t>fast serializer</a:t>
                      </a:r>
                      <a:r>
                        <a:rPr lang="en-US" sz="1500" kern="1200" dirty="0">
                          <a:solidFill>
                            <a:schemeClr val="tx1">
                              <a:lumMod val="65000"/>
                              <a:lumOff val="35000"/>
                            </a:schemeClr>
                          </a:solidFill>
                          <a:latin typeface="+mn-lt"/>
                          <a:ea typeface="+mn-ea"/>
                          <a:cs typeface="+mn-cs"/>
                        </a:rPr>
                        <a:t>, but more CPU-intensive to read.</a:t>
                      </a:r>
                    </a:p>
                  </a:txBody>
                  <a:tcPr marL="17327" marR="17327" marT="17327" marB="1732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646663">
                <a:tc>
                  <a:txBody>
                    <a:bodyPr/>
                    <a:lstStyle/>
                    <a:p>
                      <a:pPr marL="0" algn="l" defTabSz="914367" rtl="0" eaLnBrk="1" fontAlgn="t" latinLnBrk="0" hangingPunct="1"/>
                      <a:r>
                        <a:rPr lang="en-US" sz="1500" kern="1200" dirty="0">
                          <a:solidFill>
                            <a:schemeClr val="tx1">
                              <a:lumMod val="65000"/>
                              <a:lumOff val="35000"/>
                            </a:schemeClr>
                          </a:solidFill>
                          <a:latin typeface="+mn-lt"/>
                          <a:ea typeface="+mn-ea"/>
                          <a:cs typeface="+mn-cs"/>
                        </a:rPr>
                        <a:t>MEMORY_AND_DISK_SER</a:t>
                      </a:r>
                    </a:p>
                  </a:txBody>
                  <a:tcPr marL="17327" marR="17327" marT="17327" marB="1732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274320" algn="l" defTabSz="914367" rtl="0" eaLnBrk="1" fontAlgn="t" latinLnBrk="0" hangingPunct="1"/>
                      <a:r>
                        <a:rPr lang="en-US" sz="1500" kern="1200" dirty="0">
                          <a:solidFill>
                            <a:schemeClr val="tx1">
                              <a:lumMod val="65000"/>
                              <a:lumOff val="35000"/>
                            </a:schemeClr>
                          </a:solidFill>
                          <a:latin typeface="+mn-lt"/>
                          <a:ea typeface="+mn-ea"/>
                          <a:cs typeface="+mn-cs"/>
                        </a:rPr>
                        <a:t>Similar to MEMORY_ONLY_SER, but spill partitions that don't fit in memory to disk instead of recomputing them on the fly each time they're needed.</a:t>
                      </a:r>
                    </a:p>
                  </a:txBody>
                  <a:tcPr marL="17327" marR="17327" marT="17327" marB="1732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r>
              <a:tr h="558756">
                <a:tc>
                  <a:txBody>
                    <a:bodyPr/>
                    <a:lstStyle/>
                    <a:p>
                      <a:pPr marL="0" algn="l" defTabSz="914367" rtl="0" eaLnBrk="1" fontAlgn="t" latinLnBrk="0" hangingPunct="1"/>
                      <a:r>
                        <a:rPr lang="en-US" sz="1500" kern="1200" dirty="0">
                          <a:solidFill>
                            <a:schemeClr val="tx1">
                              <a:lumMod val="65000"/>
                              <a:lumOff val="35000"/>
                            </a:schemeClr>
                          </a:solidFill>
                          <a:latin typeface="+mn-lt"/>
                          <a:ea typeface="+mn-ea"/>
                          <a:cs typeface="+mn-cs"/>
                        </a:rPr>
                        <a:t>DISK_ONLY</a:t>
                      </a:r>
                    </a:p>
                  </a:txBody>
                  <a:tcPr marL="17327" marR="17327" marT="17327" marB="1732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274320" algn="l" defTabSz="914367" rtl="0" eaLnBrk="1" fontAlgn="t" latinLnBrk="0" hangingPunct="1"/>
                      <a:r>
                        <a:rPr lang="en-US" sz="1500" kern="1200" dirty="0">
                          <a:solidFill>
                            <a:schemeClr val="tx1">
                              <a:lumMod val="65000"/>
                              <a:lumOff val="35000"/>
                            </a:schemeClr>
                          </a:solidFill>
                          <a:latin typeface="+mn-lt"/>
                          <a:ea typeface="+mn-ea"/>
                          <a:cs typeface="+mn-cs"/>
                        </a:rPr>
                        <a:t>Store the RDD partitions only on disk.</a:t>
                      </a:r>
                    </a:p>
                  </a:txBody>
                  <a:tcPr marL="17327" marR="17327" marT="17327" marB="1732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688714">
                <a:tc>
                  <a:txBody>
                    <a:bodyPr/>
                    <a:lstStyle/>
                    <a:p>
                      <a:pPr marL="0" algn="l" defTabSz="914367" rtl="0" eaLnBrk="1" fontAlgn="t" latinLnBrk="0" hangingPunct="1"/>
                      <a:r>
                        <a:rPr lang="en-US" sz="1500" kern="1200" dirty="0">
                          <a:solidFill>
                            <a:schemeClr val="tx1">
                              <a:lumMod val="65000"/>
                              <a:lumOff val="35000"/>
                            </a:schemeClr>
                          </a:solidFill>
                          <a:latin typeface="+mn-lt"/>
                          <a:ea typeface="+mn-ea"/>
                          <a:cs typeface="+mn-cs"/>
                        </a:rPr>
                        <a:t>MEMORY_ONLY_2, MEMORY_AND_DISK_2, etc.</a:t>
                      </a:r>
                    </a:p>
                  </a:txBody>
                  <a:tcPr marL="17327" marR="17327" marT="17327" marB="1732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274320" algn="l" defTabSz="914367" rtl="0" eaLnBrk="1" fontAlgn="t" latinLnBrk="0" hangingPunct="1"/>
                      <a:r>
                        <a:rPr lang="en-US" sz="1500" kern="1200" dirty="0">
                          <a:solidFill>
                            <a:schemeClr val="tx1">
                              <a:lumMod val="65000"/>
                              <a:lumOff val="35000"/>
                            </a:schemeClr>
                          </a:solidFill>
                          <a:latin typeface="+mn-lt"/>
                          <a:ea typeface="+mn-ea"/>
                          <a:cs typeface="+mn-cs"/>
                        </a:rPr>
                        <a:t>Same as the levels above, but replicate each partition on two cluster nodes.</a:t>
                      </a:r>
                    </a:p>
                  </a:txBody>
                  <a:tcPr marL="17327" marR="17327" marT="17327" marB="1732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r>
            </a:tbl>
          </a:graphicData>
        </a:graphic>
      </p:graphicFrame>
    </p:spTree>
    <p:extLst>
      <p:ext uri="{BB962C8B-B14F-4D97-AF65-F5344CB8AC3E}">
        <p14:creationId xmlns:p14="http://schemas.microsoft.com/office/powerpoint/2010/main" val="7269941"/>
      </p:ext>
    </p:extLst>
  </p:cSld>
  <p:clrMapOvr>
    <a:masterClrMapping/>
  </p:clrMapOvr>
  <p:transition spd="med">
    <p:fad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re Concept: Accumulators</a:t>
            </a:r>
            <a:endParaRPr lang="en-US" dirty="0"/>
          </a:p>
        </p:txBody>
      </p:sp>
      <p:sp>
        <p:nvSpPr>
          <p:cNvPr id="3" name="Slide Number Placeholder 2"/>
          <p:cNvSpPr>
            <a:spLocks noGrp="1"/>
          </p:cNvSpPr>
          <p:nvPr>
            <p:ph type="sldNum" sz="quarter" idx="11"/>
          </p:nvPr>
        </p:nvSpPr>
        <p:spPr/>
        <p:txBody>
          <a:bodyPr/>
          <a:lstStyle/>
          <a:p>
            <a:pPr>
              <a:defRPr/>
            </a:pPr>
            <a:fld id="{F8A0AC42-AA1D-4944-8D96-660DE70C7E1B}" type="slidenum">
              <a:rPr lang="en-US" smtClean="0"/>
              <a:pPr>
                <a:defRPr/>
              </a:pPr>
              <a:t>23</a:t>
            </a:fld>
            <a:endParaRPr lang="en-US" dirty="0"/>
          </a:p>
        </p:txBody>
      </p:sp>
      <p:sp>
        <p:nvSpPr>
          <p:cNvPr id="4" name="TextBox 3"/>
          <p:cNvSpPr txBox="1"/>
          <p:nvPr/>
        </p:nvSpPr>
        <p:spPr>
          <a:xfrm>
            <a:off x="492943" y="1733601"/>
            <a:ext cx="10874222" cy="3010055"/>
          </a:xfrm>
          <a:prstGeom prst="rect">
            <a:avLst/>
          </a:prstGeom>
        </p:spPr>
        <p:txBody>
          <a:bodyPr wrap="square">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2"/>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lvl="1">
              <a:spcBef>
                <a:spcPts val="1200"/>
              </a:spcBef>
              <a:spcAft>
                <a:spcPts val="1200"/>
              </a:spcAft>
            </a:pPr>
            <a:r>
              <a:rPr lang="en-US" sz="2400" dirty="0" smtClean="0"/>
              <a:t>Accumulators </a:t>
            </a:r>
            <a:r>
              <a:rPr lang="en-US" sz="2400" dirty="0"/>
              <a:t>are variables that can only </a:t>
            </a:r>
            <a:r>
              <a:rPr lang="en-US" sz="2400" dirty="0" smtClean="0"/>
              <a:t>be “added</a:t>
            </a:r>
            <a:r>
              <a:rPr lang="en-US" sz="2400" dirty="0"/>
              <a:t>” to through an </a:t>
            </a:r>
            <a:r>
              <a:rPr lang="en-US" sz="2400" i="1" dirty="0"/>
              <a:t>associative </a:t>
            </a:r>
            <a:r>
              <a:rPr lang="en-US" sz="2400" dirty="0" smtClean="0"/>
              <a:t>operation</a:t>
            </a:r>
          </a:p>
          <a:p>
            <a:pPr lvl="1">
              <a:spcBef>
                <a:spcPts val="1200"/>
              </a:spcBef>
              <a:spcAft>
                <a:spcPts val="1200"/>
              </a:spcAft>
            </a:pPr>
            <a:r>
              <a:rPr lang="en-US" sz="2400" dirty="0" smtClean="0"/>
              <a:t>Used </a:t>
            </a:r>
            <a:r>
              <a:rPr lang="en-US" sz="2400" dirty="0"/>
              <a:t>to implement counters and </a:t>
            </a:r>
            <a:r>
              <a:rPr lang="en-US" sz="2400" dirty="0" smtClean="0"/>
              <a:t>sums, efficiently </a:t>
            </a:r>
            <a:r>
              <a:rPr lang="en-US" sz="2400" dirty="0"/>
              <a:t>in </a:t>
            </a:r>
            <a:r>
              <a:rPr lang="en-US" sz="2400" dirty="0" smtClean="0"/>
              <a:t>parallel</a:t>
            </a:r>
          </a:p>
          <a:p>
            <a:pPr lvl="1">
              <a:spcBef>
                <a:spcPts val="1200"/>
              </a:spcBef>
              <a:spcAft>
                <a:spcPts val="1200"/>
              </a:spcAft>
            </a:pPr>
            <a:r>
              <a:rPr lang="en-US" sz="2400" dirty="0" smtClean="0"/>
              <a:t>Spark </a:t>
            </a:r>
            <a:r>
              <a:rPr lang="en-US" sz="2400" dirty="0"/>
              <a:t>natively supports accumulators </a:t>
            </a:r>
            <a:r>
              <a:rPr lang="en-US" sz="2400" dirty="0" smtClean="0"/>
              <a:t>of numeric </a:t>
            </a:r>
            <a:r>
              <a:rPr lang="en-US" sz="2400" dirty="0"/>
              <a:t>value types and standard </a:t>
            </a:r>
            <a:r>
              <a:rPr lang="en-US" sz="2400" dirty="0" smtClean="0"/>
              <a:t>mutable collections</a:t>
            </a:r>
            <a:r>
              <a:rPr lang="en-US" sz="2400" dirty="0"/>
              <a:t>, and programmers can </a:t>
            </a:r>
            <a:r>
              <a:rPr lang="en-US" sz="2400" dirty="0" smtClean="0"/>
              <a:t>extend for </a:t>
            </a:r>
            <a:r>
              <a:rPr lang="en-US" sz="2400" dirty="0"/>
              <a:t>new </a:t>
            </a:r>
            <a:r>
              <a:rPr lang="en-US" sz="2400" dirty="0" smtClean="0"/>
              <a:t>types</a:t>
            </a:r>
          </a:p>
          <a:p>
            <a:pPr lvl="1">
              <a:spcBef>
                <a:spcPts val="1200"/>
              </a:spcBef>
              <a:spcAft>
                <a:spcPts val="1200"/>
              </a:spcAft>
            </a:pPr>
            <a:r>
              <a:rPr lang="en-US" sz="2400" dirty="0" smtClean="0"/>
              <a:t>Only </a:t>
            </a:r>
            <a:r>
              <a:rPr lang="en-US" sz="2400" dirty="0"/>
              <a:t>the driver program can read </a:t>
            </a:r>
            <a:r>
              <a:rPr lang="en-US" sz="2400" dirty="0" smtClean="0"/>
              <a:t>an accumulator’s </a:t>
            </a:r>
            <a:r>
              <a:rPr lang="en-US" sz="2400" dirty="0"/>
              <a:t>value, not the tasks</a:t>
            </a:r>
            <a:endParaRPr lang="en-US" sz="2400" dirty="0">
              <a:ln>
                <a:solidFill>
                  <a:srgbClr val="FFFFFF">
                    <a:alpha val="0"/>
                  </a:srgbClr>
                </a:solidFill>
              </a:ln>
              <a:gradFill>
                <a:gsLst>
                  <a:gs pos="85321">
                    <a:srgbClr val="505050"/>
                  </a:gs>
                  <a:gs pos="57000">
                    <a:srgbClr val="505050"/>
                  </a:gs>
                </a:gsLst>
              </a:gradFill>
            </a:endParaRPr>
          </a:p>
        </p:txBody>
      </p:sp>
    </p:spTree>
    <p:extLst>
      <p:ext uri="{BB962C8B-B14F-4D97-AF65-F5344CB8AC3E}">
        <p14:creationId xmlns:p14="http://schemas.microsoft.com/office/powerpoint/2010/main" val="2061433364"/>
      </p:ext>
    </p:extLst>
  </p:cSld>
  <p:clrMapOvr>
    <a:masterClrMapping/>
  </p:clrMapOvr>
  <p:transition spd="med">
    <p:fad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bwMode="auto">
          <a:xfrm>
            <a:off x="1" y="973"/>
            <a:ext cx="5220356" cy="6857027"/>
          </a:xfrm>
          <a:prstGeom prst="rect">
            <a:avLst/>
          </a:prstGeom>
          <a:solidFill>
            <a:srgbClr val="68217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8927" tIns="143428"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endParaRPr lang="en-US" sz="5294" dirty="0">
              <a:solidFill>
                <a:srgbClr val="FFFFFF"/>
              </a:solidFill>
              <a:latin typeface="Segoe UI Light"/>
              <a:ea typeface="Segoe UI" pitchFamily="34" charset="0"/>
              <a:cs typeface="Segoe UI" pitchFamily="34" charset="0"/>
            </a:endParaRPr>
          </a:p>
          <a:p>
            <a:pPr defTabSz="914102" fontAlgn="base">
              <a:lnSpc>
                <a:spcPct val="90000"/>
              </a:lnSpc>
              <a:spcBef>
                <a:spcPct val="0"/>
              </a:spcBef>
              <a:spcAft>
                <a:spcPct val="0"/>
              </a:spcAft>
            </a:pPr>
            <a:endParaRPr lang="en-US" sz="5294" dirty="0">
              <a:solidFill>
                <a:srgbClr val="FFFFFF"/>
              </a:solidFill>
              <a:latin typeface="Segoe UI Light"/>
              <a:ea typeface="Segoe UI" pitchFamily="34" charset="0"/>
              <a:cs typeface="Segoe UI" pitchFamily="34" charset="0"/>
            </a:endParaRPr>
          </a:p>
        </p:txBody>
      </p:sp>
      <p:sp>
        <p:nvSpPr>
          <p:cNvPr id="5" name="Rectangle 4"/>
          <p:cNvSpPr/>
          <p:nvPr/>
        </p:nvSpPr>
        <p:spPr bwMode="auto">
          <a:xfrm>
            <a:off x="1" y="6319659"/>
            <a:ext cx="5220356" cy="537855"/>
          </a:xfrm>
          <a:prstGeom prst="rect">
            <a:avLst/>
          </a:prstGeom>
          <a:solidFill>
            <a:schemeClr val="accent3">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endParaRPr lang="en-US" sz="2353" kern="0" dirty="0">
              <a:ln>
                <a:solidFill>
                  <a:srgbClr val="FFFFFF">
                    <a:alpha val="0"/>
                  </a:srgbClr>
                </a:solidFill>
              </a:ln>
              <a:solidFill>
                <a:srgbClr val="FFFFFF"/>
              </a:solidFill>
              <a:latin typeface="Segoe UI Semibold" panose="020B0702040204020203" pitchFamily="34" charset="0"/>
              <a:ea typeface="MS PGothic" charset="0"/>
              <a:cs typeface="Segoe UI Semibold" panose="020B0702040204020203" pitchFamily="34" charset="0"/>
            </a:endParaRPr>
          </a:p>
        </p:txBody>
      </p:sp>
      <p:sp>
        <p:nvSpPr>
          <p:cNvPr id="6" name="Freeform 5"/>
          <p:cNvSpPr>
            <a:spLocks/>
          </p:cNvSpPr>
          <p:nvPr/>
        </p:nvSpPr>
        <p:spPr bwMode="auto">
          <a:xfrm flipH="1">
            <a:off x="2619107" y="4183803"/>
            <a:ext cx="2601249" cy="2135857"/>
          </a:xfrm>
          <a:custGeom>
            <a:avLst/>
            <a:gdLst>
              <a:gd name="connsiteX0" fmla="*/ 603413 w 1090712"/>
              <a:gd name="connsiteY0" fmla="*/ 721327 h 895572"/>
              <a:gd name="connsiteX1" fmla="*/ 578466 w 1090712"/>
              <a:gd name="connsiteY1" fmla="*/ 770746 h 895572"/>
              <a:gd name="connsiteX2" fmla="*/ 553519 w 1090712"/>
              <a:gd name="connsiteY2" fmla="*/ 818264 h 895572"/>
              <a:gd name="connsiteX3" fmla="*/ 528334 w 1090712"/>
              <a:gd name="connsiteY3" fmla="*/ 865069 h 895572"/>
              <a:gd name="connsiteX4" fmla="*/ 511825 w 1090712"/>
              <a:gd name="connsiteY4" fmla="*/ 895572 h 895572"/>
              <a:gd name="connsiteX5" fmla="*/ 624528 w 1090712"/>
              <a:gd name="connsiteY5" fmla="*/ 895572 h 895572"/>
              <a:gd name="connsiteX6" fmla="*/ 624796 w 1090712"/>
              <a:gd name="connsiteY6" fmla="*/ 894768 h 895572"/>
              <a:gd name="connsiteX7" fmla="*/ 625271 w 1090712"/>
              <a:gd name="connsiteY7" fmla="*/ 891679 h 895572"/>
              <a:gd name="connsiteX8" fmla="*/ 625747 w 1090712"/>
              <a:gd name="connsiteY8" fmla="*/ 889066 h 895572"/>
              <a:gd name="connsiteX9" fmla="*/ 625747 w 1090712"/>
              <a:gd name="connsiteY9" fmla="*/ 860555 h 895572"/>
              <a:gd name="connsiteX10" fmla="*/ 624796 w 1090712"/>
              <a:gd name="connsiteY10" fmla="*/ 833945 h 895572"/>
              <a:gd name="connsiteX11" fmla="*/ 624321 w 1090712"/>
              <a:gd name="connsiteY11" fmla="*/ 820877 h 895572"/>
              <a:gd name="connsiteX12" fmla="*/ 623608 w 1090712"/>
              <a:gd name="connsiteY12" fmla="*/ 808047 h 895572"/>
              <a:gd name="connsiteX13" fmla="*/ 621708 w 1090712"/>
              <a:gd name="connsiteY13" fmla="*/ 795218 h 895572"/>
              <a:gd name="connsiteX14" fmla="*/ 620044 w 1090712"/>
              <a:gd name="connsiteY14" fmla="*/ 782625 h 895572"/>
              <a:gd name="connsiteX15" fmla="*/ 616005 w 1090712"/>
              <a:gd name="connsiteY15" fmla="*/ 766707 h 895572"/>
              <a:gd name="connsiteX16" fmla="*/ 611966 w 1090712"/>
              <a:gd name="connsiteY16" fmla="*/ 751976 h 895572"/>
              <a:gd name="connsiteX17" fmla="*/ 607452 w 1090712"/>
              <a:gd name="connsiteY17" fmla="*/ 737245 h 895572"/>
              <a:gd name="connsiteX18" fmla="*/ 698212 w 1090712"/>
              <a:gd name="connsiteY18" fmla="*/ 530778 h 895572"/>
              <a:gd name="connsiteX19" fmla="*/ 693460 w 1090712"/>
              <a:gd name="connsiteY19" fmla="*/ 534818 h 895572"/>
              <a:gd name="connsiteX20" fmla="*/ 688471 w 1090712"/>
              <a:gd name="connsiteY20" fmla="*/ 538857 h 895572"/>
              <a:gd name="connsiteX21" fmla="*/ 678254 w 1090712"/>
              <a:gd name="connsiteY21" fmla="*/ 546935 h 895572"/>
              <a:gd name="connsiteX22" fmla="*/ 669226 w 1090712"/>
              <a:gd name="connsiteY22" fmla="*/ 553587 h 895572"/>
              <a:gd name="connsiteX23" fmla="*/ 663048 w 1090712"/>
              <a:gd name="connsiteY23" fmla="*/ 558814 h 895572"/>
              <a:gd name="connsiteX24" fmla="*/ 663048 w 1090712"/>
              <a:gd name="connsiteY24" fmla="*/ 556676 h 895572"/>
              <a:gd name="connsiteX25" fmla="*/ 663523 w 1090712"/>
              <a:gd name="connsiteY25" fmla="*/ 554538 h 895572"/>
              <a:gd name="connsiteX26" fmla="*/ 665424 w 1090712"/>
              <a:gd name="connsiteY26" fmla="*/ 550498 h 895572"/>
              <a:gd name="connsiteX27" fmla="*/ 668038 w 1090712"/>
              <a:gd name="connsiteY27" fmla="*/ 546459 h 895572"/>
              <a:gd name="connsiteX28" fmla="*/ 671602 w 1090712"/>
              <a:gd name="connsiteY28" fmla="*/ 542420 h 895572"/>
              <a:gd name="connsiteX29" fmla="*/ 676829 w 1090712"/>
              <a:gd name="connsiteY29" fmla="*/ 538857 h 895572"/>
              <a:gd name="connsiteX30" fmla="*/ 682768 w 1090712"/>
              <a:gd name="connsiteY30" fmla="*/ 535768 h 895572"/>
              <a:gd name="connsiteX31" fmla="*/ 689896 w 1090712"/>
              <a:gd name="connsiteY31" fmla="*/ 533154 h 895572"/>
              <a:gd name="connsiteX32" fmla="*/ 654257 w 1090712"/>
              <a:gd name="connsiteY32" fmla="*/ 302216 h 895572"/>
              <a:gd name="connsiteX33" fmla="*/ 651882 w 1090712"/>
              <a:gd name="connsiteY33" fmla="*/ 302691 h 895572"/>
              <a:gd name="connsiteX34" fmla="*/ 649268 w 1090712"/>
              <a:gd name="connsiteY34" fmla="*/ 303166 h 895572"/>
              <a:gd name="connsiteX35" fmla="*/ 647130 w 1090712"/>
              <a:gd name="connsiteY35" fmla="*/ 304354 h 895572"/>
              <a:gd name="connsiteX36" fmla="*/ 644516 w 1090712"/>
              <a:gd name="connsiteY36" fmla="*/ 306255 h 895572"/>
              <a:gd name="connsiteX37" fmla="*/ 642140 w 1090712"/>
              <a:gd name="connsiteY37" fmla="*/ 307918 h 895572"/>
              <a:gd name="connsiteX38" fmla="*/ 640002 w 1090712"/>
              <a:gd name="connsiteY38" fmla="*/ 310294 h 895572"/>
              <a:gd name="connsiteX39" fmla="*/ 638101 w 1090712"/>
              <a:gd name="connsiteY39" fmla="*/ 312432 h 895572"/>
              <a:gd name="connsiteX40" fmla="*/ 636913 w 1090712"/>
              <a:gd name="connsiteY40" fmla="*/ 314571 h 895572"/>
              <a:gd name="connsiteX41" fmla="*/ 635963 w 1090712"/>
              <a:gd name="connsiteY41" fmla="*/ 316946 h 895572"/>
              <a:gd name="connsiteX42" fmla="*/ 635963 w 1090712"/>
              <a:gd name="connsiteY42" fmla="*/ 319085 h 895572"/>
              <a:gd name="connsiteX43" fmla="*/ 636913 w 1090712"/>
              <a:gd name="connsiteY43" fmla="*/ 321223 h 895572"/>
              <a:gd name="connsiteX44" fmla="*/ 637626 w 1090712"/>
              <a:gd name="connsiteY44" fmla="*/ 324074 h 895572"/>
              <a:gd name="connsiteX45" fmla="*/ 639527 w 1090712"/>
              <a:gd name="connsiteY45" fmla="*/ 326688 h 895572"/>
              <a:gd name="connsiteX46" fmla="*/ 643091 w 1090712"/>
              <a:gd name="connsiteY46" fmla="*/ 331677 h 895572"/>
              <a:gd name="connsiteX47" fmla="*/ 647130 w 1090712"/>
              <a:gd name="connsiteY47" fmla="*/ 335954 h 895572"/>
              <a:gd name="connsiteX48" fmla="*/ 655920 w 1090712"/>
              <a:gd name="connsiteY48" fmla="*/ 330727 h 895572"/>
              <a:gd name="connsiteX49" fmla="*/ 663999 w 1090712"/>
              <a:gd name="connsiteY49" fmla="*/ 324787 h 895572"/>
              <a:gd name="connsiteX50" fmla="*/ 679917 w 1090712"/>
              <a:gd name="connsiteY50" fmla="*/ 313383 h 895572"/>
              <a:gd name="connsiteX51" fmla="*/ 676354 w 1090712"/>
              <a:gd name="connsiteY51" fmla="*/ 311007 h 895572"/>
              <a:gd name="connsiteX52" fmla="*/ 672790 w 1090712"/>
              <a:gd name="connsiteY52" fmla="*/ 308393 h 895572"/>
              <a:gd name="connsiteX53" fmla="*/ 668988 w 1090712"/>
              <a:gd name="connsiteY53" fmla="*/ 306730 h 895572"/>
              <a:gd name="connsiteX54" fmla="*/ 664949 w 1090712"/>
              <a:gd name="connsiteY54" fmla="*/ 304829 h 895572"/>
              <a:gd name="connsiteX55" fmla="*/ 660910 w 1090712"/>
              <a:gd name="connsiteY55" fmla="*/ 303641 h 895572"/>
              <a:gd name="connsiteX56" fmla="*/ 657346 w 1090712"/>
              <a:gd name="connsiteY56" fmla="*/ 302691 h 895572"/>
              <a:gd name="connsiteX57" fmla="*/ 696549 w 1090712"/>
              <a:gd name="connsiteY57" fmla="*/ 252322 h 895572"/>
              <a:gd name="connsiteX58" fmla="*/ 696786 w 1090712"/>
              <a:gd name="connsiteY58" fmla="*/ 259925 h 895572"/>
              <a:gd name="connsiteX59" fmla="*/ 698212 w 1090712"/>
              <a:gd name="connsiteY59" fmla="*/ 266102 h 895572"/>
              <a:gd name="connsiteX60" fmla="*/ 700113 w 1090712"/>
              <a:gd name="connsiteY60" fmla="*/ 272042 h 895572"/>
              <a:gd name="connsiteX61" fmla="*/ 701776 w 1090712"/>
              <a:gd name="connsiteY61" fmla="*/ 276794 h 895572"/>
              <a:gd name="connsiteX62" fmla="*/ 704389 w 1090712"/>
              <a:gd name="connsiteY62" fmla="*/ 280833 h 895572"/>
              <a:gd name="connsiteX63" fmla="*/ 707240 w 1090712"/>
              <a:gd name="connsiteY63" fmla="*/ 284397 h 895572"/>
              <a:gd name="connsiteX64" fmla="*/ 710329 w 1090712"/>
              <a:gd name="connsiteY64" fmla="*/ 287010 h 895572"/>
              <a:gd name="connsiteX65" fmla="*/ 713418 w 1090712"/>
              <a:gd name="connsiteY65" fmla="*/ 289624 h 895572"/>
              <a:gd name="connsiteX66" fmla="*/ 716506 w 1090712"/>
              <a:gd name="connsiteY66" fmla="*/ 291524 h 895572"/>
              <a:gd name="connsiteX67" fmla="*/ 719595 w 1090712"/>
              <a:gd name="connsiteY67" fmla="*/ 293187 h 895572"/>
              <a:gd name="connsiteX68" fmla="*/ 725772 w 1090712"/>
              <a:gd name="connsiteY68" fmla="*/ 295088 h 895572"/>
              <a:gd name="connsiteX69" fmla="*/ 731237 w 1090712"/>
              <a:gd name="connsiteY69" fmla="*/ 296514 h 895572"/>
              <a:gd name="connsiteX70" fmla="*/ 734801 w 1090712"/>
              <a:gd name="connsiteY70" fmla="*/ 296751 h 895572"/>
              <a:gd name="connsiteX71" fmla="*/ 722209 w 1090712"/>
              <a:gd name="connsiteY71" fmla="*/ 303879 h 895572"/>
              <a:gd name="connsiteX72" fmla="*/ 710804 w 1090712"/>
              <a:gd name="connsiteY72" fmla="*/ 311007 h 895572"/>
              <a:gd name="connsiteX73" fmla="*/ 688471 w 1090712"/>
              <a:gd name="connsiteY73" fmla="*/ 324787 h 895572"/>
              <a:gd name="connsiteX74" fmla="*/ 667563 w 1090712"/>
              <a:gd name="connsiteY74" fmla="*/ 339043 h 895572"/>
              <a:gd name="connsiteX75" fmla="*/ 646179 w 1090712"/>
              <a:gd name="connsiteY75" fmla="*/ 352823 h 895572"/>
              <a:gd name="connsiteX76" fmla="*/ 620044 w 1090712"/>
              <a:gd name="connsiteY76" fmla="*/ 313383 h 895572"/>
              <a:gd name="connsiteX77" fmla="*/ 617668 w 1090712"/>
              <a:gd name="connsiteY77" fmla="*/ 312432 h 895572"/>
              <a:gd name="connsiteX78" fmla="*/ 615055 w 1090712"/>
              <a:gd name="connsiteY78" fmla="*/ 312432 h 895572"/>
              <a:gd name="connsiteX79" fmla="*/ 612441 w 1090712"/>
              <a:gd name="connsiteY79" fmla="*/ 313383 h 895572"/>
              <a:gd name="connsiteX80" fmla="*/ 609353 w 1090712"/>
              <a:gd name="connsiteY80" fmla="*/ 314095 h 895572"/>
              <a:gd name="connsiteX81" fmla="*/ 602938 w 1090712"/>
              <a:gd name="connsiteY81" fmla="*/ 316946 h 895572"/>
              <a:gd name="connsiteX82" fmla="*/ 599849 w 1090712"/>
              <a:gd name="connsiteY82" fmla="*/ 317659 h 895572"/>
              <a:gd name="connsiteX83" fmla="*/ 596760 w 1090712"/>
              <a:gd name="connsiteY83" fmla="*/ 318610 h 895572"/>
              <a:gd name="connsiteX84" fmla="*/ 607927 w 1090712"/>
              <a:gd name="connsiteY84" fmla="*/ 307205 h 895572"/>
              <a:gd name="connsiteX85" fmla="*/ 618619 w 1090712"/>
              <a:gd name="connsiteY85" fmla="*/ 295088 h 895572"/>
              <a:gd name="connsiteX86" fmla="*/ 623846 w 1090712"/>
              <a:gd name="connsiteY86" fmla="*/ 289386 h 895572"/>
              <a:gd name="connsiteX87" fmla="*/ 629786 w 1090712"/>
              <a:gd name="connsiteY87" fmla="*/ 283921 h 895572"/>
              <a:gd name="connsiteX88" fmla="*/ 635963 w 1090712"/>
              <a:gd name="connsiteY88" fmla="*/ 278694 h 895572"/>
              <a:gd name="connsiteX89" fmla="*/ 642140 w 1090712"/>
              <a:gd name="connsiteY89" fmla="*/ 273705 h 895572"/>
              <a:gd name="connsiteX90" fmla="*/ 648793 w 1090712"/>
              <a:gd name="connsiteY90" fmla="*/ 269191 h 895572"/>
              <a:gd name="connsiteX91" fmla="*/ 655446 w 1090712"/>
              <a:gd name="connsiteY91" fmla="*/ 265627 h 895572"/>
              <a:gd name="connsiteX92" fmla="*/ 662098 w 1090712"/>
              <a:gd name="connsiteY92" fmla="*/ 263013 h 895572"/>
              <a:gd name="connsiteX93" fmla="*/ 668988 w 1090712"/>
              <a:gd name="connsiteY93" fmla="*/ 260400 h 895572"/>
              <a:gd name="connsiteX94" fmla="*/ 682768 w 1090712"/>
              <a:gd name="connsiteY94" fmla="*/ 256361 h 895572"/>
              <a:gd name="connsiteX95" fmla="*/ 1030602 w 1090712"/>
              <a:gd name="connsiteY95" fmla="*/ 200289 h 895572"/>
              <a:gd name="connsiteX96" fmla="*/ 1027513 w 1090712"/>
              <a:gd name="connsiteY96" fmla="*/ 207892 h 895572"/>
              <a:gd name="connsiteX97" fmla="*/ 1023949 w 1090712"/>
              <a:gd name="connsiteY97" fmla="*/ 214545 h 895572"/>
              <a:gd name="connsiteX98" fmla="*/ 1019910 w 1090712"/>
              <a:gd name="connsiteY98" fmla="*/ 221197 h 895572"/>
              <a:gd name="connsiteX99" fmla="*/ 1015396 w 1090712"/>
              <a:gd name="connsiteY99" fmla="*/ 226899 h 895572"/>
              <a:gd name="connsiteX100" fmla="*/ 1011119 w 1090712"/>
              <a:gd name="connsiteY100" fmla="*/ 232839 h 895572"/>
              <a:gd name="connsiteX101" fmla="*/ 1006130 w 1090712"/>
              <a:gd name="connsiteY101" fmla="*/ 237591 h 895572"/>
              <a:gd name="connsiteX102" fmla="*/ 1001140 w 1090712"/>
              <a:gd name="connsiteY102" fmla="*/ 242105 h 895572"/>
              <a:gd name="connsiteX103" fmla="*/ 996388 w 1090712"/>
              <a:gd name="connsiteY103" fmla="*/ 246144 h 895572"/>
              <a:gd name="connsiteX104" fmla="*/ 990924 w 1090712"/>
              <a:gd name="connsiteY104" fmla="*/ 249708 h 895572"/>
              <a:gd name="connsiteX105" fmla="*/ 985697 w 1090712"/>
              <a:gd name="connsiteY105" fmla="*/ 252797 h 895572"/>
              <a:gd name="connsiteX106" fmla="*/ 980232 w 1090712"/>
              <a:gd name="connsiteY106" fmla="*/ 254935 h 895572"/>
              <a:gd name="connsiteX107" fmla="*/ 975005 w 1090712"/>
              <a:gd name="connsiteY107" fmla="*/ 256836 h 895572"/>
              <a:gd name="connsiteX108" fmla="*/ 969541 w 1090712"/>
              <a:gd name="connsiteY108" fmla="*/ 258262 h 895572"/>
              <a:gd name="connsiteX109" fmla="*/ 963839 w 1090712"/>
              <a:gd name="connsiteY109" fmla="*/ 258499 h 895572"/>
              <a:gd name="connsiteX110" fmla="*/ 958612 w 1090712"/>
              <a:gd name="connsiteY110" fmla="*/ 258499 h 895572"/>
              <a:gd name="connsiteX111" fmla="*/ 953622 w 1090712"/>
              <a:gd name="connsiteY111" fmla="*/ 257786 h 895572"/>
              <a:gd name="connsiteX112" fmla="*/ 970966 w 1090712"/>
              <a:gd name="connsiteY112" fmla="*/ 244006 h 895572"/>
              <a:gd name="connsiteX113" fmla="*/ 990211 w 1090712"/>
              <a:gd name="connsiteY113" fmla="*/ 229275 h 895572"/>
              <a:gd name="connsiteX114" fmla="*/ 1010169 w 1090712"/>
              <a:gd name="connsiteY114" fmla="*/ 214069 h 895572"/>
              <a:gd name="connsiteX115" fmla="*/ 1020385 w 1090712"/>
              <a:gd name="connsiteY115" fmla="*/ 206942 h 895572"/>
              <a:gd name="connsiteX116" fmla="*/ 389581 w 1090712"/>
              <a:gd name="connsiteY116" fmla="*/ 176768 h 895572"/>
              <a:gd name="connsiteX117" fmla="*/ 397422 w 1090712"/>
              <a:gd name="connsiteY117" fmla="*/ 177243 h 895572"/>
              <a:gd name="connsiteX118" fmla="*/ 414766 w 1090712"/>
              <a:gd name="connsiteY118" fmla="*/ 178906 h 895572"/>
              <a:gd name="connsiteX119" fmla="*/ 405500 w 1090712"/>
              <a:gd name="connsiteY119" fmla="*/ 179856 h 895572"/>
              <a:gd name="connsiteX120" fmla="*/ 396946 w 1090712"/>
              <a:gd name="connsiteY120" fmla="*/ 181995 h 895572"/>
              <a:gd name="connsiteX121" fmla="*/ 389581 w 1090712"/>
              <a:gd name="connsiteY121" fmla="*/ 184371 h 895572"/>
              <a:gd name="connsiteX122" fmla="*/ 381978 w 1090712"/>
              <a:gd name="connsiteY122" fmla="*/ 186984 h 895572"/>
              <a:gd name="connsiteX123" fmla="*/ 375326 w 1090712"/>
              <a:gd name="connsiteY123" fmla="*/ 190548 h 895572"/>
              <a:gd name="connsiteX124" fmla="*/ 368911 w 1090712"/>
              <a:gd name="connsiteY124" fmla="*/ 194112 h 895572"/>
              <a:gd name="connsiteX125" fmla="*/ 363208 w 1090712"/>
              <a:gd name="connsiteY125" fmla="*/ 198626 h 895572"/>
              <a:gd name="connsiteX126" fmla="*/ 357981 w 1090712"/>
              <a:gd name="connsiteY126" fmla="*/ 202903 h 895572"/>
              <a:gd name="connsiteX127" fmla="*/ 352517 w 1090712"/>
              <a:gd name="connsiteY127" fmla="*/ 208367 h 895572"/>
              <a:gd name="connsiteX128" fmla="*/ 348003 w 1090712"/>
              <a:gd name="connsiteY128" fmla="*/ 214070 h 895572"/>
              <a:gd name="connsiteX129" fmla="*/ 343726 w 1090712"/>
              <a:gd name="connsiteY129" fmla="*/ 220247 h 895572"/>
              <a:gd name="connsiteX130" fmla="*/ 339687 w 1090712"/>
              <a:gd name="connsiteY130" fmla="*/ 226662 h 895572"/>
              <a:gd name="connsiteX131" fmla="*/ 335648 w 1090712"/>
              <a:gd name="connsiteY131" fmla="*/ 233790 h 895572"/>
              <a:gd name="connsiteX132" fmla="*/ 332559 w 1090712"/>
              <a:gd name="connsiteY132" fmla="*/ 240917 h 895572"/>
              <a:gd name="connsiteX133" fmla="*/ 328995 w 1090712"/>
              <a:gd name="connsiteY133" fmla="*/ 248758 h 895572"/>
              <a:gd name="connsiteX134" fmla="*/ 325907 w 1090712"/>
              <a:gd name="connsiteY134" fmla="*/ 256836 h 895572"/>
              <a:gd name="connsiteX135" fmla="*/ 325432 w 1090712"/>
              <a:gd name="connsiteY135" fmla="*/ 252797 h 895572"/>
              <a:gd name="connsiteX136" fmla="*/ 324956 w 1090712"/>
              <a:gd name="connsiteY136" fmla="*/ 248283 h 895572"/>
              <a:gd name="connsiteX137" fmla="*/ 323056 w 1090712"/>
              <a:gd name="connsiteY137" fmla="*/ 239492 h 895572"/>
              <a:gd name="connsiteX138" fmla="*/ 320917 w 1090712"/>
              <a:gd name="connsiteY138" fmla="*/ 229275 h 895572"/>
              <a:gd name="connsiteX139" fmla="*/ 320442 w 1090712"/>
              <a:gd name="connsiteY139" fmla="*/ 223811 h 895572"/>
              <a:gd name="connsiteX140" fmla="*/ 319967 w 1090712"/>
              <a:gd name="connsiteY140" fmla="*/ 217633 h 895572"/>
              <a:gd name="connsiteX141" fmla="*/ 314740 w 1090712"/>
              <a:gd name="connsiteY141" fmla="*/ 217633 h 895572"/>
              <a:gd name="connsiteX142" fmla="*/ 302148 w 1090712"/>
              <a:gd name="connsiteY142" fmla="*/ 243056 h 895572"/>
              <a:gd name="connsiteX143" fmla="*/ 289793 w 1090712"/>
              <a:gd name="connsiteY143" fmla="*/ 267528 h 895572"/>
              <a:gd name="connsiteX144" fmla="*/ 277438 w 1090712"/>
              <a:gd name="connsiteY144" fmla="*/ 291049 h 895572"/>
              <a:gd name="connsiteX145" fmla="*/ 264371 w 1090712"/>
              <a:gd name="connsiteY145" fmla="*/ 312907 h 895572"/>
              <a:gd name="connsiteX146" fmla="*/ 267459 w 1090712"/>
              <a:gd name="connsiteY146" fmla="*/ 295088 h 895572"/>
              <a:gd name="connsiteX147" fmla="*/ 271023 w 1090712"/>
              <a:gd name="connsiteY147" fmla="*/ 279170 h 895572"/>
              <a:gd name="connsiteX148" fmla="*/ 274587 w 1090712"/>
              <a:gd name="connsiteY148" fmla="*/ 263964 h 895572"/>
              <a:gd name="connsiteX149" fmla="*/ 279101 w 1090712"/>
              <a:gd name="connsiteY149" fmla="*/ 250183 h 895572"/>
              <a:gd name="connsiteX150" fmla="*/ 284091 w 1090712"/>
              <a:gd name="connsiteY150" fmla="*/ 238066 h 895572"/>
              <a:gd name="connsiteX151" fmla="*/ 289318 w 1090712"/>
              <a:gd name="connsiteY151" fmla="*/ 226900 h 895572"/>
              <a:gd name="connsiteX152" fmla="*/ 292406 w 1090712"/>
              <a:gd name="connsiteY152" fmla="*/ 221673 h 895572"/>
              <a:gd name="connsiteX153" fmla="*/ 295495 w 1090712"/>
              <a:gd name="connsiteY153" fmla="*/ 217158 h 895572"/>
              <a:gd name="connsiteX154" fmla="*/ 298584 w 1090712"/>
              <a:gd name="connsiteY154" fmla="*/ 212406 h 895572"/>
              <a:gd name="connsiteX155" fmla="*/ 302148 w 1090712"/>
              <a:gd name="connsiteY155" fmla="*/ 208367 h 895572"/>
              <a:gd name="connsiteX156" fmla="*/ 305711 w 1090712"/>
              <a:gd name="connsiteY156" fmla="*/ 204328 h 895572"/>
              <a:gd name="connsiteX157" fmla="*/ 309275 w 1090712"/>
              <a:gd name="connsiteY157" fmla="*/ 200765 h 895572"/>
              <a:gd name="connsiteX158" fmla="*/ 313314 w 1090712"/>
              <a:gd name="connsiteY158" fmla="*/ 197201 h 895572"/>
              <a:gd name="connsiteX159" fmla="*/ 317354 w 1090712"/>
              <a:gd name="connsiteY159" fmla="*/ 194112 h 895572"/>
              <a:gd name="connsiteX160" fmla="*/ 321868 w 1090712"/>
              <a:gd name="connsiteY160" fmla="*/ 191498 h 895572"/>
              <a:gd name="connsiteX161" fmla="*/ 326382 w 1090712"/>
              <a:gd name="connsiteY161" fmla="*/ 188647 h 895572"/>
              <a:gd name="connsiteX162" fmla="*/ 330659 w 1090712"/>
              <a:gd name="connsiteY162" fmla="*/ 186509 h 895572"/>
              <a:gd name="connsiteX163" fmla="*/ 335648 w 1090712"/>
              <a:gd name="connsiteY163" fmla="*/ 184371 h 895572"/>
              <a:gd name="connsiteX164" fmla="*/ 340637 w 1090712"/>
              <a:gd name="connsiteY164" fmla="*/ 182470 h 895572"/>
              <a:gd name="connsiteX165" fmla="*/ 345864 w 1090712"/>
              <a:gd name="connsiteY165" fmla="*/ 181282 h 895572"/>
              <a:gd name="connsiteX166" fmla="*/ 351091 w 1090712"/>
              <a:gd name="connsiteY166" fmla="*/ 179856 h 895572"/>
              <a:gd name="connsiteX167" fmla="*/ 357031 w 1090712"/>
              <a:gd name="connsiteY167" fmla="*/ 178431 h 895572"/>
              <a:gd name="connsiteX168" fmla="*/ 368911 w 1090712"/>
              <a:gd name="connsiteY168" fmla="*/ 177243 h 895572"/>
              <a:gd name="connsiteX169" fmla="*/ 381978 w 1090712"/>
              <a:gd name="connsiteY169" fmla="*/ 176768 h 895572"/>
              <a:gd name="connsiteX170" fmla="*/ 609353 w 1090712"/>
              <a:gd name="connsiteY170" fmla="*/ 174629 h 895572"/>
              <a:gd name="connsiteX171" fmla="*/ 602463 w 1090712"/>
              <a:gd name="connsiteY171" fmla="*/ 180807 h 895572"/>
              <a:gd name="connsiteX172" fmla="*/ 596285 w 1090712"/>
              <a:gd name="connsiteY172" fmla="*/ 187459 h 895572"/>
              <a:gd name="connsiteX173" fmla="*/ 583931 w 1090712"/>
              <a:gd name="connsiteY173" fmla="*/ 201715 h 895572"/>
              <a:gd name="connsiteX174" fmla="*/ 571101 w 1090712"/>
              <a:gd name="connsiteY174" fmla="*/ 215495 h 895572"/>
              <a:gd name="connsiteX175" fmla="*/ 564686 w 1090712"/>
              <a:gd name="connsiteY175" fmla="*/ 222148 h 895572"/>
              <a:gd name="connsiteX176" fmla="*/ 558508 w 1090712"/>
              <a:gd name="connsiteY176" fmla="*/ 228325 h 895572"/>
              <a:gd name="connsiteX177" fmla="*/ 557558 w 1090712"/>
              <a:gd name="connsiteY177" fmla="*/ 223335 h 895572"/>
              <a:gd name="connsiteX178" fmla="*/ 557083 w 1090712"/>
              <a:gd name="connsiteY178" fmla="*/ 219059 h 895572"/>
              <a:gd name="connsiteX179" fmla="*/ 557083 w 1090712"/>
              <a:gd name="connsiteY179" fmla="*/ 215020 h 895572"/>
              <a:gd name="connsiteX180" fmla="*/ 557558 w 1090712"/>
              <a:gd name="connsiteY180" fmla="*/ 210981 h 895572"/>
              <a:gd name="connsiteX181" fmla="*/ 558508 w 1090712"/>
              <a:gd name="connsiteY181" fmla="*/ 207417 h 895572"/>
              <a:gd name="connsiteX182" fmla="*/ 560409 w 1090712"/>
              <a:gd name="connsiteY182" fmla="*/ 203853 h 895572"/>
              <a:gd name="connsiteX183" fmla="*/ 562072 w 1090712"/>
              <a:gd name="connsiteY183" fmla="*/ 200764 h 895572"/>
              <a:gd name="connsiteX184" fmla="*/ 564686 w 1090712"/>
              <a:gd name="connsiteY184" fmla="*/ 197676 h 895572"/>
              <a:gd name="connsiteX185" fmla="*/ 567774 w 1090712"/>
              <a:gd name="connsiteY185" fmla="*/ 194587 h 895572"/>
              <a:gd name="connsiteX186" fmla="*/ 571813 w 1090712"/>
              <a:gd name="connsiteY186" fmla="*/ 191973 h 895572"/>
              <a:gd name="connsiteX187" fmla="*/ 576328 w 1090712"/>
              <a:gd name="connsiteY187" fmla="*/ 188647 h 895572"/>
              <a:gd name="connsiteX188" fmla="*/ 581317 w 1090712"/>
              <a:gd name="connsiteY188" fmla="*/ 186034 h 895572"/>
              <a:gd name="connsiteX189" fmla="*/ 587019 w 1090712"/>
              <a:gd name="connsiteY189" fmla="*/ 183420 h 895572"/>
              <a:gd name="connsiteX190" fmla="*/ 593672 w 1090712"/>
              <a:gd name="connsiteY190" fmla="*/ 180332 h 895572"/>
              <a:gd name="connsiteX191" fmla="*/ 586544 w 1090712"/>
              <a:gd name="connsiteY191" fmla="*/ 0 h 895572"/>
              <a:gd name="connsiteX192" fmla="*/ 570150 w 1090712"/>
              <a:gd name="connsiteY192" fmla="*/ 2851 h 895572"/>
              <a:gd name="connsiteX193" fmla="*/ 553519 w 1090712"/>
              <a:gd name="connsiteY193" fmla="*/ 5940 h 895572"/>
              <a:gd name="connsiteX194" fmla="*/ 536650 w 1090712"/>
              <a:gd name="connsiteY194" fmla="*/ 10454 h 895572"/>
              <a:gd name="connsiteX195" fmla="*/ 520256 w 1090712"/>
              <a:gd name="connsiteY195" fmla="*/ 14731 h 895572"/>
              <a:gd name="connsiteX196" fmla="*/ 486993 w 1090712"/>
              <a:gd name="connsiteY196" fmla="*/ 24472 h 895572"/>
              <a:gd name="connsiteX197" fmla="*/ 469887 w 1090712"/>
              <a:gd name="connsiteY197" fmla="*/ 28986 h 895572"/>
              <a:gd name="connsiteX198" fmla="*/ 453493 w 1090712"/>
              <a:gd name="connsiteY198" fmla="*/ 33500 h 895572"/>
              <a:gd name="connsiteX199" fmla="*/ 438762 w 1090712"/>
              <a:gd name="connsiteY199" fmla="*/ 40153 h 895572"/>
              <a:gd name="connsiteX200" fmla="*/ 424507 w 1090712"/>
              <a:gd name="connsiteY200" fmla="*/ 47281 h 895572"/>
              <a:gd name="connsiteX201" fmla="*/ 417379 w 1090712"/>
              <a:gd name="connsiteY201" fmla="*/ 51320 h 895572"/>
              <a:gd name="connsiteX202" fmla="*/ 410727 w 1090712"/>
              <a:gd name="connsiteY202" fmla="*/ 55834 h 895572"/>
              <a:gd name="connsiteX203" fmla="*/ 403599 w 1090712"/>
              <a:gd name="connsiteY203" fmla="*/ 60111 h 895572"/>
              <a:gd name="connsiteX204" fmla="*/ 397422 w 1090712"/>
              <a:gd name="connsiteY204" fmla="*/ 65100 h 895572"/>
              <a:gd name="connsiteX205" fmla="*/ 390769 w 1090712"/>
              <a:gd name="connsiteY205" fmla="*/ 69852 h 895572"/>
              <a:gd name="connsiteX206" fmla="*/ 384592 w 1090712"/>
              <a:gd name="connsiteY206" fmla="*/ 75792 h 895572"/>
              <a:gd name="connsiteX207" fmla="*/ 378889 w 1090712"/>
              <a:gd name="connsiteY207" fmla="*/ 81494 h 895572"/>
              <a:gd name="connsiteX208" fmla="*/ 372950 w 1090712"/>
              <a:gd name="connsiteY208" fmla="*/ 87671 h 895572"/>
              <a:gd name="connsiteX209" fmla="*/ 367723 w 1090712"/>
              <a:gd name="connsiteY209" fmla="*/ 94324 h 895572"/>
              <a:gd name="connsiteX210" fmla="*/ 362733 w 1090712"/>
              <a:gd name="connsiteY210" fmla="*/ 101452 h 895572"/>
              <a:gd name="connsiteX211" fmla="*/ 357981 w 1090712"/>
              <a:gd name="connsiteY211" fmla="*/ 109055 h 895572"/>
              <a:gd name="connsiteX212" fmla="*/ 353467 w 1090712"/>
              <a:gd name="connsiteY212" fmla="*/ 117608 h 895572"/>
              <a:gd name="connsiteX213" fmla="*/ 409064 w 1090712"/>
              <a:gd name="connsiteY213" fmla="*/ 117608 h 895572"/>
              <a:gd name="connsiteX214" fmla="*/ 406925 w 1090712"/>
              <a:gd name="connsiteY214" fmla="*/ 119271 h 895572"/>
              <a:gd name="connsiteX215" fmla="*/ 404074 w 1090712"/>
              <a:gd name="connsiteY215" fmla="*/ 121647 h 895572"/>
              <a:gd name="connsiteX216" fmla="*/ 400510 w 1090712"/>
              <a:gd name="connsiteY216" fmla="*/ 123310 h 895572"/>
              <a:gd name="connsiteX217" fmla="*/ 397422 w 1090712"/>
              <a:gd name="connsiteY217" fmla="*/ 125211 h 895572"/>
              <a:gd name="connsiteX218" fmla="*/ 393383 w 1090712"/>
              <a:gd name="connsiteY218" fmla="*/ 126399 h 895572"/>
              <a:gd name="connsiteX219" fmla="*/ 389581 w 1090712"/>
              <a:gd name="connsiteY219" fmla="*/ 127824 h 895572"/>
              <a:gd name="connsiteX220" fmla="*/ 385542 w 1090712"/>
              <a:gd name="connsiteY220" fmla="*/ 128299 h 895572"/>
              <a:gd name="connsiteX221" fmla="*/ 381503 w 1090712"/>
              <a:gd name="connsiteY221" fmla="*/ 128774 h 895572"/>
              <a:gd name="connsiteX222" fmla="*/ 375326 w 1090712"/>
              <a:gd name="connsiteY222" fmla="*/ 130438 h 895572"/>
              <a:gd name="connsiteX223" fmla="*/ 368435 w 1090712"/>
              <a:gd name="connsiteY223" fmla="*/ 131863 h 895572"/>
              <a:gd name="connsiteX224" fmla="*/ 361783 w 1090712"/>
              <a:gd name="connsiteY224" fmla="*/ 133051 h 895572"/>
              <a:gd name="connsiteX225" fmla="*/ 355606 w 1090712"/>
              <a:gd name="connsiteY225" fmla="*/ 134001 h 895572"/>
              <a:gd name="connsiteX226" fmla="*/ 342300 w 1090712"/>
              <a:gd name="connsiteY226" fmla="*/ 135427 h 895572"/>
              <a:gd name="connsiteX227" fmla="*/ 329471 w 1090712"/>
              <a:gd name="connsiteY227" fmla="*/ 137090 h 895572"/>
              <a:gd name="connsiteX228" fmla="*/ 322818 w 1090712"/>
              <a:gd name="connsiteY228" fmla="*/ 138040 h 895572"/>
              <a:gd name="connsiteX229" fmla="*/ 316403 w 1090712"/>
              <a:gd name="connsiteY229" fmla="*/ 139704 h 895572"/>
              <a:gd name="connsiteX230" fmla="*/ 310226 w 1090712"/>
              <a:gd name="connsiteY230" fmla="*/ 141604 h 895572"/>
              <a:gd name="connsiteX231" fmla="*/ 304048 w 1090712"/>
              <a:gd name="connsiteY231" fmla="*/ 144218 h 895572"/>
              <a:gd name="connsiteX232" fmla="*/ 298346 w 1090712"/>
              <a:gd name="connsiteY232" fmla="*/ 147307 h 895572"/>
              <a:gd name="connsiteX233" fmla="*/ 292406 w 1090712"/>
              <a:gd name="connsiteY233" fmla="*/ 151346 h 895572"/>
              <a:gd name="connsiteX234" fmla="*/ 286704 w 1090712"/>
              <a:gd name="connsiteY234" fmla="*/ 156335 h 895572"/>
              <a:gd name="connsiteX235" fmla="*/ 281240 w 1090712"/>
              <a:gd name="connsiteY235" fmla="*/ 162037 h 895572"/>
              <a:gd name="connsiteX236" fmla="*/ 262232 w 1090712"/>
              <a:gd name="connsiteY236" fmla="*/ 182945 h 895572"/>
              <a:gd name="connsiteX237" fmla="*/ 242987 w 1090712"/>
              <a:gd name="connsiteY237" fmla="*/ 203378 h 895572"/>
              <a:gd name="connsiteX238" fmla="*/ 203547 w 1090712"/>
              <a:gd name="connsiteY238" fmla="*/ 244006 h 895572"/>
              <a:gd name="connsiteX239" fmla="*/ 183827 w 1090712"/>
              <a:gd name="connsiteY239" fmla="*/ 264439 h 895572"/>
              <a:gd name="connsiteX240" fmla="*/ 164345 w 1090712"/>
              <a:gd name="connsiteY240" fmla="*/ 285822 h 895572"/>
              <a:gd name="connsiteX241" fmla="*/ 144862 w 1090712"/>
              <a:gd name="connsiteY241" fmla="*/ 307443 h 895572"/>
              <a:gd name="connsiteX242" fmla="*/ 126093 w 1090712"/>
              <a:gd name="connsiteY242" fmla="*/ 329777 h 895572"/>
              <a:gd name="connsiteX243" fmla="*/ 122054 w 1090712"/>
              <a:gd name="connsiteY243" fmla="*/ 335004 h 895572"/>
              <a:gd name="connsiteX244" fmla="*/ 118015 w 1090712"/>
              <a:gd name="connsiteY244" fmla="*/ 340468 h 895572"/>
              <a:gd name="connsiteX245" fmla="*/ 110887 w 1090712"/>
              <a:gd name="connsiteY245" fmla="*/ 352110 h 895572"/>
              <a:gd name="connsiteX246" fmla="*/ 104709 w 1090712"/>
              <a:gd name="connsiteY246" fmla="*/ 363514 h 895572"/>
              <a:gd name="connsiteX247" fmla="*/ 99007 w 1090712"/>
              <a:gd name="connsiteY247" fmla="*/ 375156 h 895572"/>
              <a:gd name="connsiteX248" fmla="*/ 87840 w 1090712"/>
              <a:gd name="connsiteY248" fmla="*/ 400103 h 895572"/>
              <a:gd name="connsiteX249" fmla="*/ 82138 w 1090712"/>
              <a:gd name="connsiteY249" fmla="*/ 412458 h 895572"/>
              <a:gd name="connsiteX250" fmla="*/ 75723 w 1090712"/>
              <a:gd name="connsiteY250" fmla="*/ 425050 h 895572"/>
              <a:gd name="connsiteX251" fmla="*/ 75723 w 1090712"/>
              <a:gd name="connsiteY251" fmla="*/ 429802 h 895572"/>
              <a:gd name="connsiteX252" fmla="*/ 76674 w 1090712"/>
              <a:gd name="connsiteY252" fmla="*/ 436217 h 895572"/>
              <a:gd name="connsiteX253" fmla="*/ 77149 w 1090712"/>
              <a:gd name="connsiteY253" fmla="*/ 439306 h 895572"/>
              <a:gd name="connsiteX254" fmla="*/ 78574 w 1090712"/>
              <a:gd name="connsiteY254" fmla="*/ 442395 h 895572"/>
              <a:gd name="connsiteX255" fmla="*/ 79762 w 1090712"/>
              <a:gd name="connsiteY255" fmla="*/ 445008 h 895572"/>
              <a:gd name="connsiteX256" fmla="*/ 81663 w 1090712"/>
              <a:gd name="connsiteY256" fmla="*/ 447147 h 895572"/>
              <a:gd name="connsiteX257" fmla="*/ 94018 w 1090712"/>
              <a:gd name="connsiteY257" fmla="*/ 468055 h 895572"/>
              <a:gd name="connsiteX258" fmla="*/ 106848 w 1090712"/>
              <a:gd name="connsiteY258" fmla="*/ 488963 h 895572"/>
              <a:gd name="connsiteX259" fmla="*/ 113975 w 1090712"/>
              <a:gd name="connsiteY259" fmla="*/ 499654 h 895572"/>
              <a:gd name="connsiteX260" fmla="*/ 121103 w 1090712"/>
              <a:gd name="connsiteY260" fmla="*/ 510346 h 895572"/>
              <a:gd name="connsiteX261" fmla="*/ 128706 w 1090712"/>
              <a:gd name="connsiteY261" fmla="*/ 520562 h 895572"/>
              <a:gd name="connsiteX262" fmla="*/ 137259 w 1090712"/>
              <a:gd name="connsiteY262" fmla="*/ 531254 h 895572"/>
              <a:gd name="connsiteX263" fmla="*/ 149614 w 1090712"/>
              <a:gd name="connsiteY263" fmla="*/ 514385 h 895572"/>
              <a:gd name="connsiteX264" fmla="*/ 162206 w 1090712"/>
              <a:gd name="connsiteY264" fmla="*/ 498466 h 895572"/>
              <a:gd name="connsiteX265" fmla="*/ 174561 w 1090712"/>
              <a:gd name="connsiteY265" fmla="*/ 483260 h 895572"/>
              <a:gd name="connsiteX266" fmla="*/ 180739 w 1090712"/>
              <a:gd name="connsiteY266" fmla="*/ 476133 h 895572"/>
              <a:gd name="connsiteX267" fmla="*/ 186916 w 1090712"/>
              <a:gd name="connsiteY267" fmla="*/ 469480 h 895572"/>
              <a:gd name="connsiteX268" fmla="*/ 182639 w 1090712"/>
              <a:gd name="connsiteY268" fmla="*/ 482310 h 895572"/>
              <a:gd name="connsiteX269" fmla="*/ 178125 w 1090712"/>
              <a:gd name="connsiteY269" fmla="*/ 495615 h 895572"/>
              <a:gd name="connsiteX270" fmla="*/ 172423 w 1090712"/>
              <a:gd name="connsiteY270" fmla="*/ 509871 h 895572"/>
              <a:gd name="connsiteX271" fmla="*/ 164820 w 1090712"/>
              <a:gd name="connsiteY271" fmla="*/ 525552 h 895572"/>
              <a:gd name="connsiteX272" fmla="*/ 156267 w 1090712"/>
              <a:gd name="connsiteY272" fmla="*/ 538381 h 895572"/>
              <a:gd name="connsiteX273" fmla="*/ 152703 w 1090712"/>
              <a:gd name="connsiteY273" fmla="*/ 544559 h 895572"/>
              <a:gd name="connsiteX274" fmla="*/ 148664 w 1090712"/>
              <a:gd name="connsiteY274" fmla="*/ 551449 h 895572"/>
              <a:gd name="connsiteX275" fmla="*/ 145100 w 1090712"/>
              <a:gd name="connsiteY275" fmla="*/ 558339 h 895572"/>
              <a:gd name="connsiteX276" fmla="*/ 142011 w 1090712"/>
              <a:gd name="connsiteY276" fmla="*/ 565467 h 895572"/>
              <a:gd name="connsiteX277" fmla="*/ 139398 w 1090712"/>
              <a:gd name="connsiteY277" fmla="*/ 573070 h 895572"/>
              <a:gd name="connsiteX278" fmla="*/ 137259 w 1090712"/>
              <a:gd name="connsiteY278" fmla="*/ 581623 h 895572"/>
              <a:gd name="connsiteX279" fmla="*/ 136309 w 1090712"/>
              <a:gd name="connsiteY279" fmla="*/ 583761 h 895572"/>
              <a:gd name="connsiteX280" fmla="*/ 135359 w 1090712"/>
              <a:gd name="connsiteY280" fmla="*/ 586137 h 895572"/>
              <a:gd name="connsiteX281" fmla="*/ 134883 w 1090712"/>
              <a:gd name="connsiteY281" fmla="*/ 590889 h 895572"/>
              <a:gd name="connsiteX282" fmla="*/ 134883 w 1090712"/>
              <a:gd name="connsiteY282" fmla="*/ 595879 h 895572"/>
              <a:gd name="connsiteX283" fmla="*/ 135359 w 1090712"/>
              <a:gd name="connsiteY283" fmla="*/ 601106 h 895572"/>
              <a:gd name="connsiteX284" fmla="*/ 136784 w 1090712"/>
              <a:gd name="connsiteY284" fmla="*/ 606095 h 895572"/>
              <a:gd name="connsiteX285" fmla="*/ 138447 w 1090712"/>
              <a:gd name="connsiteY285" fmla="*/ 611322 h 895572"/>
              <a:gd name="connsiteX286" fmla="*/ 140348 w 1090712"/>
              <a:gd name="connsiteY286" fmla="*/ 616311 h 895572"/>
              <a:gd name="connsiteX287" fmla="*/ 142486 w 1090712"/>
              <a:gd name="connsiteY287" fmla="*/ 620826 h 895572"/>
              <a:gd name="connsiteX288" fmla="*/ 148664 w 1090712"/>
              <a:gd name="connsiteY288" fmla="*/ 629616 h 895572"/>
              <a:gd name="connsiteX289" fmla="*/ 155554 w 1090712"/>
              <a:gd name="connsiteY289" fmla="*/ 637219 h 895572"/>
              <a:gd name="connsiteX290" fmla="*/ 162444 w 1090712"/>
              <a:gd name="connsiteY290" fmla="*/ 643872 h 895572"/>
              <a:gd name="connsiteX291" fmla="*/ 169572 w 1090712"/>
              <a:gd name="connsiteY291" fmla="*/ 649099 h 895572"/>
              <a:gd name="connsiteX292" fmla="*/ 177175 w 1090712"/>
              <a:gd name="connsiteY292" fmla="*/ 653613 h 895572"/>
              <a:gd name="connsiteX293" fmla="*/ 184778 w 1090712"/>
              <a:gd name="connsiteY293" fmla="*/ 657177 h 895572"/>
              <a:gd name="connsiteX294" fmla="*/ 192856 w 1090712"/>
              <a:gd name="connsiteY294" fmla="*/ 659553 h 895572"/>
              <a:gd name="connsiteX295" fmla="*/ 200934 w 1090712"/>
              <a:gd name="connsiteY295" fmla="*/ 661216 h 895572"/>
              <a:gd name="connsiteX296" fmla="*/ 209250 w 1090712"/>
              <a:gd name="connsiteY296" fmla="*/ 661691 h 895572"/>
              <a:gd name="connsiteX297" fmla="*/ 218278 w 1090712"/>
              <a:gd name="connsiteY297" fmla="*/ 661691 h 895572"/>
              <a:gd name="connsiteX298" fmla="*/ 227069 w 1090712"/>
              <a:gd name="connsiteY298" fmla="*/ 660266 h 895572"/>
              <a:gd name="connsiteX299" fmla="*/ 236335 w 1090712"/>
              <a:gd name="connsiteY299" fmla="*/ 658603 h 895572"/>
              <a:gd name="connsiteX300" fmla="*/ 245838 w 1090712"/>
              <a:gd name="connsiteY300" fmla="*/ 655514 h 895572"/>
              <a:gd name="connsiteX301" fmla="*/ 255580 w 1090712"/>
              <a:gd name="connsiteY301" fmla="*/ 652425 h 895572"/>
              <a:gd name="connsiteX302" fmla="*/ 265321 w 1090712"/>
              <a:gd name="connsiteY302" fmla="*/ 647911 h 895572"/>
              <a:gd name="connsiteX303" fmla="*/ 276013 w 1090712"/>
              <a:gd name="connsiteY303" fmla="*/ 642922 h 895572"/>
              <a:gd name="connsiteX304" fmla="*/ 288367 w 1090712"/>
              <a:gd name="connsiteY304" fmla="*/ 635081 h 895572"/>
              <a:gd name="connsiteX305" fmla="*/ 301910 w 1090712"/>
              <a:gd name="connsiteY305" fmla="*/ 627478 h 895572"/>
              <a:gd name="connsiteX306" fmla="*/ 315215 w 1090712"/>
              <a:gd name="connsiteY306" fmla="*/ 620350 h 895572"/>
              <a:gd name="connsiteX307" fmla="*/ 329471 w 1090712"/>
              <a:gd name="connsiteY307" fmla="*/ 613698 h 895572"/>
              <a:gd name="connsiteX308" fmla="*/ 343726 w 1090712"/>
              <a:gd name="connsiteY308" fmla="*/ 607283 h 895572"/>
              <a:gd name="connsiteX309" fmla="*/ 357981 w 1090712"/>
              <a:gd name="connsiteY309" fmla="*/ 602056 h 895572"/>
              <a:gd name="connsiteX310" fmla="*/ 371999 w 1090712"/>
              <a:gd name="connsiteY310" fmla="*/ 597066 h 895572"/>
              <a:gd name="connsiteX311" fmla="*/ 386730 w 1090712"/>
              <a:gd name="connsiteY311" fmla="*/ 592790 h 895572"/>
              <a:gd name="connsiteX312" fmla="*/ 394808 w 1090712"/>
              <a:gd name="connsiteY312" fmla="*/ 590414 h 895572"/>
              <a:gd name="connsiteX313" fmla="*/ 402411 w 1090712"/>
              <a:gd name="connsiteY313" fmla="*/ 587325 h 895572"/>
              <a:gd name="connsiteX314" fmla="*/ 409064 w 1090712"/>
              <a:gd name="connsiteY314" fmla="*/ 583761 h 895572"/>
              <a:gd name="connsiteX315" fmla="*/ 411677 w 1090712"/>
              <a:gd name="connsiteY315" fmla="*/ 581623 h 895572"/>
              <a:gd name="connsiteX316" fmla="*/ 414766 w 1090712"/>
              <a:gd name="connsiteY316" fmla="*/ 579247 h 895572"/>
              <a:gd name="connsiteX317" fmla="*/ 417142 w 1090712"/>
              <a:gd name="connsiteY317" fmla="*/ 577109 h 895572"/>
              <a:gd name="connsiteX318" fmla="*/ 419280 w 1090712"/>
              <a:gd name="connsiteY318" fmla="*/ 574495 h 895572"/>
              <a:gd name="connsiteX319" fmla="*/ 420943 w 1090712"/>
              <a:gd name="connsiteY319" fmla="*/ 571407 h 895572"/>
              <a:gd name="connsiteX320" fmla="*/ 422844 w 1090712"/>
              <a:gd name="connsiteY320" fmla="*/ 568318 h 895572"/>
              <a:gd name="connsiteX321" fmla="*/ 424269 w 1090712"/>
              <a:gd name="connsiteY321" fmla="*/ 565229 h 895572"/>
              <a:gd name="connsiteX322" fmla="*/ 424982 w 1090712"/>
              <a:gd name="connsiteY322" fmla="*/ 561665 h 895572"/>
              <a:gd name="connsiteX323" fmla="*/ 425457 w 1090712"/>
              <a:gd name="connsiteY323" fmla="*/ 557626 h 895572"/>
              <a:gd name="connsiteX324" fmla="*/ 425932 w 1090712"/>
              <a:gd name="connsiteY324" fmla="*/ 553587 h 895572"/>
              <a:gd name="connsiteX325" fmla="*/ 425932 w 1090712"/>
              <a:gd name="connsiteY325" fmla="*/ 413884 h 895572"/>
              <a:gd name="connsiteX326" fmla="*/ 425932 w 1090712"/>
              <a:gd name="connsiteY326" fmla="*/ 285347 h 895572"/>
              <a:gd name="connsiteX327" fmla="*/ 429496 w 1090712"/>
              <a:gd name="connsiteY327" fmla="*/ 300078 h 895572"/>
              <a:gd name="connsiteX328" fmla="*/ 433060 w 1090712"/>
              <a:gd name="connsiteY328" fmla="*/ 314096 h 895572"/>
              <a:gd name="connsiteX329" fmla="*/ 436149 w 1090712"/>
              <a:gd name="connsiteY329" fmla="*/ 328826 h 895572"/>
              <a:gd name="connsiteX330" fmla="*/ 438762 w 1090712"/>
              <a:gd name="connsiteY330" fmla="*/ 343082 h 895572"/>
              <a:gd name="connsiteX331" fmla="*/ 443752 w 1090712"/>
              <a:gd name="connsiteY331" fmla="*/ 370642 h 895572"/>
              <a:gd name="connsiteX332" fmla="*/ 447791 w 1090712"/>
              <a:gd name="connsiteY332" fmla="*/ 397015 h 895572"/>
              <a:gd name="connsiteX333" fmla="*/ 451830 w 1090712"/>
              <a:gd name="connsiteY333" fmla="*/ 421962 h 895572"/>
              <a:gd name="connsiteX334" fmla="*/ 454919 w 1090712"/>
              <a:gd name="connsiteY334" fmla="*/ 446434 h 895572"/>
              <a:gd name="connsiteX335" fmla="*/ 456106 w 1090712"/>
              <a:gd name="connsiteY335" fmla="*/ 458313 h 895572"/>
              <a:gd name="connsiteX336" fmla="*/ 457057 w 1090712"/>
              <a:gd name="connsiteY336" fmla="*/ 470430 h 895572"/>
              <a:gd name="connsiteX337" fmla="*/ 457532 w 1090712"/>
              <a:gd name="connsiteY337" fmla="*/ 482310 h 895572"/>
              <a:gd name="connsiteX338" fmla="*/ 457532 w 1090712"/>
              <a:gd name="connsiteY338" fmla="*/ 493952 h 895572"/>
              <a:gd name="connsiteX339" fmla="*/ 457532 w 1090712"/>
              <a:gd name="connsiteY339" fmla="*/ 506069 h 895572"/>
              <a:gd name="connsiteX340" fmla="*/ 456582 w 1090712"/>
              <a:gd name="connsiteY340" fmla="*/ 517473 h 895572"/>
              <a:gd name="connsiteX341" fmla="*/ 455869 w 1090712"/>
              <a:gd name="connsiteY341" fmla="*/ 529116 h 895572"/>
              <a:gd name="connsiteX342" fmla="*/ 453968 w 1090712"/>
              <a:gd name="connsiteY342" fmla="*/ 540757 h 895572"/>
              <a:gd name="connsiteX343" fmla="*/ 452305 w 1090712"/>
              <a:gd name="connsiteY343" fmla="*/ 552162 h 895572"/>
              <a:gd name="connsiteX344" fmla="*/ 449454 w 1090712"/>
              <a:gd name="connsiteY344" fmla="*/ 563804 h 895572"/>
              <a:gd name="connsiteX345" fmla="*/ 446365 w 1090712"/>
              <a:gd name="connsiteY345" fmla="*/ 575446 h 895572"/>
              <a:gd name="connsiteX346" fmla="*/ 442326 w 1090712"/>
              <a:gd name="connsiteY346" fmla="*/ 586850 h 895572"/>
              <a:gd name="connsiteX347" fmla="*/ 440188 w 1090712"/>
              <a:gd name="connsiteY347" fmla="*/ 591364 h 895572"/>
              <a:gd name="connsiteX348" fmla="*/ 437574 w 1090712"/>
              <a:gd name="connsiteY348" fmla="*/ 595403 h 895572"/>
              <a:gd name="connsiteX349" fmla="*/ 434486 w 1090712"/>
              <a:gd name="connsiteY349" fmla="*/ 598967 h 895572"/>
              <a:gd name="connsiteX350" fmla="*/ 431397 w 1090712"/>
              <a:gd name="connsiteY350" fmla="*/ 602531 h 895572"/>
              <a:gd name="connsiteX351" fmla="*/ 428071 w 1090712"/>
              <a:gd name="connsiteY351" fmla="*/ 605145 h 895572"/>
              <a:gd name="connsiteX352" fmla="*/ 424982 w 1090712"/>
              <a:gd name="connsiteY352" fmla="*/ 607283 h 895572"/>
              <a:gd name="connsiteX353" fmla="*/ 422369 w 1090712"/>
              <a:gd name="connsiteY353" fmla="*/ 608708 h 895572"/>
              <a:gd name="connsiteX354" fmla="*/ 420230 w 1090712"/>
              <a:gd name="connsiteY354" fmla="*/ 609659 h 895572"/>
              <a:gd name="connsiteX355" fmla="*/ 410727 w 1090712"/>
              <a:gd name="connsiteY355" fmla="*/ 610847 h 895572"/>
              <a:gd name="connsiteX356" fmla="*/ 401461 w 1090712"/>
              <a:gd name="connsiteY356" fmla="*/ 612748 h 895572"/>
              <a:gd name="connsiteX357" fmla="*/ 392670 w 1090712"/>
              <a:gd name="connsiteY357" fmla="*/ 614886 h 895572"/>
              <a:gd name="connsiteX358" fmla="*/ 383641 w 1090712"/>
              <a:gd name="connsiteY358" fmla="*/ 617262 h 895572"/>
              <a:gd name="connsiteX359" fmla="*/ 374850 w 1090712"/>
              <a:gd name="connsiteY359" fmla="*/ 620350 h 895572"/>
              <a:gd name="connsiteX360" fmla="*/ 365822 w 1090712"/>
              <a:gd name="connsiteY360" fmla="*/ 623914 h 895572"/>
              <a:gd name="connsiteX361" fmla="*/ 348478 w 1090712"/>
              <a:gd name="connsiteY361" fmla="*/ 631042 h 895572"/>
              <a:gd name="connsiteX362" fmla="*/ 331609 w 1090712"/>
              <a:gd name="connsiteY362" fmla="*/ 639358 h 895572"/>
              <a:gd name="connsiteX363" fmla="*/ 314740 w 1090712"/>
              <a:gd name="connsiteY363" fmla="*/ 647911 h 895572"/>
              <a:gd name="connsiteX364" fmla="*/ 281240 w 1090712"/>
              <a:gd name="connsiteY364" fmla="*/ 665255 h 895572"/>
              <a:gd name="connsiteX365" fmla="*/ 274587 w 1090712"/>
              <a:gd name="connsiteY365" fmla="*/ 669294 h 895572"/>
              <a:gd name="connsiteX366" fmla="*/ 267935 w 1090712"/>
              <a:gd name="connsiteY366" fmla="*/ 672858 h 895572"/>
              <a:gd name="connsiteX367" fmla="*/ 261757 w 1090712"/>
              <a:gd name="connsiteY367" fmla="*/ 675947 h 895572"/>
              <a:gd name="connsiteX368" fmla="*/ 255105 w 1090712"/>
              <a:gd name="connsiteY368" fmla="*/ 679035 h 895572"/>
              <a:gd name="connsiteX369" fmla="*/ 248927 w 1090712"/>
              <a:gd name="connsiteY369" fmla="*/ 681174 h 895572"/>
              <a:gd name="connsiteX370" fmla="*/ 242987 w 1090712"/>
              <a:gd name="connsiteY370" fmla="*/ 683075 h 895572"/>
              <a:gd name="connsiteX371" fmla="*/ 236810 w 1090712"/>
              <a:gd name="connsiteY371" fmla="*/ 684738 h 895572"/>
              <a:gd name="connsiteX372" fmla="*/ 231108 w 1090712"/>
              <a:gd name="connsiteY372" fmla="*/ 686163 h 895572"/>
              <a:gd name="connsiteX373" fmla="*/ 225406 w 1090712"/>
              <a:gd name="connsiteY373" fmla="*/ 687114 h 895572"/>
              <a:gd name="connsiteX374" fmla="*/ 219466 w 1090712"/>
              <a:gd name="connsiteY374" fmla="*/ 687589 h 895572"/>
              <a:gd name="connsiteX375" fmla="*/ 213764 w 1090712"/>
              <a:gd name="connsiteY375" fmla="*/ 687589 h 895572"/>
              <a:gd name="connsiteX376" fmla="*/ 208299 w 1090712"/>
              <a:gd name="connsiteY376" fmla="*/ 687589 h 895572"/>
              <a:gd name="connsiteX377" fmla="*/ 203072 w 1090712"/>
              <a:gd name="connsiteY377" fmla="*/ 687114 h 895572"/>
              <a:gd name="connsiteX378" fmla="*/ 197607 w 1090712"/>
              <a:gd name="connsiteY378" fmla="*/ 686163 h 895572"/>
              <a:gd name="connsiteX379" fmla="*/ 192380 w 1090712"/>
              <a:gd name="connsiteY379" fmla="*/ 684738 h 895572"/>
              <a:gd name="connsiteX380" fmla="*/ 186916 w 1090712"/>
              <a:gd name="connsiteY380" fmla="*/ 683550 h 895572"/>
              <a:gd name="connsiteX381" fmla="*/ 181689 w 1090712"/>
              <a:gd name="connsiteY381" fmla="*/ 681649 h 895572"/>
              <a:gd name="connsiteX382" fmla="*/ 176699 w 1090712"/>
              <a:gd name="connsiteY382" fmla="*/ 679986 h 895572"/>
              <a:gd name="connsiteX383" fmla="*/ 171472 w 1090712"/>
              <a:gd name="connsiteY383" fmla="*/ 677610 h 895572"/>
              <a:gd name="connsiteX384" fmla="*/ 166483 w 1090712"/>
              <a:gd name="connsiteY384" fmla="*/ 674996 h 895572"/>
              <a:gd name="connsiteX385" fmla="*/ 156742 w 1090712"/>
              <a:gd name="connsiteY385" fmla="*/ 669294 h 895572"/>
              <a:gd name="connsiteX386" fmla="*/ 147001 w 1090712"/>
              <a:gd name="connsiteY386" fmla="*/ 662167 h 895572"/>
              <a:gd name="connsiteX387" fmla="*/ 137735 w 1090712"/>
              <a:gd name="connsiteY387" fmla="*/ 654564 h 895572"/>
              <a:gd name="connsiteX388" fmla="*/ 127756 w 1090712"/>
              <a:gd name="connsiteY388" fmla="*/ 645535 h 895572"/>
              <a:gd name="connsiteX389" fmla="*/ 118490 w 1090712"/>
              <a:gd name="connsiteY389" fmla="*/ 636269 h 895572"/>
              <a:gd name="connsiteX390" fmla="*/ 109224 w 1090712"/>
              <a:gd name="connsiteY390" fmla="*/ 626053 h 895572"/>
              <a:gd name="connsiteX391" fmla="*/ 107323 w 1090712"/>
              <a:gd name="connsiteY391" fmla="*/ 623914 h 895572"/>
              <a:gd name="connsiteX392" fmla="*/ 106135 w 1090712"/>
              <a:gd name="connsiteY392" fmla="*/ 620350 h 895572"/>
              <a:gd name="connsiteX393" fmla="*/ 105185 w 1090712"/>
              <a:gd name="connsiteY393" fmla="*/ 616311 h 895572"/>
              <a:gd name="connsiteX394" fmla="*/ 105185 w 1090712"/>
              <a:gd name="connsiteY394" fmla="*/ 612272 h 895572"/>
              <a:gd name="connsiteX395" fmla="*/ 105185 w 1090712"/>
              <a:gd name="connsiteY395" fmla="*/ 608233 h 895572"/>
              <a:gd name="connsiteX396" fmla="*/ 106135 w 1090712"/>
              <a:gd name="connsiteY396" fmla="*/ 604194 h 895572"/>
              <a:gd name="connsiteX397" fmla="*/ 107323 w 1090712"/>
              <a:gd name="connsiteY397" fmla="*/ 600630 h 895572"/>
              <a:gd name="connsiteX398" fmla="*/ 109224 w 1090712"/>
              <a:gd name="connsiteY398" fmla="*/ 598017 h 895572"/>
              <a:gd name="connsiteX399" fmla="*/ 111837 w 1090712"/>
              <a:gd name="connsiteY399" fmla="*/ 591840 h 895572"/>
              <a:gd name="connsiteX400" fmla="*/ 113975 w 1090712"/>
              <a:gd name="connsiteY400" fmla="*/ 586137 h 895572"/>
              <a:gd name="connsiteX401" fmla="*/ 115401 w 1090712"/>
              <a:gd name="connsiteY401" fmla="*/ 579722 h 895572"/>
              <a:gd name="connsiteX402" fmla="*/ 115876 w 1090712"/>
              <a:gd name="connsiteY402" fmla="*/ 574020 h 895572"/>
              <a:gd name="connsiteX403" fmla="*/ 115876 w 1090712"/>
              <a:gd name="connsiteY403" fmla="*/ 568318 h 895572"/>
              <a:gd name="connsiteX404" fmla="*/ 115401 w 1090712"/>
              <a:gd name="connsiteY404" fmla="*/ 562378 h 895572"/>
              <a:gd name="connsiteX405" fmla="*/ 114451 w 1090712"/>
              <a:gd name="connsiteY405" fmla="*/ 557151 h 895572"/>
              <a:gd name="connsiteX406" fmla="*/ 112788 w 1090712"/>
              <a:gd name="connsiteY406" fmla="*/ 551449 h 895572"/>
              <a:gd name="connsiteX407" fmla="*/ 110412 w 1090712"/>
              <a:gd name="connsiteY407" fmla="*/ 545984 h 895572"/>
              <a:gd name="connsiteX408" fmla="*/ 108273 w 1090712"/>
              <a:gd name="connsiteY408" fmla="*/ 540757 h 895572"/>
              <a:gd name="connsiteX409" fmla="*/ 105185 w 1090712"/>
              <a:gd name="connsiteY409" fmla="*/ 535293 h 895572"/>
              <a:gd name="connsiteX410" fmla="*/ 102096 w 1090712"/>
              <a:gd name="connsiteY410" fmla="*/ 530066 h 895572"/>
              <a:gd name="connsiteX411" fmla="*/ 94968 w 1090712"/>
              <a:gd name="connsiteY411" fmla="*/ 519374 h 895572"/>
              <a:gd name="connsiteX412" fmla="*/ 86890 w 1090712"/>
              <a:gd name="connsiteY412" fmla="*/ 508683 h 895572"/>
              <a:gd name="connsiteX413" fmla="*/ 78812 w 1090712"/>
              <a:gd name="connsiteY413" fmla="*/ 497991 h 895572"/>
              <a:gd name="connsiteX414" fmla="*/ 70972 w 1090712"/>
              <a:gd name="connsiteY414" fmla="*/ 486824 h 895572"/>
              <a:gd name="connsiteX415" fmla="*/ 67408 w 1090712"/>
              <a:gd name="connsiteY415" fmla="*/ 481122 h 895572"/>
              <a:gd name="connsiteX416" fmla="*/ 64319 w 1090712"/>
              <a:gd name="connsiteY416" fmla="*/ 474707 h 895572"/>
              <a:gd name="connsiteX417" fmla="*/ 61230 w 1090712"/>
              <a:gd name="connsiteY417" fmla="*/ 469005 h 895572"/>
              <a:gd name="connsiteX418" fmla="*/ 58379 w 1090712"/>
              <a:gd name="connsiteY418" fmla="*/ 462828 h 895572"/>
              <a:gd name="connsiteX419" fmla="*/ 56716 w 1090712"/>
              <a:gd name="connsiteY419" fmla="*/ 456175 h 895572"/>
              <a:gd name="connsiteX420" fmla="*/ 54815 w 1090712"/>
              <a:gd name="connsiteY420" fmla="*/ 449998 h 895572"/>
              <a:gd name="connsiteX421" fmla="*/ 54103 w 1090712"/>
              <a:gd name="connsiteY421" fmla="*/ 443345 h 895572"/>
              <a:gd name="connsiteX422" fmla="*/ 53627 w 1090712"/>
              <a:gd name="connsiteY422" fmla="*/ 436455 h 895572"/>
              <a:gd name="connsiteX423" fmla="*/ 53627 w 1090712"/>
              <a:gd name="connsiteY423" fmla="*/ 429327 h 895572"/>
              <a:gd name="connsiteX424" fmla="*/ 54815 w 1090712"/>
              <a:gd name="connsiteY424" fmla="*/ 422675 h 895572"/>
              <a:gd name="connsiteX425" fmla="*/ 56716 w 1090712"/>
              <a:gd name="connsiteY425" fmla="*/ 415547 h 895572"/>
              <a:gd name="connsiteX426" fmla="*/ 59330 w 1090712"/>
              <a:gd name="connsiteY426" fmla="*/ 408182 h 895572"/>
              <a:gd name="connsiteX427" fmla="*/ 60280 w 1090712"/>
              <a:gd name="connsiteY427" fmla="*/ 403192 h 895572"/>
              <a:gd name="connsiteX428" fmla="*/ 61943 w 1090712"/>
              <a:gd name="connsiteY428" fmla="*/ 397965 h 895572"/>
              <a:gd name="connsiteX429" fmla="*/ 65507 w 1090712"/>
              <a:gd name="connsiteY429" fmla="*/ 387986 h 895572"/>
              <a:gd name="connsiteX430" fmla="*/ 69546 w 1090712"/>
              <a:gd name="connsiteY430" fmla="*/ 378720 h 895572"/>
              <a:gd name="connsiteX431" fmla="*/ 74535 w 1090712"/>
              <a:gd name="connsiteY431" fmla="*/ 369929 h 895572"/>
              <a:gd name="connsiteX432" fmla="*/ 79762 w 1090712"/>
              <a:gd name="connsiteY432" fmla="*/ 360901 h 895572"/>
              <a:gd name="connsiteX433" fmla="*/ 85940 w 1090712"/>
              <a:gd name="connsiteY433" fmla="*/ 352585 h 895572"/>
              <a:gd name="connsiteX434" fmla="*/ 98057 w 1090712"/>
              <a:gd name="connsiteY434" fmla="*/ 335479 h 895572"/>
              <a:gd name="connsiteX435" fmla="*/ 102571 w 1090712"/>
              <a:gd name="connsiteY435" fmla="*/ 328113 h 895572"/>
              <a:gd name="connsiteX436" fmla="*/ 106848 w 1090712"/>
              <a:gd name="connsiteY436" fmla="*/ 320986 h 895572"/>
              <a:gd name="connsiteX437" fmla="*/ 116827 w 1090712"/>
              <a:gd name="connsiteY437" fmla="*/ 307205 h 895572"/>
              <a:gd name="connsiteX438" fmla="*/ 127043 w 1090712"/>
              <a:gd name="connsiteY438" fmla="*/ 293188 h 895572"/>
              <a:gd name="connsiteX439" fmla="*/ 137735 w 1090712"/>
              <a:gd name="connsiteY439" fmla="*/ 279407 h 895572"/>
              <a:gd name="connsiteX440" fmla="*/ 159831 w 1090712"/>
              <a:gd name="connsiteY440" fmla="*/ 251847 h 895572"/>
              <a:gd name="connsiteX441" fmla="*/ 170522 w 1090712"/>
              <a:gd name="connsiteY441" fmla="*/ 238066 h 895572"/>
              <a:gd name="connsiteX442" fmla="*/ 181214 w 1090712"/>
              <a:gd name="connsiteY442" fmla="*/ 223336 h 895572"/>
              <a:gd name="connsiteX443" fmla="*/ 164820 w 1090712"/>
              <a:gd name="connsiteY443" fmla="*/ 223336 h 895572"/>
              <a:gd name="connsiteX444" fmla="*/ 137972 w 1090712"/>
              <a:gd name="connsiteY444" fmla="*/ 230226 h 895572"/>
              <a:gd name="connsiteX445" fmla="*/ 125142 w 1090712"/>
              <a:gd name="connsiteY445" fmla="*/ 233790 h 895572"/>
              <a:gd name="connsiteX446" fmla="*/ 112788 w 1090712"/>
              <a:gd name="connsiteY446" fmla="*/ 237591 h 895572"/>
              <a:gd name="connsiteX447" fmla="*/ 100195 w 1090712"/>
              <a:gd name="connsiteY447" fmla="*/ 241630 h 895572"/>
              <a:gd name="connsiteX448" fmla="*/ 87840 w 1090712"/>
              <a:gd name="connsiteY448" fmla="*/ 245669 h 895572"/>
              <a:gd name="connsiteX449" fmla="*/ 75723 w 1090712"/>
              <a:gd name="connsiteY449" fmla="*/ 250183 h 895572"/>
              <a:gd name="connsiteX450" fmla="*/ 64319 w 1090712"/>
              <a:gd name="connsiteY450" fmla="*/ 254935 h 895572"/>
              <a:gd name="connsiteX451" fmla="*/ 52677 w 1090712"/>
              <a:gd name="connsiteY451" fmla="*/ 260400 h 895572"/>
              <a:gd name="connsiteX452" fmla="*/ 41035 w 1090712"/>
              <a:gd name="connsiteY452" fmla="*/ 265627 h 895572"/>
              <a:gd name="connsiteX453" fmla="*/ 29868 w 1090712"/>
              <a:gd name="connsiteY453" fmla="*/ 271567 h 895572"/>
              <a:gd name="connsiteX454" fmla="*/ 18939 w 1090712"/>
              <a:gd name="connsiteY454" fmla="*/ 277744 h 895572"/>
              <a:gd name="connsiteX455" fmla="*/ 7772 w 1090712"/>
              <a:gd name="connsiteY455" fmla="*/ 284397 h 895572"/>
              <a:gd name="connsiteX456" fmla="*/ 0 w 1090712"/>
              <a:gd name="connsiteY456" fmla="*/ 289924 h 895572"/>
              <a:gd name="connsiteX457" fmla="*/ 0 w 1090712"/>
              <a:gd name="connsiteY457" fmla="*/ 895572 h 895572"/>
              <a:gd name="connsiteX458" fmla="*/ 125653 w 1090712"/>
              <a:gd name="connsiteY458" fmla="*/ 895572 h 895572"/>
              <a:gd name="connsiteX459" fmla="*/ 127756 w 1090712"/>
              <a:gd name="connsiteY459" fmla="*/ 892155 h 895572"/>
              <a:gd name="connsiteX460" fmla="*/ 131082 w 1090712"/>
              <a:gd name="connsiteY460" fmla="*/ 885502 h 895572"/>
              <a:gd name="connsiteX461" fmla="*/ 133696 w 1090712"/>
              <a:gd name="connsiteY461" fmla="*/ 878374 h 895572"/>
              <a:gd name="connsiteX462" fmla="*/ 135834 w 1090712"/>
              <a:gd name="connsiteY462" fmla="*/ 871722 h 895572"/>
              <a:gd name="connsiteX463" fmla="*/ 137735 w 1090712"/>
              <a:gd name="connsiteY463" fmla="*/ 864594 h 895572"/>
              <a:gd name="connsiteX464" fmla="*/ 138923 w 1090712"/>
              <a:gd name="connsiteY464" fmla="*/ 857466 h 895572"/>
              <a:gd name="connsiteX465" fmla="*/ 140348 w 1090712"/>
              <a:gd name="connsiteY465" fmla="*/ 850339 h 895572"/>
              <a:gd name="connsiteX466" fmla="*/ 141298 w 1090712"/>
              <a:gd name="connsiteY466" fmla="*/ 843211 h 895572"/>
              <a:gd name="connsiteX467" fmla="*/ 142011 w 1090712"/>
              <a:gd name="connsiteY467" fmla="*/ 828955 h 895572"/>
              <a:gd name="connsiteX468" fmla="*/ 142486 w 1090712"/>
              <a:gd name="connsiteY468" fmla="*/ 814225 h 895572"/>
              <a:gd name="connsiteX469" fmla="*/ 142486 w 1090712"/>
              <a:gd name="connsiteY469" fmla="*/ 799494 h 895572"/>
              <a:gd name="connsiteX470" fmla="*/ 142486 w 1090712"/>
              <a:gd name="connsiteY470" fmla="*/ 782625 h 895572"/>
              <a:gd name="connsiteX471" fmla="*/ 142486 w 1090712"/>
              <a:gd name="connsiteY471" fmla="*/ 771458 h 895572"/>
              <a:gd name="connsiteX472" fmla="*/ 143912 w 1090712"/>
              <a:gd name="connsiteY472" fmla="*/ 778586 h 895572"/>
              <a:gd name="connsiteX473" fmla="*/ 145100 w 1090712"/>
              <a:gd name="connsiteY473" fmla="*/ 784526 h 895572"/>
              <a:gd name="connsiteX474" fmla="*/ 147476 w 1090712"/>
              <a:gd name="connsiteY474" fmla="*/ 789753 h 895572"/>
              <a:gd name="connsiteX475" fmla="*/ 149614 w 1090712"/>
              <a:gd name="connsiteY475" fmla="*/ 794267 h 895572"/>
              <a:gd name="connsiteX476" fmla="*/ 152228 w 1090712"/>
              <a:gd name="connsiteY476" fmla="*/ 797831 h 895572"/>
              <a:gd name="connsiteX477" fmla="*/ 155554 w 1090712"/>
              <a:gd name="connsiteY477" fmla="*/ 801395 h 895572"/>
              <a:gd name="connsiteX478" fmla="*/ 158643 w 1090712"/>
              <a:gd name="connsiteY478" fmla="*/ 803533 h 895572"/>
              <a:gd name="connsiteX479" fmla="*/ 162206 w 1090712"/>
              <a:gd name="connsiteY479" fmla="*/ 805909 h 895572"/>
              <a:gd name="connsiteX480" fmla="*/ 165770 w 1090712"/>
              <a:gd name="connsiteY480" fmla="*/ 807572 h 895572"/>
              <a:gd name="connsiteX481" fmla="*/ 169572 w 1090712"/>
              <a:gd name="connsiteY481" fmla="*/ 808523 h 895572"/>
              <a:gd name="connsiteX482" fmla="*/ 174086 w 1090712"/>
              <a:gd name="connsiteY482" fmla="*/ 809473 h 895572"/>
              <a:gd name="connsiteX483" fmla="*/ 178600 w 1090712"/>
              <a:gd name="connsiteY483" fmla="*/ 810186 h 895572"/>
              <a:gd name="connsiteX484" fmla="*/ 187866 w 1090712"/>
              <a:gd name="connsiteY484" fmla="*/ 810661 h 895572"/>
              <a:gd name="connsiteX485" fmla="*/ 198083 w 1090712"/>
              <a:gd name="connsiteY485" fmla="*/ 810661 h 895572"/>
              <a:gd name="connsiteX486" fmla="*/ 236810 w 1090712"/>
              <a:gd name="connsiteY486" fmla="*/ 810661 h 895572"/>
              <a:gd name="connsiteX487" fmla="*/ 249640 w 1090712"/>
              <a:gd name="connsiteY487" fmla="*/ 811136 h 895572"/>
              <a:gd name="connsiteX488" fmla="*/ 263183 w 1090712"/>
              <a:gd name="connsiteY488" fmla="*/ 811611 h 895572"/>
              <a:gd name="connsiteX489" fmla="*/ 270310 w 1090712"/>
              <a:gd name="connsiteY489" fmla="*/ 811611 h 895572"/>
              <a:gd name="connsiteX490" fmla="*/ 276963 w 1090712"/>
              <a:gd name="connsiteY490" fmla="*/ 811136 h 895572"/>
              <a:gd name="connsiteX491" fmla="*/ 283140 w 1090712"/>
              <a:gd name="connsiteY491" fmla="*/ 810186 h 895572"/>
              <a:gd name="connsiteX492" fmla="*/ 289793 w 1090712"/>
              <a:gd name="connsiteY492" fmla="*/ 808523 h 895572"/>
              <a:gd name="connsiteX493" fmla="*/ 295495 w 1090712"/>
              <a:gd name="connsiteY493" fmla="*/ 806147 h 895572"/>
              <a:gd name="connsiteX494" fmla="*/ 301435 w 1090712"/>
              <a:gd name="connsiteY494" fmla="*/ 803058 h 895572"/>
              <a:gd name="connsiteX495" fmla="*/ 304524 w 1090712"/>
              <a:gd name="connsiteY495" fmla="*/ 801395 h 895572"/>
              <a:gd name="connsiteX496" fmla="*/ 307137 w 1090712"/>
              <a:gd name="connsiteY496" fmla="*/ 799256 h 895572"/>
              <a:gd name="connsiteX497" fmla="*/ 309275 w 1090712"/>
              <a:gd name="connsiteY497" fmla="*/ 796881 h 895572"/>
              <a:gd name="connsiteX498" fmla="*/ 312126 w 1090712"/>
              <a:gd name="connsiteY498" fmla="*/ 794267 h 895572"/>
              <a:gd name="connsiteX499" fmla="*/ 314265 w 1090712"/>
              <a:gd name="connsiteY499" fmla="*/ 791178 h 895572"/>
              <a:gd name="connsiteX500" fmla="*/ 316403 w 1090712"/>
              <a:gd name="connsiteY500" fmla="*/ 788090 h 895572"/>
              <a:gd name="connsiteX501" fmla="*/ 318304 w 1090712"/>
              <a:gd name="connsiteY501" fmla="*/ 784051 h 895572"/>
              <a:gd name="connsiteX502" fmla="*/ 319967 w 1090712"/>
              <a:gd name="connsiteY502" fmla="*/ 780012 h 895572"/>
              <a:gd name="connsiteX503" fmla="*/ 321868 w 1090712"/>
              <a:gd name="connsiteY503" fmla="*/ 775973 h 895572"/>
              <a:gd name="connsiteX504" fmla="*/ 323056 w 1090712"/>
              <a:gd name="connsiteY504" fmla="*/ 771221 h 895572"/>
              <a:gd name="connsiteX505" fmla="*/ 324481 w 1090712"/>
              <a:gd name="connsiteY505" fmla="*/ 765756 h 895572"/>
              <a:gd name="connsiteX506" fmla="*/ 325907 w 1090712"/>
              <a:gd name="connsiteY506" fmla="*/ 760529 h 895572"/>
              <a:gd name="connsiteX507" fmla="*/ 325907 w 1090712"/>
              <a:gd name="connsiteY507" fmla="*/ 827530 h 895572"/>
              <a:gd name="connsiteX508" fmla="*/ 310226 w 1090712"/>
              <a:gd name="connsiteY508" fmla="*/ 835608 h 895572"/>
              <a:gd name="connsiteX509" fmla="*/ 295970 w 1090712"/>
              <a:gd name="connsiteY509" fmla="*/ 843686 h 895572"/>
              <a:gd name="connsiteX510" fmla="*/ 282665 w 1090712"/>
              <a:gd name="connsiteY510" fmla="*/ 850339 h 895572"/>
              <a:gd name="connsiteX511" fmla="*/ 276488 w 1090712"/>
              <a:gd name="connsiteY511" fmla="*/ 852952 h 895572"/>
              <a:gd name="connsiteX512" fmla="*/ 270310 w 1090712"/>
              <a:gd name="connsiteY512" fmla="*/ 855565 h 895572"/>
              <a:gd name="connsiteX513" fmla="*/ 266271 w 1090712"/>
              <a:gd name="connsiteY513" fmla="*/ 857942 h 895572"/>
              <a:gd name="connsiteX514" fmla="*/ 262708 w 1090712"/>
              <a:gd name="connsiteY514" fmla="*/ 860080 h 895572"/>
              <a:gd name="connsiteX515" fmla="*/ 259619 w 1090712"/>
              <a:gd name="connsiteY515" fmla="*/ 862693 h 895572"/>
              <a:gd name="connsiteX516" fmla="*/ 256768 w 1090712"/>
              <a:gd name="connsiteY516" fmla="*/ 865544 h 895572"/>
              <a:gd name="connsiteX517" fmla="*/ 254154 w 1090712"/>
              <a:gd name="connsiteY517" fmla="*/ 868633 h 895572"/>
              <a:gd name="connsiteX518" fmla="*/ 252491 w 1090712"/>
              <a:gd name="connsiteY518" fmla="*/ 871722 h 895572"/>
              <a:gd name="connsiteX519" fmla="*/ 250590 w 1090712"/>
              <a:gd name="connsiteY519" fmla="*/ 874810 h 895572"/>
              <a:gd name="connsiteX520" fmla="*/ 249402 w 1090712"/>
              <a:gd name="connsiteY520" fmla="*/ 877899 h 895572"/>
              <a:gd name="connsiteX521" fmla="*/ 248452 w 1090712"/>
              <a:gd name="connsiteY521" fmla="*/ 880988 h 895572"/>
              <a:gd name="connsiteX522" fmla="*/ 247977 w 1090712"/>
              <a:gd name="connsiteY522" fmla="*/ 884076 h 895572"/>
              <a:gd name="connsiteX523" fmla="*/ 247977 w 1090712"/>
              <a:gd name="connsiteY523" fmla="*/ 887165 h 895572"/>
              <a:gd name="connsiteX524" fmla="*/ 248452 w 1090712"/>
              <a:gd name="connsiteY524" fmla="*/ 890016 h 895572"/>
              <a:gd name="connsiteX525" fmla="*/ 249402 w 1090712"/>
              <a:gd name="connsiteY525" fmla="*/ 893105 h 895572"/>
              <a:gd name="connsiteX526" fmla="*/ 250075 w 1090712"/>
              <a:gd name="connsiteY526" fmla="*/ 895572 h 895572"/>
              <a:gd name="connsiteX527" fmla="*/ 474750 w 1090712"/>
              <a:gd name="connsiteY527" fmla="*/ 895572 h 895572"/>
              <a:gd name="connsiteX528" fmla="*/ 475827 w 1090712"/>
              <a:gd name="connsiteY528" fmla="*/ 894768 h 895572"/>
              <a:gd name="connsiteX529" fmla="*/ 486993 w 1090712"/>
              <a:gd name="connsiteY529" fmla="*/ 882889 h 895572"/>
              <a:gd name="connsiteX530" fmla="*/ 497210 w 1090712"/>
              <a:gd name="connsiteY530" fmla="*/ 870296 h 895572"/>
              <a:gd name="connsiteX531" fmla="*/ 506951 w 1090712"/>
              <a:gd name="connsiteY531" fmla="*/ 857942 h 895572"/>
              <a:gd name="connsiteX532" fmla="*/ 515742 w 1090712"/>
              <a:gd name="connsiteY532" fmla="*/ 844636 h 895572"/>
              <a:gd name="connsiteX533" fmla="*/ 523820 w 1090712"/>
              <a:gd name="connsiteY533" fmla="*/ 831094 h 895572"/>
              <a:gd name="connsiteX534" fmla="*/ 531898 w 1090712"/>
              <a:gd name="connsiteY534" fmla="*/ 816838 h 895572"/>
              <a:gd name="connsiteX535" fmla="*/ 539026 w 1090712"/>
              <a:gd name="connsiteY535" fmla="*/ 802583 h 895572"/>
              <a:gd name="connsiteX536" fmla="*/ 545678 w 1090712"/>
              <a:gd name="connsiteY536" fmla="*/ 788565 h 895572"/>
              <a:gd name="connsiteX537" fmla="*/ 552331 w 1090712"/>
              <a:gd name="connsiteY537" fmla="*/ 773359 h 895572"/>
              <a:gd name="connsiteX538" fmla="*/ 558033 w 1090712"/>
              <a:gd name="connsiteY538" fmla="*/ 758628 h 895572"/>
              <a:gd name="connsiteX539" fmla="*/ 563498 w 1090712"/>
              <a:gd name="connsiteY539" fmla="*/ 743185 h 895572"/>
              <a:gd name="connsiteX540" fmla="*/ 568725 w 1090712"/>
              <a:gd name="connsiteY540" fmla="*/ 727979 h 895572"/>
              <a:gd name="connsiteX541" fmla="*/ 573714 w 1090712"/>
              <a:gd name="connsiteY541" fmla="*/ 712298 h 895572"/>
              <a:gd name="connsiteX542" fmla="*/ 577991 w 1090712"/>
              <a:gd name="connsiteY542" fmla="*/ 696855 h 895572"/>
              <a:gd name="connsiteX543" fmla="*/ 586544 w 1090712"/>
              <a:gd name="connsiteY543" fmla="*/ 665255 h 895572"/>
              <a:gd name="connsiteX544" fmla="*/ 586069 w 1090712"/>
              <a:gd name="connsiteY544" fmla="*/ 663117 h 895572"/>
              <a:gd name="connsiteX545" fmla="*/ 584881 w 1090712"/>
              <a:gd name="connsiteY545" fmla="*/ 660266 h 895572"/>
              <a:gd name="connsiteX546" fmla="*/ 582980 w 1090712"/>
              <a:gd name="connsiteY546" fmla="*/ 657177 h 895572"/>
              <a:gd name="connsiteX547" fmla="*/ 580367 w 1090712"/>
              <a:gd name="connsiteY547" fmla="*/ 654088 h 895572"/>
              <a:gd name="connsiteX548" fmla="*/ 574902 w 1090712"/>
              <a:gd name="connsiteY548" fmla="*/ 647911 h 895572"/>
              <a:gd name="connsiteX549" fmla="*/ 570150 w 1090712"/>
              <a:gd name="connsiteY549" fmla="*/ 642922 h 895572"/>
              <a:gd name="connsiteX550" fmla="*/ 565636 w 1090712"/>
              <a:gd name="connsiteY550" fmla="*/ 636744 h 895572"/>
              <a:gd name="connsiteX551" fmla="*/ 560647 w 1090712"/>
              <a:gd name="connsiteY551" fmla="*/ 631517 h 895572"/>
              <a:gd name="connsiteX552" fmla="*/ 555420 w 1090712"/>
              <a:gd name="connsiteY552" fmla="*/ 626053 h 895572"/>
              <a:gd name="connsiteX553" fmla="*/ 550193 w 1090712"/>
              <a:gd name="connsiteY553" fmla="*/ 621301 h 895572"/>
              <a:gd name="connsiteX554" fmla="*/ 544253 w 1090712"/>
              <a:gd name="connsiteY554" fmla="*/ 616787 h 895572"/>
              <a:gd name="connsiteX555" fmla="*/ 538075 w 1090712"/>
              <a:gd name="connsiteY555" fmla="*/ 612272 h 895572"/>
              <a:gd name="connsiteX556" fmla="*/ 525721 w 1090712"/>
              <a:gd name="connsiteY556" fmla="*/ 603719 h 895572"/>
              <a:gd name="connsiteX557" fmla="*/ 563023 w 1090712"/>
              <a:gd name="connsiteY557" fmla="*/ 619875 h 895572"/>
              <a:gd name="connsiteX558" fmla="*/ 581317 w 1090712"/>
              <a:gd name="connsiteY558" fmla="*/ 628191 h 895572"/>
              <a:gd name="connsiteX559" fmla="*/ 599374 w 1090712"/>
              <a:gd name="connsiteY559" fmla="*/ 636744 h 895572"/>
              <a:gd name="connsiteX560" fmla="*/ 607927 w 1090712"/>
              <a:gd name="connsiteY560" fmla="*/ 641259 h 895572"/>
              <a:gd name="connsiteX561" fmla="*/ 616718 w 1090712"/>
              <a:gd name="connsiteY561" fmla="*/ 646010 h 895572"/>
              <a:gd name="connsiteX562" fmla="*/ 625271 w 1090712"/>
              <a:gd name="connsiteY562" fmla="*/ 651000 h 895572"/>
              <a:gd name="connsiteX563" fmla="*/ 633349 w 1090712"/>
              <a:gd name="connsiteY563" fmla="*/ 656227 h 895572"/>
              <a:gd name="connsiteX564" fmla="*/ 641665 w 1090712"/>
              <a:gd name="connsiteY564" fmla="*/ 662167 h 895572"/>
              <a:gd name="connsiteX565" fmla="*/ 649268 w 1090712"/>
              <a:gd name="connsiteY565" fmla="*/ 668344 h 895572"/>
              <a:gd name="connsiteX566" fmla="*/ 656871 w 1090712"/>
              <a:gd name="connsiteY566" fmla="*/ 674996 h 895572"/>
              <a:gd name="connsiteX567" fmla="*/ 664474 w 1090712"/>
              <a:gd name="connsiteY567" fmla="*/ 682124 h 895572"/>
              <a:gd name="connsiteX568" fmla="*/ 668988 w 1090712"/>
              <a:gd name="connsiteY568" fmla="*/ 686163 h 895572"/>
              <a:gd name="connsiteX569" fmla="*/ 672790 w 1090712"/>
              <a:gd name="connsiteY569" fmla="*/ 690202 h 895572"/>
              <a:gd name="connsiteX570" fmla="*/ 677304 w 1090712"/>
              <a:gd name="connsiteY570" fmla="*/ 693291 h 895572"/>
              <a:gd name="connsiteX571" fmla="*/ 682293 w 1090712"/>
              <a:gd name="connsiteY571" fmla="*/ 696855 h 895572"/>
              <a:gd name="connsiteX572" fmla="*/ 686570 w 1090712"/>
              <a:gd name="connsiteY572" fmla="*/ 699468 h 895572"/>
              <a:gd name="connsiteX573" fmla="*/ 691559 w 1090712"/>
              <a:gd name="connsiteY573" fmla="*/ 702082 h 895572"/>
              <a:gd name="connsiteX574" fmla="*/ 696549 w 1090712"/>
              <a:gd name="connsiteY574" fmla="*/ 703983 h 895572"/>
              <a:gd name="connsiteX575" fmla="*/ 701300 w 1090712"/>
              <a:gd name="connsiteY575" fmla="*/ 705646 h 895572"/>
              <a:gd name="connsiteX576" fmla="*/ 706290 w 1090712"/>
              <a:gd name="connsiteY576" fmla="*/ 707071 h 895572"/>
              <a:gd name="connsiteX577" fmla="*/ 711042 w 1090712"/>
              <a:gd name="connsiteY577" fmla="*/ 708497 h 895572"/>
              <a:gd name="connsiteX578" fmla="*/ 716506 w 1090712"/>
              <a:gd name="connsiteY578" fmla="*/ 708734 h 895572"/>
              <a:gd name="connsiteX579" fmla="*/ 721258 w 1090712"/>
              <a:gd name="connsiteY579" fmla="*/ 708734 h 895572"/>
              <a:gd name="connsiteX580" fmla="*/ 726723 w 1090712"/>
              <a:gd name="connsiteY580" fmla="*/ 708497 h 895572"/>
              <a:gd name="connsiteX581" fmla="*/ 731712 w 1090712"/>
              <a:gd name="connsiteY581" fmla="*/ 707546 h 895572"/>
              <a:gd name="connsiteX582" fmla="*/ 736939 w 1090712"/>
              <a:gd name="connsiteY582" fmla="*/ 706121 h 895572"/>
              <a:gd name="connsiteX583" fmla="*/ 742166 w 1090712"/>
              <a:gd name="connsiteY583" fmla="*/ 704458 h 895572"/>
              <a:gd name="connsiteX584" fmla="*/ 749294 w 1090712"/>
              <a:gd name="connsiteY584" fmla="*/ 702082 h 895572"/>
              <a:gd name="connsiteX585" fmla="*/ 756184 w 1090712"/>
              <a:gd name="connsiteY585" fmla="*/ 699468 h 895572"/>
              <a:gd name="connsiteX586" fmla="*/ 762361 w 1090712"/>
              <a:gd name="connsiteY586" fmla="*/ 696380 h 895572"/>
              <a:gd name="connsiteX587" fmla="*/ 768063 w 1090712"/>
              <a:gd name="connsiteY587" fmla="*/ 692816 h 895572"/>
              <a:gd name="connsiteX588" fmla="*/ 773528 w 1090712"/>
              <a:gd name="connsiteY588" fmla="*/ 689252 h 895572"/>
              <a:gd name="connsiteX589" fmla="*/ 778755 w 1090712"/>
              <a:gd name="connsiteY589" fmla="*/ 684738 h 895572"/>
              <a:gd name="connsiteX590" fmla="*/ 783269 w 1090712"/>
              <a:gd name="connsiteY590" fmla="*/ 680461 h 895572"/>
              <a:gd name="connsiteX591" fmla="*/ 787308 w 1090712"/>
              <a:gd name="connsiteY591" fmla="*/ 674996 h 895572"/>
              <a:gd name="connsiteX592" fmla="*/ 791110 w 1090712"/>
              <a:gd name="connsiteY592" fmla="*/ 669769 h 895572"/>
              <a:gd name="connsiteX593" fmla="*/ 794436 w 1090712"/>
              <a:gd name="connsiteY593" fmla="*/ 663830 h 895572"/>
              <a:gd name="connsiteX594" fmla="*/ 797050 w 1090712"/>
              <a:gd name="connsiteY594" fmla="*/ 657652 h 895572"/>
              <a:gd name="connsiteX595" fmla="*/ 799188 w 1090712"/>
              <a:gd name="connsiteY595" fmla="*/ 651000 h 895572"/>
              <a:gd name="connsiteX596" fmla="*/ 801089 w 1090712"/>
              <a:gd name="connsiteY596" fmla="*/ 643872 h 895572"/>
              <a:gd name="connsiteX597" fmla="*/ 802277 w 1090712"/>
              <a:gd name="connsiteY597" fmla="*/ 636744 h 895572"/>
              <a:gd name="connsiteX598" fmla="*/ 803227 w 1090712"/>
              <a:gd name="connsiteY598" fmla="*/ 628666 h 895572"/>
              <a:gd name="connsiteX599" fmla="*/ 803227 w 1090712"/>
              <a:gd name="connsiteY599" fmla="*/ 620826 h 895572"/>
              <a:gd name="connsiteX600" fmla="*/ 801089 w 1090712"/>
              <a:gd name="connsiteY600" fmla="*/ 622489 h 895572"/>
              <a:gd name="connsiteX601" fmla="*/ 798238 w 1090712"/>
              <a:gd name="connsiteY601" fmla="*/ 623914 h 895572"/>
              <a:gd name="connsiteX602" fmla="*/ 793011 w 1090712"/>
              <a:gd name="connsiteY602" fmla="*/ 626053 h 895572"/>
              <a:gd name="connsiteX603" fmla="*/ 790397 w 1090712"/>
              <a:gd name="connsiteY603" fmla="*/ 627478 h 895572"/>
              <a:gd name="connsiteX604" fmla="*/ 788496 w 1090712"/>
              <a:gd name="connsiteY604" fmla="*/ 628191 h 895572"/>
              <a:gd name="connsiteX605" fmla="*/ 787308 w 1090712"/>
              <a:gd name="connsiteY605" fmla="*/ 630092 h 895572"/>
              <a:gd name="connsiteX606" fmla="*/ 786833 w 1090712"/>
              <a:gd name="connsiteY606" fmla="*/ 631755 h 895572"/>
              <a:gd name="connsiteX607" fmla="*/ 785408 w 1090712"/>
              <a:gd name="connsiteY607" fmla="*/ 635794 h 895572"/>
              <a:gd name="connsiteX608" fmla="*/ 784220 w 1090712"/>
              <a:gd name="connsiteY608" fmla="*/ 639833 h 895572"/>
              <a:gd name="connsiteX609" fmla="*/ 780656 w 1090712"/>
              <a:gd name="connsiteY609" fmla="*/ 646485 h 895572"/>
              <a:gd name="connsiteX610" fmla="*/ 776617 w 1090712"/>
              <a:gd name="connsiteY610" fmla="*/ 653138 h 895572"/>
              <a:gd name="connsiteX611" fmla="*/ 772103 w 1090712"/>
              <a:gd name="connsiteY611" fmla="*/ 659078 h 895572"/>
              <a:gd name="connsiteX612" fmla="*/ 762361 w 1090712"/>
              <a:gd name="connsiteY612" fmla="*/ 670007 h 895572"/>
              <a:gd name="connsiteX613" fmla="*/ 757847 w 1090712"/>
              <a:gd name="connsiteY613" fmla="*/ 675947 h 895572"/>
              <a:gd name="connsiteX614" fmla="*/ 753333 w 1090712"/>
              <a:gd name="connsiteY614" fmla="*/ 682124 h 895572"/>
              <a:gd name="connsiteX615" fmla="*/ 750244 w 1090712"/>
              <a:gd name="connsiteY615" fmla="*/ 684738 h 895572"/>
              <a:gd name="connsiteX616" fmla="*/ 747155 w 1090712"/>
              <a:gd name="connsiteY616" fmla="*/ 687589 h 895572"/>
              <a:gd name="connsiteX617" fmla="*/ 744067 w 1090712"/>
              <a:gd name="connsiteY617" fmla="*/ 689252 h 895572"/>
              <a:gd name="connsiteX618" fmla="*/ 740978 w 1090712"/>
              <a:gd name="connsiteY618" fmla="*/ 690915 h 895572"/>
              <a:gd name="connsiteX619" fmla="*/ 737890 w 1090712"/>
              <a:gd name="connsiteY619" fmla="*/ 691865 h 895572"/>
              <a:gd name="connsiteX620" fmla="*/ 734801 w 1090712"/>
              <a:gd name="connsiteY620" fmla="*/ 692816 h 895572"/>
              <a:gd name="connsiteX621" fmla="*/ 731950 w 1090712"/>
              <a:gd name="connsiteY621" fmla="*/ 693291 h 895572"/>
              <a:gd name="connsiteX622" fmla="*/ 728861 w 1090712"/>
              <a:gd name="connsiteY622" fmla="*/ 693291 h 895572"/>
              <a:gd name="connsiteX623" fmla="*/ 723634 w 1090712"/>
              <a:gd name="connsiteY623" fmla="*/ 692816 h 895572"/>
              <a:gd name="connsiteX624" fmla="*/ 718169 w 1090712"/>
              <a:gd name="connsiteY624" fmla="*/ 691390 h 895572"/>
              <a:gd name="connsiteX625" fmla="*/ 713418 w 1090712"/>
              <a:gd name="connsiteY625" fmla="*/ 689727 h 895572"/>
              <a:gd name="connsiteX626" fmla="*/ 708903 w 1090712"/>
              <a:gd name="connsiteY626" fmla="*/ 687826 h 895572"/>
              <a:gd name="connsiteX627" fmla="*/ 706765 w 1090712"/>
              <a:gd name="connsiteY627" fmla="*/ 687589 h 895572"/>
              <a:gd name="connsiteX628" fmla="*/ 704864 w 1090712"/>
              <a:gd name="connsiteY628" fmla="*/ 687114 h 895572"/>
              <a:gd name="connsiteX629" fmla="*/ 703201 w 1090712"/>
              <a:gd name="connsiteY629" fmla="*/ 686163 h 895572"/>
              <a:gd name="connsiteX630" fmla="*/ 701776 w 1090712"/>
              <a:gd name="connsiteY630" fmla="*/ 684738 h 895572"/>
              <a:gd name="connsiteX631" fmla="*/ 698687 w 1090712"/>
              <a:gd name="connsiteY631" fmla="*/ 681649 h 895572"/>
              <a:gd name="connsiteX632" fmla="*/ 696549 w 1090712"/>
              <a:gd name="connsiteY632" fmla="*/ 678085 h 895572"/>
              <a:gd name="connsiteX633" fmla="*/ 694648 w 1090712"/>
              <a:gd name="connsiteY633" fmla="*/ 673571 h 895572"/>
              <a:gd name="connsiteX634" fmla="*/ 693460 w 1090712"/>
              <a:gd name="connsiteY634" fmla="*/ 668819 h 895572"/>
              <a:gd name="connsiteX635" fmla="*/ 692510 w 1090712"/>
              <a:gd name="connsiteY635" fmla="*/ 664305 h 895572"/>
              <a:gd name="connsiteX636" fmla="*/ 692510 w 1090712"/>
              <a:gd name="connsiteY636" fmla="*/ 659790 h 895572"/>
              <a:gd name="connsiteX637" fmla="*/ 692510 w 1090712"/>
              <a:gd name="connsiteY637" fmla="*/ 647436 h 895572"/>
              <a:gd name="connsiteX638" fmla="*/ 693460 w 1090712"/>
              <a:gd name="connsiteY638" fmla="*/ 635319 h 895572"/>
              <a:gd name="connsiteX639" fmla="*/ 694173 w 1090712"/>
              <a:gd name="connsiteY639" fmla="*/ 624389 h 895572"/>
              <a:gd name="connsiteX640" fmla="*/ 695598 w 1090712"/>
              <a:gd name="connsiteY640" fmla="*/ 612748 h 895572"/>
              <a:gd name="connsiteX641" fmla="*/ 699162 w 1090712"/>
              <a:gd name="connsiteY641" fmla="*/ 591364 h 895572"/>
              <a:gd name="connsiteX642" fmla="*/ 703676 w 1090712"/>
              <a:gd name="connsiteY642" fmla="*/ 570456 h 895572"/>
              <a:gd name="connsiteX643" fmla="*/ 720070 w 1090712"/>
              <a:gd name="connsiteY643" fmla="*/ 574971 h 895572"/>
              <a:gd name="connsiteX644" fmla="*/ 736939 w 1090712"/>
              <a:gd name="connsiteY644" fmla="*/ 579247 h 895572"/>
              <a:gd name="connsiteX645" fmla="*/ 770677 w 1090712"/>
              <a:gd name="connsiteY645" fmla="*/ 589226 h 895572"/>
              <a:gd name="connsiteX646" fmla="*/ 788021 w 1090712"/>
              <a:gd name="connsiteY646" fmla="*/ 593503 h 895572"/>
              <a:gd name="connsiteX647" fmla="*/ 805365 w 1090712"/>
              <a:gd name="connsiteY647" fmla="*/ 597542 h 895572"/>
              <a:gd name="connsiteX648" fmla="*/ 823660 w 1090712"/>
              <a:gd name="connsiteY648" fmla="*/ 601106 h 895572"/>
              <a:gd name="connsiteX649" fmla="*/ 841954 w 1090712"/>
              <a:gd name="connsiteY649" fmla="*/ 603719 h 895572"/>
              <a:gd name="connsiteX650" fmla="*/ 861437 w 1090712"/>
              <a:gd name="connsiteY650" fmla="*/ 606570 h 895572"/>
              <a:gd name="connsiteX651" fmla="*/ 880682 w 1090712"/>
              <a:gd name="connsiteY651" fmla="*/ 608233 h 895572"/>
              <a:gd name="connsiteX652" fmla="*/ 889948 w 1090712"/>
              <a:gd name="connsiteY652" fmla="*/ 608708 h 895572"/>
              <a:gd name="connsiteX653" fmla="*/ 898976 w 1090712"/>
              <a:gd name="connsiteY653" fmla="*/ 608708 h 895572"/>
              <a:gd name="connsiteX654" fmla="*/ 908242 w 1090712"/>
              <a:gd name="connsiteY654" fmla="*/ 608708 h 895572"/>
              <a:gd name="connsiteX655" fmla="*/ 916795 w 1090712"/>
              <a:gd name="connsiteY655" fmla="*/ 608233 h 895572"/>
              <a:gd name="connsiteX656" fmla="*/ 925586 w 1090712"/>
              <a:gd name="connsiteY656" fmla="*/ 607283 h 895572"/>
              <a:gd name="connsiteX657" fmla="*/ 934140 w 1090712"/>
              <a:gd name="connsiteY657" fmla="*/ 606095 h 895572"/>
              <a:gd name="connsiteX658" fmla="*/ 942455 w 1090712"/>
              <a:gd name="connsiteY658" fmla="*/ 604669 h 895572"/>
              <a:gd name="connsiteX659" fmla="*/ 950533 w 1090712"/>
              <a:gd name="connsiteY659" fmla="*/ 603006 h 895572"/>
              <a:gd name="connsiteX660" fmla="*/ 958611 w 1090712"/>
              <a:gd name="connsiteY660" fmla="*/ 600630 h 895572"/>
              <a:gd name="connsiteX661" fmla="*/ 966452 w 1090712"/>
              <a:gd name="connsiteY661" fmla="*/ 598017 h 895572"/>
              <a:gd name="connsiteX662" fmla="*/ 974055 w 1090712"/>
              <a:gd name="connsiteY662" fmla="*/ 595403 h 895572"/>
              <a:gd name="connsiteX663" fmla="*/ 981658 w 1090712"/>
              <a:gd name="connsiteY663" fmla="*/ 591840 h 895572"/>
              <a:gd name="connsiteX664" fmla="*/ 989261 w 1090712"/>
              <a:gd name="connsiteY664" fmla="*/ 588276 h 895572"/>
              <a:gd name="connsiteX665" fmla="*/ 996388 w 1090712"/>
              <a:gd name="connsiteY665" fmla="*/ 584237 h 895572"/>
              <a:gd name="connsiteX666" fmla="*/ 1003041 w 1090712"/>
              <a:gd name="connsiteY666" fmla="*/ 579247 h 895572"/>
              <a:gd name="connsiteX667" fmla="*/ 1009694 w 1090712"/>
              <a:gd name="connsiteY667" fmla="*/ 574495 h 895572"/>
              <a:gd name="connsiteX668" fmla="*/ 1016346 w 1090712"/>
              <a:gd name="connsiteY668" fmla="*/ 569031 h 895572"/>
              <a:gd name="connsiteX669" fmla="*/ 1022998 w 1090712"/>
              <a:gd name="connsiteY669" fmla="*/ 562853 h 895572"/>
              <a:gd name="connsiteX670" fmla="*/ 1029176 w 1090712"/>
              <a:gd name="connsiteY670" fmla="*/ 556676 h 895572"/>
              <a:gd name="connsiteX671" fmla="*/ 1035116 w 1090712"/>
              <a:gd name="connsiteY671" fmla="*/ 549548 h 895572"/>
              <a:gd name="connsiteX672" fmla="*/ 1040818 w 1090712"/>
              <a:gd name="connsiteY672" fmla="*/ 541945 h 895572"/>
              <a:gd name="connsiteX673" fmla="*/ 1046520 w 1090712"/>
              <a:gd name="connsiteY673" fmla="*/ 534342 h 895572"/>
              <a:gd name="connsiteX674" fmla="*/ 1051985 w 1090712"/>
              <a:gd name="connsiteY674" fmla="*/ 526027 h 895572"/>
              <a:gd name="connsiteX675" fmla="*/ 1056737 w 1090712"/>
              <a:gd name="connsiteY675" fmla="*/ 516523 h 895572"/>
              <a:gd name="connsiteX676" fmla="*/ 1061726 w 1090712"/>
              <a:gd name="connsiteY676" fmla="*/ 507257 h 895572"/>
              <a:gd name="connsiteX677" fmla="*/ 1066715 w 1090712"/>
              <a:gd name="connsiteY677" fmla="*/ 497041 h 895572"/>
              <a:gd name="connsiteX678" fmla="*/ 1070992 w 1090712"/>
              <a:gd name="connsiteY678" fmla="*/ 486349 h 895572"/>
              <a:gd name="connsiteX679" fmla="*/ 1075506 w 1090712"/>
              <a:gd name="connsiteY679" fmla="*/ 475182 h 895572"/>
              <a:gd name="connsiteX680" fmla="*/ 1079070 w 1090712"/>
              <a:gd name="connsiteY680" fmla="*/ 462828 h 895572"/>
              <a:gd name="connsiteX681" fmla="*/ 1082634 w 1090712"/>
              <a:gd name="connsiteY681" fmla="*/ 449998 h 895572"/>
              <a:gd name="connsiteX682" fmla="*/ 1084772 w 1090712"/>
              <a:gd name="connsiteY682" fmla="*/ 437405 h 895572"/>
              <a:gd name="connsiteX683" fmla="*/ 1087148 w 1090712"/>
              <a:gd name="connsiteY683" fmla="*/ 425050 h 895572"/>
              <a:gd name="connsiteX684" fmla="*/ 1088811 w 1090712"/>
              <a:gd name="connsiteY684" fmla="*/ 411983 h 895572"/>
              <a:gd name="connsiteX685" fmla="*/ 1089762 w 1090712"/>
              <a:gd name="connsiteY685" fmla="*/ 399628 h 895572"/>
              <a:gd name="connsiteX686" fmla="*/ 1090712 w 1090712"/>
              <a:gd name="connsiteY686" fmla="*/ 386798 h 895572"/>
              <a:gd name="connsiteX687" fmla="*/ 1090712 w 1090712"/>
              <a:gd name="connsiteY687" fmla="*/ 373731 h 895572"/>
              <a:gd name="connsiteX688" fmla="*/ 1090712 w 1090712"/>
              <a:gd name="connsiteY688" fmla="*/ 360901 h 895572"/>
              <a:gd name="connsiteX689" fmla="*/ 1089762 w 1090712"/>
              <a:gd name="connsiteY689" fmla="*/ 348071 h 895572"/>
              <a:gd name="connsiteX690" fmla="*/ 1088811 w 1090712"/>
              <a:gd name="connsiteY690" fmla="*/ 335004 h 895572"/>
              <a:gd name="connsiteX691" fmla="*/ 1088099 w 1090712"/>
              <a:gd name="connsiteY691" fmla="*/ 321698 h 895572"/>
              <a:gd name="connsiteX692" fmla="*/ 1084772 w 1090712"/>
              <a:gd name="connsiteY692" fmla="*/ 295563 h 895572"/>
              <a:gd name="connsiteX693" fmla="*/ 1080971 w 1090712"/>
              <a:gd name="connsiteY693" fmla="*/ 268478 h 895572"/>
              <a:gd name="connsiteX694" fmla="*/ 1078595 w 1090712"/>
              <a:gd name="connsiteY694" fmla="*/ 258262 h 895572"/>
              <a:gd name="connsiteX695" fmla="*/ 1075981 w 1090712"/>
              <a:gd name="connsiteY695" fmla="*/ 248283 h 895572"/>
              <a:gd name="connsiteX696" fmla="*/ 1072417 w 1090712"/>
              <a:gd name="connsiteY696" fmla="*/ 238542 h 895572"/>
              <a:gd name="connsiteX697" fmla="*/ 1069329 w 1090712"/>
              <a:gd name="connsiteY697" fmla="*/ 229275 h 895572"/>
              <a:gd name="connsiteX698" fmla="*/ 1061251 w 1090712"/>
              <a:gd name="connsiteY698" fmla="*/ 210031 h 895572"/>
              <a:gd name="connsiteX699" fmla="*/ 1053173 w 1090712"/>
              <a:gd name="connsiteY699" fmla="*/ 190073 h 895572"/>
              <a:gd name="connsiteX700" fmla="*/ 1051034 w 1090712"/>
              <a:gd name="connsiteY700" fmla="*/ 186034 h 895572"/>
              <a:gd name="connsiteX701" fmla="*/ 1048896 w 1090712"/>
              <a:gd name="connsiteY701" fmla="*/ 182470 h 895572"/>
              <a:gd name="connsiteX702" fmla="*/ 1046045 w 1090712"/>
              <a:gd name="connsiteY702" fmla="*/ 179381 h 895572"/>
              <a:gd name="connsiteX703" fmla="*/ 1043906 w 1090712"/>
              <a:gd name="connsiteY703" fmla="*/ 176768 h 895572"/>
              <a:gd name="connsiteX704" fmla="*/ 1041293 w 1090712"/>
              <a:gd name="connsiteY704" fmla="*/ 174630 h 895572"/>
              <a:gd name="connsiteX705" fmla="*/ 1038680 w 1090712"/>
              <a:gd name="connsiteY705" fmla="*/ 172729 h 895572"/>
              <a:gd name="connsiteX706" fmla="*/ 1035828 w 1090712"/>
              <a:gd name="connsiteY706" fmla="*/ 171303 h 895572"/>
              <a:gd name="connsiteX707" fmla="*/ 1032740 w 1090712"/>
              <a:gd name="connsiteY707" fmla="*/ 170591 h 895572"/>
              <a:gd name="connsiteX708" fmla="*/ 1030126 w 1090712"/>
              <a:gd name="connsiteY708" fmla="*/ 170591 h 895572"/>
              <a:gd name="connsiteX709" fmla="*/ 1027038 w 1090712"/>
              <a:gd name="connsiteY709" fmla="*/ 170591 h 895572"/>
              <a:gd name="connsiteX710" fmla="*/ 1024424 w 1090712"/>
              <a:gd name="connsiteY710" fmla="*/ 171303 h 895572"/>
              <a:gd name="connsiteX711" fmla="*/ 1021335 w 1090712"/>
              <a:gd name="connsiteY711" fmla="*/ 172729 h 895572"/>
              <a:gd name="connsiteX712" fmla="*/ 1018247 w 1090712"/>
              <a:gd name="connsiteY712" fmla="*/ 174867 h 895572"/>
              <a:gd name="connsiteX713" fmla="*/ 1014920 w 1090712"/>
              <a:gd name="connsiteY713" fmla="*/ 177718 h 895572"/>
              <a:gd name="connsiteX714" fmla="*/ 1011832 w 1090712"/>
              <a:gd name="connsiteY714" fmla="*/ 180807 h 895572"/>
              <a:gd name="connsiteX715" fmla="*/ 1008743 w 1090712"/>
              <a:gd name="connsiteY715" fmla="*/ 184846 h 895572"/>
              <a:gd name="connsiteX716" fmla="*/ 991874 w 1090712"/>
              <a:gd name="connsiteY716" fmla="*/ 201240 h 895572"/>
              <a:gd name="connsiteX717" fmla="*/ 983321 w 1090712"/>
              <a:gd name="connsiteY717" fmla="*/ 209318 h 895572"/>
              <a:gd name="connsiteX718" fmla="*/ 974530 w 1090712"/>
              <a:gd name="connsiteY718" fmla="*/ 216683 h 895572"/>
              <a:gd name="connsiteX719" fmla="*/ 965739 w 1090712"/>
              <a:gd name="connsiteY719" fmla="*/ 223811 h 895572"/>
              <a:gd name="connsiteX720" fmla="*/ 956236 w 1090712"/>
              <a:gd name="connsiteY720" fmla="*/ 230226 h 895572"/>
              <a:gd name="connsiteX721" fmla="*/ 946494 w 1090712"/>
              <a:gd name="connsiteY721" fmla="*/ 235928 h 895572"/>
              <a:gd name="connsiteX722" fmla="*/ 941505 w 1090712"/>
              <a:gd name="connsiteY722" fmla="*/ 238066 h 895572"/>
              <a:gd name="connsiteX723" fmla="*/ 936753 w 1090712"/>
              <a:gd name="connsiteY723" fmla="*/ 240442 h 895572"/>
              <a:gd name="connsiteX724" fmla="*/ 932239 w 1090712"/>
              <a:gd name="connsiteY724" fmla="*/ 242581 h 895572"/>
              <a:gd name="connsiteX725" fmla="*/ 928675 w 1090712"/>
              <a:gd name="connsiteY725" fmla="*/ 245669 h 895572"/>
              <a:gd name="connsiteX726" fmla="*/ 925111 w 1090712"/>
              <a:gd name="connsiteY726" fmla="*/ 249233 h 895572"/>
              <a:gd name="connsiteX727" fmla="*/ 922022 w 1090712"/>
              <a:gd name="connsiteY727" fmla="*/ 252797 h 895572"/>
              <a:gd name="connsiteX728" fmla="*/ 919884 w 1090712"/>
              <a:gd name="connsiteY728" fmla="*/ 257311 h 895572"/>
              <a:gd name="connsiteX729" fmla="*/ 918934 w 1090712"/>
              <a:gd name="connsiteY729" fmla="*/ 259925 h 895572"/>
              <a:gd name="connsiteX730" fmla="*/ 918459 w 1090712"/>
              <a:gd name="connsiteY730" fmla="*/ 262538 h 895572"/>
              <a:gd name="connsiteX731" fmla="*/ 918459 w 1090712"/>
              <a:gd name="connsiteY731" fmla="*/ 265389 h 895572"/>
              <a:gd name="connsiteX732" fmla="*/ 918459 w 1090712"/>
              <a:gd name="connsiteY732" fmla="*/ 268003 h 895572"/>
              <a:gd name="connsiteX733" fmla="*/ 918934 w 1090712"/>
              <a:gd name="connsiteY733" fmla="*/ 271091 h 895572"/>
              <a:gd name="connsiteX734" fmla="*/ 919884 w 1090712"/>
              <a:gd name="connsiteY734" fmla="*/ 274180 h 895572"/>
              <a:gd name="connsiteX735" fmla="*/ 921547 w 1090712"/>
              <a:gd name="connsiteY735" fmla="*/ 282258 h 895572"/>
              <a:gd name="connsiteX736" fmla="*/ 922973 w 1090712"/>
              <a:gd name="connsiteY736" fmla="*/ 290574 h 895572"/>
              <a:gd name="connsiteX737" fmla="*/ 923923 w 1090712"/>
              <a:gd name="connsiteY737" fmla="*/ 299127 h 895572"/>
              <a:gd name="connsiteX738" fmla="*/ 924161 w 1090712"/>
              <a:gd name="connsiteY738" fmla="*/ 307443 h 895572"/>
              <a:gd name="connsiteX739" fmla="*/ 924161 w 1090712"/>
              <a:gd name="connsiteY739" fmla="*/ 315996 h 895572"/>
              <a:gd name="connsiteX740" fmla="*/ 923923 w 1090712"/>
              <a:gd name="connsiteY740" fmla="*/ 324550 h 895572"/>
              <a:gd name="connsiteX741" fmla="*/ 922973 w 1090712"/>
              <a:gd name="connsiteY741" fmla="*/ 332865 h 895572"/>
              <a:gd name="connsiteX742" fmla="*/ 922022 w 1090712"/>
              <a:gd name="connsiteY742" fmla="*/ 340943 h 895572"/>
              <a:gd name="connsiteX743" fmla="*/ 920597 w 1090712"/>
              <a:gd name="connsiteY743" fmla="*/ 349259 h 895572"/>
              <a:gd name="connsiteX744" fmla="*/ 918934 w 1090712"/>
              <a:gd name="connsiteY744" fmla="*/ 357812 h 895572"/>
              <a:gd name="connsiteX745" fmla="*/ 914420 w 1090712"/>
              <a:gd name="connsiteY745" fmla="*/ 374681 h 895572"/>
              <a:gd name="connsiteX746" fmla="*/ 909192 w 1090712"/>
              <a:gd name="connsiteY746" fmla="*/ 391075 h 895572"/>
              <a:gd name="connsiteX747" fmla="*/ 903253 w 1090712"/>
              <a:gd name="connsiteY747" fmla="*/ 408182 h 895572"/>
              <a:gd name="connsiteX748" fmla="*/ 903253 w 1090712"/>
              <a:gd name="connsiteY748" fmla="*/ 397965 h 895572"/>
              <a:gd name="connsiteX749" fmla="*/ 904203 w 1090712"/>
              <a:gd name="connsiteY749" fmla="*/ 387274 h 895572"/>
              <a:gd name="connsiteX750" fmla="*/ 906104 w 1090712"/>
              <a:gd name="connsiteY750" fmla="*/ 367078 h 895572"/>
              <a:gd name="connsiteX751" fmla="*/ 907767 w 1090712"/>
              <a:gd name="connsiteY751" fmla="*/ 347596 h 895572"/>
              <a:gd name="connsiteX752" fmla="*/ 908717 w 1090712"/>
              <a:gd name="connsiteY752" fmla="*/ 338567 h 895572"/>
              <a:gd name="connsiteX753" fmla="*/ 908717 w 1090712"/>
              <a:gd name="connsiteY753" fmla="*/ 329777 h 895572"/>
              <a:gd name="connsiteX754" fmla="*/ 908717 w 1090712"/>
              <a:gd name="connsiteY754" fmla="*/ 325738 h 895572"/>
              <a:gd name="connsiteX755" fmla="*/ 907767 w 1090712"/>
              <a:gd name="connsiteY755" fmla="*/ 322649 h 895572"/>
              <a:gd name="connsiteX756" fmla="*/ 906817 w 1090712"/>
              <a:gd name="connsiteY756" fmla="*/ 319560 h 895572"/>
              <a:gd name="connsiteX757" fmla="*/ 905154 w 1090712"/>
              <a:gd name="connsiteY757" fmla="*/ 316471 h 895572"/>
              <a:gd name="connsiteX758" fmla="*/ 903728 w 1090712"/>
              <a:gd name="connsiteY758" fmla="*/ 314096 h 895572"/>
              <a:gd name="connsiteX759" fmla="*/ 901590 w 1090712"/>
              <a:gd name="connsiteY759" fmla="*/ 311957 h 895572"/>
              <a:gd name="connsiteX760" fmla="*/ 897551 w 1090712"/>
              <a:gd name="connsiteY760" fmla="*/ 307443 h 895572"/>
              <a:gd name="connsiteX761" fmla="*/ 895412 w 1090712"/>
              <a:gd name="connsiteY761" fmla="*/ 309344 h 895572"/>
              <a:gd name="connsiteX762" fmla="*/ 892561 w 1090712"/>
              <a:gd name="connsiteY762" fmla="*/ 310769 h 895572"/>
              <a:gd name="connsiteX763" fmla="*/ 887334 w 1090712"/>
              <a:gd name="connsiteY763" fmla="*/ 313383 h 895572"/>
              <a:gd name="connsiteX764" fmla="*/ 884721 w 1090712"/>
              <a:gd name="connsiteY764" fmla="*/ 314096 h 895572"/>
              <a:gd name="connsiteX765" fmla="*/ 882820 w 1090712"/>
              <a:gd name="connsiteY765" fmla="*/ 315521 h 895572"/>
              <a:gd name="connsiteX766" fmla="*/ 881632 w 1090712"/>
              <a:gd name="connsiteY766" fmla="*/ 316947 h 895572"/>
              <a:gd name="connsiteX767" fmla="*/ 881157 w 1090712"/>
              <a:gd name="connsiteY767" fmla="*/ 318610 h 895572"/>
              <a:gd name="connsiteX768" fmla="*/ 872604 w 1090712"/>
              <a:gd name="connsiteY768" fmla="*/ 331915 h 895572"/>
              <a:gd name="connsiteX769" fmla="*/ 864288 w 1090712"/>
              <a:gd name="connsiteY769" fmla="*/ 346646 h 895572"/>
              <a:gd name="connsiteX770" fmla="*/ 856210 w 1090712"/>
              <a:gd name="connsiteY770" fmla="*/ 361376 h 895572"/>
              <a:gd name="connsiteX771" fmla="*/ 847656 w 1090712"/>
              <a:gd name="connsiteY771" fmla="*/ 374681 h 895572"/>
              <a:gd name="connsiteX772" fmla="*/ 841954 w 1090712"/>
              <a:gd name="connsiteY772" fmla="*/ 374681 h 895572"/>
              <a:gd name="connsiteX773" fmla="*/ 846468 w 1090712"/>
              <a:gd name="connsiteY773" fmla="*/ 357812 h 895572"/>
              <a:gd name="connsiteX774" fmla="*/ 850508 w 1090712"/>
              <a:gd name="connsiteY774" fmla="*/ 339518 h 895572"/>
              <a:gd name="connsiteX775" fmla="*/ 854784 w 1090712"/>
              <a:gd name="connsiteY775" fmla="*/ 319560 h 895572"/>
              <a:gd name="connsiteX776" fmla="*/ 858823 w 1090712"/>
              <a:gd name="connsiteY776" fmla="*/ 296514 h 895572"/>
              <a:gd name="connsiteX777" fmla="*/ 848132 w 1090712"/>
              <a:gd name="connsiteY777" fmla="*/ 303879 h 895572"/>
              <a:gd name="connsiteX778" fmla="*/ 840054 w 1090712"/>
              <a:gd name="connsiteY778" fmla="*/ 310294 h 895572"/>
              <a:gd name="connsiteX779" fmla="*/ 833163 w 1090712"/>
              <a:gd name="connsiteY779" fmla="*/ 316947 h 895572"/>
              <a:gd name="connsiteX780" fmla="*/ 825560 w 1090712"/>
              <a:gd name="connsiteY780" fmla="*/ 324550 h 895572"/>
              <a:gd name="connsiteX781" fmla="*/ 823185 w 1090712"/>
              <a:gd name="connsiteY781" fmla="*/ 326688 h 895572"/>
              <a:gd name="connsiteX782" fmla="*/ 821522 w 1090712"/>
              <a:gd name="connsiteY782" fmla="*/ 329301 h 895572"/>
              <a:gd name="connsiteX783" fmla="*/ 817007 w 1090712"/>
              <a:gd name="connsiteY783" fmla="*/ 335954 h 895572"/>
              <a:gd name="connsiteX784" fmla="*/ 812968 w 1090712"/>
              <a:gd name="connsiteY784" fmla="*/ 344032 h 895572"/>
              <a:gd name="connsiteX785" fmla="*/ 808929 w 1090712"/>
              <a:gd name="connsiteY785" fmla="*/ 352585 h 895572"/>
              <a:gd name="connsiteX786" fmla="*/ 809880 w 1090712"/>
              <a:gd name="connsiteY786" fmla="*/ 343557 h 895572"/>
              <a:gd name="connsiteX787" fmla="*/ 811305 w 1090712"/>
              <a:gd name="connsiteY787" fmla="*/ 335479 h 895572"/>
              <a:gd name="connsiteX788" fmla="*/ 812493 w 1090712"/>
              <a:gd name="connsiteY788" fmla="*/ 328826 h 895572"/>
              <a:gd name="connsiteX789" fmla="*/ 814394 w 1090712"/>
              <a:gd name="connsiteY789" fmla="*/ 323124 h 895572"/>
              <a:gd name="connsiteX790" fmla="*/ 816532 w 1090712"/>
              <a:gd name="connsiteY790" fmla="*/ 317659 h 895572"/>
              <a:gd name="connsiteX791" fmla="*/ 819146 w 1090712"/>
              <a:gd name="connsiteY791" fmla="*/ 313383 h 895572"/>
              <a:gd name="connsiteX792" fmla="*/ 822709 w 1090712"/>
              <a:gd name="connsiteY792" fmla="*/ 309344 h 895572"/>
              <a:gd name="connsiteX793" fmla="*/ 826748 w 1090712"/>
              <a:gd name="connsiteY793" fmla="*/ 306255 h 895572"/>
              <a:gd name="connsiteX794" fmla="*/ 832213 w 1090712"/>
              <a:gd name="connsiteY794" fmla="*/ 303166 h 895572"/>
              <a:gd name="connsiteX795" fmla="*/ 838390 w 1090712"/>
              <a:gd name="connsiteY795" fmla="*/ 300315 h 895572"/>
              <a:gd name="connsiteX796" fmla="*/ 845518 w 1090712"/>
              <a:gd name="connsiteY796" fmla="*/ 298177 h 895572"/>
              <a:gd name="connsiteX797" fmla="*/ 854071 w 1090712"/>
              <a:gd name="connsiteY797" fmla="*/ 295563 h 895572"/>
              <a:gd name="connsiteX798" fmla="*/ 875217 w 1090712"/>
              <a:gd name="connsiteY798" fmla="*/ 290574 h 895572"/>
              <a:gd name="connsiteX799" fmla="*/ 903253 w 1090712"/>
              <a:gd name="connsiteY799" fmla="*/ 285347 h 895572"/>
              <a:gd name="connsiteX800" fmla="*/ 886384 w 1090712"/>
              <a:gd name="connsiteY800" fmla="*/ 268478 h 895572"/>
              <a:gd name="connsiteX801" fmla="*/ 879731 w 1090712"/>
              <a:gd name="connsiteY801" fmla="*/ 270141 h 895572"/>
              <a:gd name="connsiteX802" fmla="*/ 873079 w 1090712"/>
              <a:gd name="connsiteY802" fmla="*/ 271091 h 895572"/>
              <a:gd name="connsiteX803" fmla="*/ 867376 w 1090712"/>
              <a:gd name="connsiteY803" fmla="*/ 271567 h 895572"/>
              <a:gd name="connsiteX804" fmla="*/ 862387 w 1090712"/>
              <a:gd name="connsiteY804" fmla="*/ 271091 h 895572"/>
              <a:gd name="connsiteX805" fmla="*/ 857398 w 1090712"/>
              <a:gd name="connsiteY805" fmla="*/ 269666 h 895572"/>
              <a:gd name="connsiteX806" fmla="*/ 853596 w 1090712"/>
              <a:gd name="connsiteY806" fmla="*/ 268003 h 895572"/>
              <a:gd name="connsiteX807" fmla="*/ 849557 w 1090712"/>
              <a:gd name="connsiteY807" fmla="*/ 265627 h 895572"/>
              <a:gd name="connsiteX808" fmla="*/ 846468 w 1090712"/>
              <a:gd name="connsiteY808" fmla="*/ 262538 h 895572"/>
              <a:gd name="connsiteX809" fmla="*/ 843380 w 1090712"/>
              <a:gd name="connsiteY809" fmla="*/ 259450 h 895572"/>
              <a:gd name="connsiteX810" fmla="*/ 840529 w 1090712"/>
              <a:gd name="connsiteY810" fmla="*/ 255411 h 895572"/>
              <a:gd name="connsiteX811" fmla="*/ 838390 w 1090712"/>
              <a:gd name="connsiteY811" fmla="*/ 251134 h 895572"/>
              <a:gd name="connsiteX812" fmla="*/ 836490 w 1090712"/>
              <a:gd name="connsiteY812" fmla="*/ 246620 h 895572"/>
              <a:gd name="connsiteX813" fmla="*/ 834827 w 1090712"/>
              <a:gd name="connsiteY813" fmla="*/ 241155 h 895572"/>
              <a:gd name="connsiteX814" fmla="*/ 833401 w 1090712"/>
              <a:gd name="connsiteY814" fmla="*/ 235453 h 895572"/>
              <a:gd name="connsiteX815" fmla="*/ 831263 w 1090712"/>
              <a:gd name="connsiteY815" fmla="*/ 223336 h 895572"/>
              <a:gd name="connsiteX816" fmla="*/ 897551 w 1090712"/>
              <a:gd name="connsiteY816" fmla="*/ 206942 h 895572"/>
              <a:gd name="connsiteX817" fmla="*/ 888997 w 1090712"/>
              <a:gd name="connsiteY817" fmla="*/ 194112 h 895572"/>
              <a:gd name="connsiteX818" fmla="*/ 880682 w 1090712"/>
              <a:gd name="connsiteY818" fmla="*/ 181282 h 895572"/>
              <a:gd name="connsiteX819" fmla="*/ 871416 w 1090712"/>
              <a:gd name="connsiteY819" fmla="*/ 168690 h 895572"/>
              <a:gd name="connsiteX820" fmla="*/ 866901 w 1090712"/>
              <a:gd name="connsiteY820" fmla="*/ 162988 h 895572"/>
              <a:gd name="connsiteX821" fmla="*/ 861437 w 1090712"/>
              <a:gd name="connsiteY821" fmla="*/ 157048 h 895572"/>
              <a:gd name="connsiteX822" fmla="*/ 856210 w 1090712"/>
              <a:gd name="connsiteY822" fmla="*/ 151821 h 895572"/>
              <a:gd name="connsiteX823" fmla="*/ 850745 w 1090712"/>
              <a:gd name="connsiteY823" fmla="*/ 146831 h 895572"/>
              <a:gd name="connsiteX824" fmla="*/ 844568 w 1090712"/>
              <a:gd name="connsiteY824" fmla="*/ 142555 h 895572"/>
              <a:gd name="connsiteX825" fmla="*/ 838390 w 1090712"/>
              <a:gd name="connsiteY825" fmla="*/ 138516 h 895572"/>
              <a:gd name="connsiteX826" fmla="*/ 831738 w 1090712"/>
              <a:gd name="connsiteY826" fmla="*/ 134952 h 895572"/>
              <a:gd name="connsiteX827" fmla="*/ 824610 w 1090712"/>
              <a:gd name="connsiteY827" fmla="*/ 132338 h 895572"/>
              <a:gd name="connsiteX828" fmla="*/ 817007 w 1090712"/>
              <a:gd name="connsiteY828" fmla="*/ 129963 h 895572"/>
              <a:gd name="connsiteX829" fmla="*/ 808929 w 1090712"/>
              <a:gd name="connsiteY829" fmla="*/ 128774 h 895572"/>
              <a:gd name="connsiteX830" fmla="*/ 806791 w 1090712"/>
              <a:gd name="connsiteY830" fmla="*/ 128299 h 895572"/>
              <a:gd name="connsiteX831" fmla="*/ 804652 w 1090712"/>
              <a:gd name="connsiteY831" fmla="*/ 127824 h 895572"/>
              <a:gd name="connsiteX832" fmla="*/ 802752 w 1090712"/>
              <a:gd name="connsiteY832" fmla="*/ 126399 h 895572"/>
              <a:gd name="connsiteX833" fmla="*/ 801089 w 1090712"/>
              <a:gd name="connsiteY833" fmla="*/ 125211 h 895572"/>
              <a:gd name="connsiteX834" fmla="*/ 799663 w 1090712"/>
              <a:gd name="connsiteY834" fmla="*/ 123310 h 895572"/>
              <a:gd name="connsiteX835" fmla="*/ 798713 w 1090712"/>
              <a:gd name="connsiteY835" fmla="*/ 121647 h 895572"/>
              <a:gd name="connsiteX836" fmla="*/ 798000 w 1090712"/>
              <a:gd name="connsiteY836" fmla="*/ 119271 h 895572"/>
              <a:gd name="connsiteX837" fmla="*/ 798000 w 1090712"/>
              <a:gd name="connsiteY837" fmla="*/ 117608 h 895572"/>
              <a:gd name="connsiteX838" fmla="*/ 785408 w 1090712"/>
              <a:gd name="connsiteY838" fmla="*/ 106916 h 895572"/>
              <a:gd name="connsiteX839" fmla="*/ 772578 w 1090712"/>
              <a:gd name="connsiteY839" fmla="*/ 95749 h 895572"/>
              <a:gd name="connsiteX840" fmla="*/ 747155 w 1090712"/>
              <a:gd name="connsiteY840" fmla="*/ 72703 h 895572"/>
              <a:gd name="connsiteX841" fmla="*/ 733850 w 1090712"/>
              <a:gd name="connsiteY841" fmla="*/ 61061 h 895572"/>
              <a:gd name="connsiteX842" fmla="*/ 720545 w 1090712"/>
              <a:gd name="connsiteY842" fmla="*/ 49894 h 895572"/>
              <a:gd name="connsiteX843" fmla="*/ 706765 w 1090712"/>
              <a:gd name="connsiteY843" fmla="*/ 38728 h 895572"/>
              <a:gd name="connsiteX844" fmla="*/ 692510 w 1090712"/>
              <a:gd name="connsiteY844" fmla="*/ 28036 h 895572"/>
              <a:gd name="connsiteX845" fmla="*/ 679442 w 1090712"/>
              <a:gd name="connsiteY845" fmla="*/ 21859 h 895572"/>
              <a:gd name="connsiteX846" fmla="*/ 666137 w 1090712"/>
              <a:gd name="connsiteY846" fmla="*/ 16632 h 895572"/>
              <a:gd name="connsiteX847" fmla="*/ 652832 w 1090712"/>
              <a:gd name="connsiteY847" fmla="*/ 11642 h 895572"/>
              <a:gd name="connsiteX848" fmla="*/ 639527 w 1090712"/>
              <a:gd name="connsiteY848" fmla="*/ 7603 h 895572"/>
              <a:gd name="connsiteX849" fmla="*/ 626222 w 1090712"/>
              <a:gd name="connsiteY849" fmla="*/ 4514 h 895572"/>
              <a:gd name="connsiteX850" fmla="*/ 612917 w 1090712"/>
              <a:gd name="connsiteY850" fmla="*/ 1901 h 895572"/>
              <a:gd name="connsiteX851" fmla="*/ 599374 w 1090712"/>
              <a:gd name="connsiteY851" fmla="*/ 475 h 8955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Lst>
            <a:rect l="l" t="t" r="r" b="b"/>
            <a:pathLst>
              <a:path w="1090712" h="895572">
                <a:moveTo>
                  <a:pt x="603413" y="721327"/>
                </a:moveTo>
                <a:lnTo>
                  <a:pt x="578466" y="770746"/>
                </a:lnTo>
                <a:lnTo>
                  <a:pt x="553519" y="818264"/>
                </a:lnTo>
                <a:lnTo>
                  <a:pt x="528334" y="865069"/>
                </a:lnTo>
                <a:lnTo>
                  <a:pt x="511825" y="895572"/>
                </a:lnTo>
                <a:lnTo>
                  <a:pt x="624528" y="895572"/>
                </a:lnTo>
                <a:lnTo>
                  <a:pt x="624796" y="894768"/>
                </a:lnTo>
                <a:lnTo>
                  <a:pt x="625271" y="891679"/>
                </a:lnTo>
                <a:lnTo>
                  <a:pt x="625747" y="889066"/>
                </a:lnTo>
                <a:lnTo>
                  <a:pt x="625747" y="860555"/>
                </a:lnTo>
                <a:lnTo>
                  <a:pt x="624796" y="833945"/>
                </a:lnTo>
                <a:lnTo>
                  <a:pt x="624321" y="820877"/>
                </a:lnTo>
                <a:lnTo>
                  <a:pt x="623608" y="808047"/>
                </a:lnTo>
                <a:lnTo>
                  <a:pt x="621708" y="795218"/>
                </a:lnTo>
                <a:lnTo>
                  <a:pt x="620044" y="782625"/>
                </a:lnTo>
                <a:lnTo>
                  <a:pt x="616005" y="766707"/>
                </a:lnTo>
                <a:lnTo>
                  <a:pt x="611966" y="751976"/>
                </a:lnTo>
                <a:lnTo>
                  <a:pt x="607452" y="737245"/>
                </a:lnTo>
                <a:close/>
                <a:moveTo>
                  <a:pt x="698212" y="530778"/>
                </a:moveTo>
                <a:lnTo>
                  <a:pt x="693460" y="534818"/>
                </a:lnTo>
                <a:lnTo>
                  <a:pt x="688471" y="538857"/>
                </a:lnTo>
                <a:lnTo>
                  <a:pt x="678254" y="546935"/>
                </a:lnTo>
                <a:lnTo>
                  <a:pt x="669226" y="553587"/>
                </a:lnTo>
                <a:lnTo>
                  <a:pt x="663048" y="558814"/>
                </a:lnTo>
                <a:lnTo>
                  <a:pt x="663048" y="556676"/>
                </a:lnTo>
                <a:lnTo>
                  <a:pt x="663523" y="554538"/>
                </a:lnTo>
                <a:lnTo>
                  <a:pt x="665424" y="550498"/>
                </a:lnTo>
                <a:lnTo>
                  <a:pt x="668038" y="546459"/>
                </a:lnTo>
                <a:lnTo>
                  <a:pt x="671602" y="542420"/>
                </a:lnTo>
                <a:lnTo>
                  <a:pt x="676829" y="538857"/>
                </a:lnTo>
                <a:lnTo>
                  <a:pt x="682768" y="535768"/>
                </a:lnTo>
                <a:lnTo>
                  <a:pt x="689896" y="533154"/>
                </a:lnTo>
                <a:close/>
                <a:moveTo>
                  <a:pt x="654257" y="302216"/>
                </a:moveTo>
                <a:lnTo>
                  <a:pt x="651882" y="302691"/>
                </a:lnTo>
                <a:lnTo>
                  <a:pt x="649268" y="303166"/>
                </a:lnTo>
                <a:lnTo>
                  <a:pt x="647130" y="304354"/>
                </a:lnTo>
                <a:lnTo>
                  <a:pt x="644516" y="306255"/>
                </a:lnTo>
                <a:lnTo>
                  <a:pt x="642140" y="307918"/>
                </a:lnTo>
                <a:lnTo>
                  <a:pt x="640002" y="310294"/>
                </a:lnTo>
                <a:lnTo>
                  <a:pt x="638101" y="312432"/>
                </a:lnTo>
                <a:lnTo>
                  <a:pt x="636913" y="314571"/>
                </a:lnTo>
                <a:lnTo>
                  <a:pt x="635963" y="316946"/>
                </a:lnTo>
                <a:lnTo>
                  <a:pt x="635963" y="319085"/>
                </a:lnTo>
                <a:lnTo>
                  <a:pt x="636913" y="321223"/>
                </a:lnTo>
                <a:lnTo>
                  <a:pt x="637626" y="324074"/>
                </a:lnTo>
                <a:lnTo>
                  <a:pt x="639527" y="326688"/>
                </a:lnTo>
                <a:lnTo>
                  <a:pt x="643091" y="331677"/>
                </a:lnTo>
                <a:lnTo>
                  <a:pt x="647130" y="335954"/>
                </a:lnTo>
                <a:lnTo>
                  <a:pt x="655920" y="330727"/>
                </a:lnTo>
                <a:lnTo>
                  <a:pt x="663999" y="324787"/>
                </a:lnTo>
                <a:lnTo>
                  <a:pt x="679917" y="313383"/>
                </a:lnTo>
                <a:lnTo>
                  <a:pt x="676354" y="311007"/>
                </a:lnTo>
                <a:lnTo>
                  <a:pt x="672790" y="308393"/>
                </a:lnTo>
                <a:lnTo>
                  <a:pt x="668988" y="306730"/>
                </a:lnTo>
                <a:lnTo>
                  <a:pt x="664949" y="304829"/>
                </a:lnTo>
                <a:lnTo>
                  <a:pt x="660910" y="303641"/>
                </a:lnTo>
                <a:lnTo>
                  <a:pt x="657346" y="302691"/>
                </a:lnTo>
                <a:close/>
                <a:moveTo>
                  <a:pt x="696549" y="252322"/>
                </a:moveTo>
                <a:lnTo>
                  <a:pt x="696786" y="259925"/>
                </a:lnTo>
                <a:lnTo>
                  <a:pt x="698212" y="266102"/>
                </a:lnTo>
                <a:lnTo>
                  <a:pt x="700113" y="272042"/>
                </a:lnTo>
                <a:lnTo>
                  <a:pt x="701776" y="276794"/>
                </a:lnTo>
                <a:lnTo>
                  <a:pt x="704389" y="280833"/>
                </a:lnTo>
                <a:lnTo>
                  <a:pt x="707240" y="284397"/>
                </a:lnTo>
                <a:lnTo>
                  <a:pt x="710329" y="287010"/>
                </a:lnTo>
                <a:lnTo>
                  <a:pt x="713418" y="289624"/>
                </a:lnTo>
                <a:lnTo>
                  <a:pt x="716506" y="291524"/>
                </a:lnTo>
                <a:lnTo>
                  <a:pt x="719595" y="293187"/>
                </a:lnTo>
                <a:lnTo>
                  <a:pt x="725772" y="295088"/>
                </a:lnTo>
                <a:lnTo>
                  <a:pt x="731237" y="296514"/>
                </a:lnTo>
                <a:lnTo>
                  <a:pt x="734801" y="296751"/>
                </a:lnTo>
                <a:lnTo>
                  <a:pt x="722209" y="303879"/>
                </a:lnTo>
                <a:lnTo>
                  <a:pt x="710804" y="311007"/>
                </a:lnTo>
                <a:lnTo>
                  <a:pt x="688471" y="324787"/>
                </a:lnTo>
                <a:lnTo>
                  <a:pt x="667563" y="339043"/>
                </a:lnTo>
                <a:lnTo>
                  <a:pt x="646179" y="352823"/>
                </a:lnTo>
                <a:lnTo>
                  <a:pt x="620044" y="313383"/>
                </a:lnTo>
                <a:lnTo>
                  <a:pt x="617668" y="312432"/>
                </a:lnTo>
                <a:lnTo>
                  <a:pt x="615055" y="312432"/>
                </a:lnTo>
                <a:lnTo>
                  <a:pt x="612441" y="313383"/>
                </a:lnTo>
                <a:lnTo>
                  <a:pt x="609353" y="314095"/>
                </a:lnTo>
                <a:lnTo>
                  <a:pt x="602938" y="316946"/>
                </a:lnTo>
                <a:lnTo>
                  <a:pt x="599849" y="317659"/>
                </a:lnTo>
                <a:lnTo>
                  <a:pt x="596760" y="318610"/>
                </a:lnTo>
                <a:lnTo>
                  <a:pt x="607927" y="307205"/>
                </a:lnTo>
                <a:lnTo>
                  <a:pt x="618619" y="295088"/>
                </a:lnTo>
                <a:lnTo>
                  <a:pt x="623846" y="289386"/>
                </a:lnTo>
                <a:lnTo>
                  <a:pt x="629786" y="283921"/>
                </a:lnTo>
                <a:lnTo>
                  <a:pt x="635963" y="278694"/>
                </a:lnTo>
                <a:lnTo>
                  <a:pt x="642140" y="273705"/>
                </a:lnTo>
                <a:lnTo>
                  <a:pt x="648793" y="269191"/>
                </a:lnTo>
                <a:lnTo>
                  <a:pt x="655446" y="265627"/>
                </a:lnTo>
                <a:lnTo>
                  <a:pt x="662098" y="263013"/>
                </a:lnTo>
                <a:lnTo>
                  <a:pt x="668988" y="260400"/>
                </a:lnTo>
                <a:lnTo>
                  <a:pt x="682768" y="256361"/>
                </a:lnTo>
                <a:close/>
                <a:moveTo>
                  <a:pt x="1030602" y="200289"/>
                </a:moveTo>
                <a:lnTo>
                  <a:pt x="1027513" y="207892"/>
                </a:lnTo>
                <a:lnTo>
                  <a:pt x="1023949" y="214545"/>
                </a:lnTo>
                <a:lnTo>
                  <a:pt x="1019910" y="221197"/>
                </a:lnTo>
                <a:lnTo>
                  <a:pt x="1015396" y="226899"/>
                </a:lnTo>
                <a:lnTo>
                  <a:pt x="1011119" y="232839"/>
                </a:lnTo>
                <a:lnTo>
                  <a:pt x="1006130" y="237591"/>
                </a:lnTo>
                <a:lnTo>
                  <a:pt x="1001140" y="242105"/>
                </a:lnTo>
                <a:lnTo>
                  <a:pt x="996388" y="246144"/>
                </a:lnTo>
                <a:lnTo>
                  <a:pt x="990924" y="249708"/>
                </a:lnTo>
                <a:lnTo>
                  <a:pt x="985697" y="252797"/>
                </a:lnTo>
                <a:lnTo>
                  <a:pt x="980232" y="254935"/>
                </a:lnTo>
                <a:lnTo>
                  <a:pt x="975005" y="256836"/>
                </a:lnTo>
                <a:lnTo>
                  <a:pt x="969541" y="258262"/>
                </a:lnTo>
                <a:lnTo>
                  <a:pt x="963839" y="258499"/>
                </a:lnTo>
                <a:lnTo>
                  <a:pt x="958612" y="258499"/>
                </a:lnTo>
                <a:lnTo>
                  <a:pt x="953622" y="257786"/>
                </a:lnTo>
                <a:lnTo>
                  <a:pt x="970966" y="244006"/>
                </a:lnTo>
                <a:lnTo>
                  <a:pt x="990211" y="229275"/>
                </a:lnTo>
                <a:lnTo>
                  <a:pt x="1010169" y="214069"/>
                </a:lnTo>
                <a:lnTo>
                  <a:pt x="1020385" y="206942"/>
                </a:lnTo>
                <a:close/>
                <a:moveTo>
                  <a:pt x="389581" y="176768"/>
                </a:moveTo>
                <a:lnTo>
                  <a:pt x="397422" y="177243"/>
                </a:lnTo>
                <a:lnTo>
                  <a:pt x="414766" y="178906"/>
                </a:lnTo>
                <a:lnTo>
                  <a:pt x="405500" y="179856"/>
                </a:lnTo>
                <a:lnTo>
                  <a:pt x="396946" y="181995"/>
                </a:lnTo>
                <a:lnTo>
                  <a:pt x="389581" y="184371"/>
                </a:lnTo>
                <a:lnTo>
                  <a:pt x="381978" y="186984"/>
                </a:lnTo>
                <a:lnTo>
                  <a:pt x="375326" y="190548"/>
                </a:lnTo>
                <a:lnTo>
                  <a:pt x="368911" y="194112"/>
                </a:lnTo>
                <a:lnTo>
                  <a:pt x="363208" y="198626"/>
                </a:lnTo>
                <a:lnTo>
                  <a:pt x="357981" y="202903"/>
                </a:lnTo>
                <a:lnTo>
                  <a:pt x="352517" y="208367"/>
                </a:lnTo>
                <a:lnTo>
                  <a:pt x="348003" y="214070"/>
                </a:lnTo>
                <a:lnTo>
                  <a:pt x="343726" y="220247"/>
                </a:lnTo>
                <a:lnTo>
                  <a:pt x="339687" y="226662"/>
                </a:lnTo>
                <a:lnTo>
                  <a:pt x="335648" y="233790"/>
                </a:lnTo>
                <a:lnTo>
                  <a:pt x="332559" y="240917"/>
                </a:lnTo>
                <a:lnTo>
                  <a:pt x="328995" y="248758"/>
                </a:lnTo>
                <a:lnTo>
                  <a:pt x="325907" y="256836"/>
                </a:lnTo>
                <a:lnTo>
                  <a:pt x="325432" y="252797"/>
                </a:lnTo>
                <a:lnTo>
                  <a:pt x="324956" y="248283"/>
                </a:lnTo>
                <a:lnTo>
                  <a:pt x="323056" y="239492"/>
                </a:lnTo>
                <a:lnTo>
                  <a:pt x="320917" y="229275"/>
                </a:lnTo>
                <a:lnTo>
                  <a:pt x="320442" y="223811"/>
                </a:lnTo>
                <a:lnTo>
                  <a:pt x="319967" y="217633"/>
                </a:lnTo>
                <a:lnTo>
                  <a:pt x="314740" y="217633"/>
                </a:lnTo>
                <a:lnTo>
                  <a:pt x="302148" y="243056"/>
                </a:lnTo>
                <a:lnTo>
                  <a:pt x="289793" y="267528"/>
                </a:lnTo>
                <a:lnTo>
                  <a:pt x="277438" y="291049"/>
                </a:lnTo>
                <a:lnTo>
                  <a:pt x="264371" y="312907"/>
                </a:lnTo>
                <a:lnTo>
                  <a:pt x="267459" y="295088"/>
                </a:lnTo>
                <a:lnTo>
                  <a:pt x="271023" y="279170"/>
                </a:lnTo>
                <a:lnTo>
                  <a:pt x="274587" y="263964"/>
                </a:lnTo>
                <a:lnTo>
                  <a:pt x="279101" y="250183"/>
                </a:lnTo>
                <a:lnTo>
                  <a:pt x="284091" y="238066"/>
                </a:lnTo>
                <a:lnTo>
                  <a:pt x="289318" y="226900"/>
                </a:lnTo>
                <a:lnTo>
                  <a:pt x="292406" y="221673"/>
                </a:lnTo>
                <a:lnTo>
                  <a:pt x="295495" y="217158"/>
                </a:lnTo>
                <a:lnTo>
                  <a:pt x="298584" y="212406"/>
                </a:lnTo>
                <a:lnTo>
                  <a:pt x="302148" y="208367"/>
                </a:lnTo>
                <a:lnTo>
                  <a:pt x="305711" y="204328"/>
                </a:lnTo>
                <a:lnTo>
                  <a:pt x="309275" y="200765"/>
                </a:lnTo>
                <a:lnTo>
                  <a:pt x="313314" y="197201"/>
                </a:lnTo>
                <a:lnTo>
                  <a:pt x="317354" y="194112"/>
                </a:lnTo>
                <a:lnTo>
                  <a:pt x="321868" y="191498"/>
                </a:lnTo>
                <a:lnTo>
                  <a:pt x="326382" y="188647"/>
                </a:lnTo>
                <a:lnTo>
                  <a:pt x="330659" y="186509"/>
                </a:lnTo>
                <a:lnTo>
                  <a:pt x="335648" y="184371"/>
                </a:lnTo>
                <a:lnTo>
                  <a:pt x="340637" y="182470"/>
                </a:lnTo>
                <a:lnTo>
                  <a:pt x="345864" y="181282"/>
                </a:lnTo>
                <a:lnTo>
                  <a:pt x="351091" y="179856"/>
                </a:lnTo>
                <a:lnTo>
                  <a:pt x="357031" y="178431"/>
                </a:lnTo>
                <a:lnTo>
                  <a:pt x="368911" y="177243"/>
                </a:lnTo>
                <a:lnTo>
                  <a:pt x="381978" y="176768"/>
                </a:lnTo>
                <a:close/>
                <a:moveTo>
                  <a:pt x="609353" y="174629"/>
                </a:moveTo>
                <a:lnTo>
                  <a:pt x="602463" y="180807"/>
                </a:lnTo>
                <a:lnTo>
                  <a:pt x="596285" y="187459"/>
                </a:lnTo>
                <a:lnTo>
                  <a:pt x="583931" y="201715"/>
                </a:lnTo>
                <a:lnTo>
                  <a:pt x="571101" y="215495"/>
                </a:lnTo>
                <a:lnTo>
                  <a:pt x="564686" y="222148"/>
                </a:lnTo>
                <a:lnTo>
                  <a:pt x="558508" y="228325"/>
                </a:lnTo>
                <a:lnTo>
                  <a:pt x="557558" y="223335"/>
                </a:lnTo>
                <a:lnTo>
                  <a:pt x="557083" y="219059"/>
                </a:lnTo>
                <a:lnTo>
                  <a:pt x="557083" y="215020"/>
                </a:lnTo>
                <a:lnTo>
                  <a:pt x="557558" y="210981"/>
                </a:lnTo>
                <a:lnTo>
                  <a:pt x="558508" y="207417"/>
                </a:lnTo>
                <a:lnTo>
                  <a:pt x="560409" y="203853"/>
                </a:lnTo>
                <a:lnTo>
                  <a:pt x="562072" y="200764"/>
                </a:lnTo>
                <a:lnTo>
                  <a:pt x="564686" y="197676"/>
                </a:lnTo>
                <a:lnTo>
                  <a:pt x="567774" y="194587"/>
                </a:lnTo>
                <a:lnTo>
                  <a:pt x="571813" y="191973"/>
                </a:lnTo>
                <a:lnTo>
                  <a:pt x="576328" y="188647"/>
                </a:lnTo>
                <a:lnTo>
                  <a:pt x="581317" y="186034"/>
                </a:lnTo>
                <a:lnTo>
                  <a:pt x="587019" y="183420"/>
                </a:lnTo>
                <a:lnTo>
                  <a:pt x="593672" y="180332"/>
                </a:lnTo>
                <a:close/>
                <a:moveTo>
                  <a:pt x="586544" y="0"/>
                </a:moveTo>
                <a:lnTo>
                  <a:pt x="570150" y="2851"/>
                </a:lnTo>
                <a:lnTo>
                  <a:pt x="553519" y="5940"/>
                </a:lnTo>
                <a:lnTo>
                  <a:pt x="536650" y="10454"/>
                </a:lnTo>
                <a:lnTo>
                  <a:pt x="520256" y="14731"/>
                </a:lnTo>
                <a:lnTo>
                  <a:pt x="486993" y="24472"/>
                </a:lnTo>
                <a:lnTo>
                  <a:pt x="469887" y="28986"/>
                </a:lnTo>
                <a:lnTo>
                  <a:pt x="453493" y="33500"/>
                </a:lnTo>
                <a:lnTo>
                  <a:pt x="438762" y="40153"/>
                </a:lnTo>
                <a:lnTo>
                  <a:pt x="424507" y="47281"/>
                </a:lnTo>
                <a:lnTo>
                  <a:pt x="417379" y="51320"/>
                </a:lnTo>
                <a:lnTo>
                  <a:pt x="410727" y="55834"/>
                </a:lnTo>
                <a:lnTo>
                  <a:pt x="403599" y="60111"/>
                </a:lnTo>
                <a:lnTo>
                  <a:pt x="397422" y="65100"/>
                </a:lnTo>
                <a:lnTo>
                  <a:pt x="390769" y="69852"/>
                </a:lnTo>
                <a:lnTo>
                  <a:pt x="384592" y="75792"/>
                </a:lnTo>
                <a:lnTo>
                  <a:pt x="378889" y="81494"/>
                </a:lnTo>
                <a:lnTo>
                  <a:pt x="372950" y="87671"/>
                </a:lnTo>
                <a:lnTo>
                  <a:pt x="367723" y="94324"/>
                </a:lnTo>
                <a:lnTo>
                  <a:pt x="362733" y="101452"/>
                </a:lnTo>
                <a:lnTo>
                  <a:pt x="357981" y="109055"/>
                </a:lnTo>
                <a:lnTo>
                  <a:pt x="353467" y="117608"/>
                </a:lnTo>
                <a:lnTo>
                  <a:pt x="409064" y="117608"/>
                </a:lnTo>
                <a:lnTo>
                  <a:pt x="406925" y="119271"/>
                </a:lnTo>
                <a:lnTo>
                  <a:pt x="404074" y="121647"/>
                </a:lnTo>
                <a:lnTo>
                  <a:pt x="400510" y="123310"/>
                </a:lnTo>
                <a:lnTo>
                  <a:pt x="397422" y="125211"/>
                </a:lnTo>
                <a:lnTo>
                  <a:pt x="393383" y="126399"/>
                </a:lnTo>
                <a:lnTo>
                  <a:pt x="389581" y="127824"/>
                </a:lnTo>
                <a:lnTo>
                  <a:pt x="385542" y="128299"/>
                </a:lnTo>
                <a:lnTo>
                  <a:pt x="381503" y="128774"/>
                </a:lnTo>
                <a:lnTo>
                  <a:pt x="375326" y="130438"/>
                </a:lnTo>
                <a:lnTo>
                  <a:pt x="368435" y="131863"/>
                </a:lnTo>
                <a:lnTo>
                  <a:pt x="361783" y="133051"/>
                </a:lnTo>
                <a:lnTo>
                  <a:pt x="355606" y="134001"/>
                </a:lnTo>
                <a:lnTo>
                  <a:pt x="342300" y="135427"/>
                </a:lnTo>
                <a:lnTo>
                  <a:pt x="329471" y="137090"/>
                </a:lnTo>
                <a:lnTo>
                  <a:pt x="322818" y="138040"/>
                </a:lnTo>
                <a:lnTo>
                  <a:pt x="316403" y="139704"/>
                </a:lnTo>
                <a:lnTo>
                  <a:pt x="310226" y="141604"/>
                </a:lnTo>
                <a:lnTo>
                  <a:pt x="304048" y="144218"/>
                </a:lnTo>
                <a:lnTo>
                  <a:pt x="298346" y="147307"/>
                </a:lnTo>
                <a:lnTo>
                  <a:pt x="292406" y="151346"/>
                </a:lnTo>
                <a:lnTo>
                  <a:pt x="286704" y="156335"/>
                </a:lnTo>
                <a:lnTo>
                  <a:pt x="281240" y="162037"/>
                </a:lnTo>
                <a:lnTo>
                  <a:pt x="262232" y="182945"/>
                </a:lnTo>
                <a:lnTo>
                  <a:pt x="242987" y="203378"/>
                </a:lnTo>
                <a:lnTo>
                  <a:pt x="203547" y="244006"/>
                </a:lnTo>
                <a:lnTo>
                  <a:pt x="183827" y="264439"/>
                </a:lnTo>
                <a:lnTo>
                  <a:pt x="164345" y="285822"/>
                </a:lnTo>
                <a:lnTo>
                  <a:pt x="144862" y="307443"/>
                </a:lnTo>
                <a:lnTo>
                  <a:pt x="126093" y="329777"/>
                </a:lnTo>
                <a:lnTo>
                  <a:pt x="122054" y="335004"/>
                </a:lnTo>
                <a:lnTo>
                  <a:pt x="118015" y="340468"/>
                </a:lnTo>
                <a:lnTo>
                  <a:pt x="110887" y="352110"/>
                </a:lnTo>
                <a:lnTo>
                  <a:pt x="104709" y="363514"/>
                </a:lnTo>
                <a:lnTo>
                  <a:pt x="99007" y="375156"/>
                </a:lnTo>
                <a:lnTo>
                  <a:pt x="87840" y="400103"/>
                </a:lnTo>
                <a:lnTo>
                  <a:pt x="82138" y="412458"/>
                </a:lnTo>
                <a:lnTo>
                  <a:pt x="75723" y="425050"/>
                </a:lnTo>
                <a:lnTo>
                  <a:pt x="75723" y="429802"/>
                </a:lnTo>
                <a:lnTo>
                  <a:pt x="76674" y="436217"/>
                </a:lnTo>
                <a:lnTo>
                  <a:pt x="77149" y="439306"/>
                </a:lnTo>
                <a:lnTo>
                  <a:pt x="78574" y="442395"/>
                </a:lnTo>
                <a:lnTo>
                  <a:pt x="79762" y="445008"/>
                </a:lnTo>
                <a:lnTo>
                  <a:pt x="81663" y="447147"/>
                </a:lnTo>
                <a:lnTo>
                  <a:pt x="94018" y="468055"/>
                </a:lnTo>
                <a:lnTo>
                  <a:pt x="106848" y="488963"/>
                </a:lnTo>
                <a:lnTo>
                  <a:pt x="113975" y="499654"/>
                </a:lnTo>
                <a:lnTo>
                  <a:pt x="121103" y="510346"/>
                </a:lnTo>
                <a:lnTo>
                  <a:pt x="128706" y="520562"/>
                </a:lnTo>
                <a:lnTo>
                  <a:pt x="137259" y="531254"/>
                </a:lnTo>
                <a:lnTo>
                  <a:pt x="149614" y="514385"/>
                </a:lnTo>
                <a:lnTo>
                  <a:pt x="162206" y="498466"/>
                </a:lnTo>
                <a:lnTo>
                  <a:pt x="174561" y="483260"/>
                </a:lnTo>
                <a:lnTo>
                  <a:pt x="180739" y="476133"/>
                </a:lnTo>
                <a:lnTo>
                  <a:pt x="186916" y="469480"/>
                </a:lnTo>
                <a:lnTo>
                  <a:pt x="182639" y="482310"/>
                </a:lnTo>
                <a:lnTo>
                  <a:pt x="178125" y="495615"/>
                </a:lnTo>
                <a:lnTo>
                  <a:pt x="172423" y="509871"/>
                </a:lnTo>
                <a:lnTo>
                  <a:pt x="164820" y="525552"/>
                </a:lnTo>
                <a:lnTo>
                  <a:pt x="156267" y="538381"/>
                </a:lnTo>
                <a:lnTo>
                  <a:pt x="152703" y="544559"/>
                </a:lnTo>
                <a:lnTo>
                  <a:pt x="148664" y="551449"/>
                </a:lnTo>
                <a:lnTo>
                  <a:pt x="145100" y="558339"/>
                </a:lnTo>
                <a:lnTo>
                  <a:pt x="142011" y="565467"/>
                </a:lnTo>
                <a:lnTo>
                  <a:pt x="139398" y="573070"/>
                </a:lnTo>
                <a:lnTo>
                  <a:pt x="137259" y="581623"/>
                </a:lnTo>
                <a:lnTo>
                  <a:pt x="136309" y="583761"/>
                </a:lnTo>
                <a:lnTo>
                  <a:pt x="135359" y="586137"/>
                </a:lnTo>
                <a:lnTo>
                  <a:pt x="134883" y="590889"/>
                </a:lnTo>
                <a:lnTo>
                  <a:pt x="134883" y="595879"/>
                </a:lnTo>
                <a:lnTo>
                  <a:pt x="135359" y="601106"/>
                </a:lnTo>
                <a:lnTo>
                  <a:pt x="136784" y="606095"/>
                </a:lnTo>
                <a:lnTo>
                  <a:pt x="138447" y="611322"/>
                </a:lnTo>
                <a:lnTo>
                  <a:pt x="140348" y="616311"/>
                </a:lnTo>
                <a:lnTo>
                  <a:pt x="142486" y="620826"/>
                </a:lnTo>
                <a:lnTo>
                  <a:pt x="148664" y="629616"/>
                </a:lnTo>
                <a:lnTo>
                  <a:pt x="155554" y="637219"/>
                </a:lnTo>
                <a:lnTo>
                  <a:pt x="162444" y="643872"/>
                </a:lnTo>
                <a:lnTo>
                  <a:pt x="169572" y="649099"/>
                </a:lnTo>
                <a:lnTo>
                  <a:pt x="177175" y="653613"/>
                </a:lnTo>
                <a:lnTo>
                  <a:pt x="184778" y="657177"/>
                </a:lnTo>
                <a:lnTo>
                  <a:pt x="192856" y="659553"/>
                </a:lnTo>
                <a:lnTo>
                  <a:pt x="200934" y="661216"/>
                </a:lnTo>
                <a:lnTo>
                  <a:pt x="209250" y="661691"/>
                </a:lnTo>
                <a:lnTo>
                  <a:pt x="218278" y="661691"/>
                </a:lnTo>
                <a:lnTo>
                  <a:pt x="227069" y="660266"/>
                </a:lnTo>
                <a:lnTo>
                  <a:pt x="236335" y="658603"/>
                </a:lnTo>
                <a:lnTo>
                  <a:pt x="245838" y="655514"/>
                </a:lnTo>
                <a:lnTo>
                  <a:pt x="255580" y="652425"/>
                </a:lnTo>
                <a:lnTo>
                  <a:pt x="265321" y="647911"/>
                </a:lnTo>
                <a:lnTo>
                  <a:pt x="276013" y="642922"/>
                </a:lnTo>
                <a:lnTo>
                  <a:pt x="288367" y="635081"/>
                </a:lnTo>
                <a:lnTo>
                  <a:pt x="301910" y="627478"/>
                </a:lnTo>
                <a:lnTo>
                  <a:pt x="315215" y="620350"/>
                </a:lnTo>
                <a:lnTo>
                  <a:pt x="329471" y="613698"/>
                </a:lnTo>
                <a:lnTo>
                  <a:pt x="343726" y="607283"/>
                </a:lnTo>
                <a:lnTo>
                  <a:pt x="357981" y="602056"/>
                </a:lnTo>
                <a:lnTo>
                  <a:pt x="371999" y="597066"/>
                </a:lnTo>
                <a:lnTo>
                  <a:pt x="386730" y="592790"/>
                </a:lnTo>
                <a:lnTo>
                  <a:pt x="394808" y="590414"/>
                </a:lnTo>
                <a:lnTo>
                  <a:pt x="402411" y="587325"/>
                </a:lnTo>
                <a:lnTo>
                  <a:pt x="409064" y="583761"/>
                </a:lnTo>
                <a:lnTo>
                  <a:pt x="411677" y="581623"/>
                </a:lnTo>
                <a:lnTo>
                  <a:pt x="414766" y="579247"/>
                </a:lnTo>
                <a:lnTo>
                  <a:pt x="417142" y="577109"/>
                </a:lnTo>
                <a:lnTo>
                  <a:pt x="419280" y="574495"/>
                </a:lnTo>
                <a:lnTo>
                  <a:pt x="420943" y="571407"/>
                </a:lnTo>
                <a:lnTo>
                  <a:pt x="422844" y="568318"/>
                </a:lnTo>
                <a:lnTo>
                  <a:pt x="424269" y="565229"/>
                </a:lnTo>
                <a:lnTo>
                  <a:pt x="424982" y="561665"/>
                </a:lnTo>
                <a:lnTo>
                  <a:pt x="425457" y="557626"/>
                </a:lnTo>
                <a:lnTo>
                  <a:pt x="425932" y="553587"/>
                </a:lnTo>
                <a:lnTo>
                  <a:pt x="425932" y="413884"/>
                </a:lnTo>
                <a:lnTo>
                  <a:pt x="425932" y="285347"/>
                </a:lnTo>
                <a:lnTo>
                  <a:pt x="429496" y="300078"/>
                </a:lnTo>
                <a:lnTo>
                  <a:pt x="433060" y="314096"/>
                </a:lnTo>
                <a:lnTo>
                  <a:pt x="436149" y="328826"/>
                </a:lnTo>
                <a:lnTo>
                  <a:pt x="438762" y="343082"/>
                </a:lnTo>
                <a:lnTo>
                  <a:pt x="443752" y="370642"/>
                </a:lnTo>
                <a:lnTo>
                  <a:pt x="447791" y="397015"/>
                </a:lnTo>
                <a:lnTo>
                  <a:pt x="451830" y="421962"/>
                </a:lnTo>
                <a:lnTo>
                  <a:pt x="454919" y="446434"/>
                </a:lnTo>
                <a:lnTo>
                  <a:pt x="456106" y="458313"/>
                </a:lnTo>
                <a:lnTo>
                  <a:pt x="457057" y="470430"/>
                </a:lnTo>
                <a:lnTo>
                  <a:pt x="457532" y="482310"/>
                </a:lnTo>
                <a:lnTo>
                  <a:pt x="457532" y="493952"/>
                </a:lnTo>
                <a:lnTo>
                  <a:pt x="457532" y="506069"/>
                </a:lnTo>
                <a:lnTo>
                  <a:pt x="456582" y="517473"/>
                </a:lnTo>
                <a:lnTo>
                  <a:pt x="455869" y="529116"/>
                </a:lnTo>
                <a:lnTo>
                  <a:pt x="453968" y="540757"/>
                </a:lnTo>
                <a:lnTo>
                  <a:pt x="452305" y="552162"/>
                </a:lnTo>
                <a:lnTo>
                  <a:pt x="449454" y="563804"/>
                </a:lnTo>
                <a:lnTo>
                  <a:pt x="446365" y="575446"/>
                </a:lnTo>
                <a:lnTo>
                  <a:pt x="442326" y="586850"/>
                </a:lnTo>
                <a:lnTo>
                  <a:pt x="440188" y="591364"/>
                </a:lnTo>
                <a:lnTo>
                  <a:pt x="437574" y="595403"/>
                </a:lnTo>
                <a:lnTo>
                  <a:pt x="434486" y="598967"/>
                </a:lnTo>
                <a:lnTo>
                  <a:pt x="431397" y="602531"/>
                </a:lnTo>
                <a:lnTo>
                  <a:pt x="428071" y="605145"/>
                </a:lnTo>
                <a:lnTo>
                  <a:pt x="424982" y="607283"/>
                </a:lnTo>
                <a:lnTo>
                  <a:pt x="422369" y="608708"/>
                </a:lnTo>
                <a:lnTo>
                  <a:pt x="420230" y="609659"/>
                </a:lnTo>
                <a:lnTo>
                  <a:pt x="410727" y="610847"/>
                </a:lnTo>
                <a:lnTo>
                  <a:pt x="401461" y="612748"/>
                </a:lnTo>
                <a:lnTo>
                  <a:pt x="392670" y="614886"/>
                </a:lnTo>
                <a:lnTo>
                  <a:pt x="383641" y="617262"/>
                </a:lnTo>
                <a:lnTo>
                  <a:pt x="374850" y="620350"/>
                </a:lnTo>
                <a:lnTo>
                  <a:pt x="365822" y="623914"/>
                </a:lnTo>
                <a:lnTo>
                  <a:pt x="348478" y="631042"/>
                </a:lnTo>
                <a:lnTo>
                  <a:pt x="331609" y="639358"/>
                </a:lnTo>
                <a:lnTo>
                  <a:pt x="314740" y="647911"/>
                </a:lnTo>
                <a:lnTo>
                  <a:pt x="281240" y="665255"/>
                </a:lnTo>
                <a:lnTo>
                  <a:pt x="274587" y="669294"/>
                </a:lnTo>
                <a:lnTo>
                  <a:pt x="267935" y="672858"/>
                </a:lnTo>
                <a:lnTo>
                  <a:pt x="261757" y="675947"/>
                </a:lnTo>
                <a:lnTo>
                  <a:pt x="255105" y="679035"/>
                </a:lnTo>
                <a:lnTo>
                  <a:pt x="248927" y="681174"/>
                </a:lnTo>
                <a:lnTo>
                  <a:pt x="242987" y="683075"/>
                </a:lnTo>
                <a:lnTo>
                  <a:pt x="236810" y="684738"/>
                </a:lnTo>
                <a:lnTo>
                  <a:pt x="231108" y="686163"/>
                </a:lnTo>
                <a:lnTo>
                  <a:pt x="225406" y="687114"/>
                </a:lnTo>
                <a:lnTo>
                  <a:pt x="219466" y="687589"/>
                </a:lnTo>
                <a:lnTo>
                  <a:pt x="213764" y="687589"/>
                </a:lnTo>
                <a:lnTo>
                  <a:pt x="208299" y="687589"/>
                </a:lnTo>
                <a:lnTo>
                  <a:pt x="203072" y="687114"/>
                </a:lnTo>
                <a:lnTo>
                  <a:pt x="197607" y="686163"/>
                </a:lnTo>
                <a:lnTo>
                  <a:pt x="192380" y="684738"/>
                </a:lnTo>
                <a:lnTo>
                  <a:pt x="186916" y="683550"/>
                </a:lnTo>
                <a:lnTo>
                  <a:pt x="181689" y="681649"/>
                </a:lnTo>
                <a:lnTo>
                  <a:pt x="176699" y="679986"/>
                </a:lnTo>
                <a:lnTo>
                  <a:pt x="171472" y="677610"/>
                </a:lnTo>
                <a:lnTo>
                  <a:pt x="166483" y="674996"/>
                </a:lnTo>
                <a:lnTo>
                  <a:pt x="156742" y="669294"/>
                </a:lnTo>
                <a:lnTo>
                  <a:pt x="147001" y="662167"/>
                </a:lnTo>
                <a:lnTo>
                  <a:pt x="137735" y="654564"/>
                </a:lnTo>
                <a:lnTo>
                  <a:pt x="127756" y="645535"/>
                </a:lnTo>
                <a:lnTo>
                  <a:pt x="118490" y="636269"/>
                </a:lnTo>
                <a:lnTo>
                  <a:pt x="109224" y="626053"/>
                </a:lnTo>
                <a:lnTo>
                  <a:pt x="107323" y="623914"/>
                </a:lnTo>
                <a:lnTo>
                  <a:pt x="106135" y="620350"/>
                </a:lnTo>
                <a:lnTo>
                  <a:pt x="105185" y="616311"/>
                </a:lnTo>
                <a:lnTo>
                  <a:pt x="105185" y="612272"/>
                </a:lnTo>
                <a:lnTo>
                  <a:pt x="105185" y="608233"/>
                </a:lnTo>
                <a:lnTo>
                  <a:pt x="106135" y="604194"/>
                </a:lnTo>
                <a:lnTo>
                  <a:pt x="107323" y="600630"/>
                </a:lnTo>
                <a:lnTo>
                  <a:pt x="109224" y="598017"/>
                </a:lnTo>
                <a:lnTo>
                  <a:pt x="111837" y="591840"/>
                </a:lnTo>
                <a:lnTo>
                  <a:pt x="113975" y="586137"/>
                </a:lnTo>
                <a:lnTo>
                  <a:pt x="115401" y="579722"/>
                </a:lnTo>
                <a:lnTo>
                  <a:pt x="115876" y="574020"/>
                </a:lnTo>
                <a:lnTo>
                  <a:pt x="115876" y="568318"/>
                </a:lnTo>
                <a:lnTo>
                  <a:pt x="115401" y="562378"/>
                </a:lnTo>
                <a:lnTo>
                  <a:pt x="114451" y="557151"/>
                </a:lnTo>
                <a:lnTo>
                  <a:pt x="112788" y="551449"/>
                </a:lnTo>
                <a:lnTo>
                  <a:pt x="110412" y="545984"/>
                </a:lnTo>
                <a:lnTo>
                  <a:pt x="108273" y="540757"/>
                </a:lnTo>
                <a:lnTo>
                  <a:pt x="105185" y="535293"/>
                </a:lnTo>
                <a:lnTo>
                  <a:pt x="102096" y="530066"/>
                </a:lnTo>
                <a:lnTo>
                  <a:pt x="94968" y="519374"/>
                </a:lnTo>
                <a:lnTo>
                  <a:pt x="86890" y="508683"/>
                </a:lnTo>
                <a:lnTo>
                  <a:pt x="78812" y="497991"/>
                </a:lnTo>
                <a:lnTo>
                  <a:pt x="70972" y="486824"/>
                </a:lnTo>
                <a:lnTo>
                  <a:pt x="67408" y="481122"/>
                </a:lnTo>
                <a:lnTo>
                  <a:pt x="64319" y="474707"/>
                </a:lnTo>
                <a:lnTo>
                  <a:pt x="61230" y="469005"/>
                </a:lnTo>
                <a:lnTo>
                  <a:pt x="58379" y="462828"/>
                </a:lnTo>
                <a:lnTo>
                  <a:pt x="56716" y="456175"/>
                </a:lnTo>
                <a:lnTo>
                  <a:pt x="54815" y="449998"/>
                </a:lnTo>
                <a:lnTo>
                  <a:pt x="54103" y="443345"/>
                </a:lnTo>
                <a:lnTo>
                  <a:pt x="53627" y="436455"/>
                </a:lnTo>
                <a:lnTo>
                  <a:pt x="53627" y="429327"/>
                </a:lnTo>
                <a:lnTo>
                  <a:pt x="54815" y="422675"/>
                </a:lnTo>
                <a:lnTo>
                  <a:pt x="56716" y="415547"/>
                </a:lnTo>
                <a:lnTo>
                  <a:pt x="59330" y="408182"/>
                </a:lnTo>
                <a:lnTo>
                  <a:pt x="60280" y="403192"/>
                </a:lnTo>
                <a:lnTo>
                  <a:pt x="61943" y="397965"/>
                </a:lnTo>
                <a:lnTo>
                  <a:pt x="65507" y="387986"/>
                </a:lnTo>
                <a:lnTo>
                  <a:pt x="69546" y="378720"/>
                </a:lnTo>
                <a:lnTo>
                  <a:pt x="74535" y="369929"/>
                </a:lnTo>
                <a:lnTo>
                  <a:pt x="79762" y="360901"/>
                </a:lnTo>
                <a:lnTo>
                  <a:pt x="85940" y="352585"/>
                </a:lnTo>
                <a:lnTo>
                  <a:pt x="98057" y="335479"/>
                </a:lnTo>
                <a:lnTo>
                  <a:pt x="102571" y="328113"/>
                </a:lnTo>
                <a:lnTo>
                  <a:pt x="106848" y="320986"/>
                </a:lnTo>
                <a:lnTo>
                  <a:pt x="116827" y="307205"/>
                </a:lnTo>
                <a:lnTo>
                  <a:pt x="127043" y="293188"/>
                </a:lnTo>
                <a:lnTo>
                  <a:pt x="137735" y="279407"/>
                </a:lnTo>
                <a:lnTo>
                  <a:pt x="159831" y="251847"/>
                </a:lnTo>
                <a:lnTo>
                  <a:pt x="170522" y="238066"/>
                </a:lnTo>
                <a:lnTo>
                  <a:pt x="181214" y="223336"/>
                </a:lnTo>
                <a:lnTo>
                  <a:pt x="164820" y="223336"/>
                </a:lnTo>
                <a:lnTo>
                  <a:pt x="137972" y="230226"/>
                </a:lnTo>
                <a:lnTo>
                  <a:pt x="125142" y="233790"/>
                </a:lnTo>
                <a:lnTo>
                  <a:pt x="112788" y="237591"/>
                </a:lnTo>
                <a:lnTo>
                  <a:pt x="100195" y="241630"/>
                </a:lnTo>
                <a:lnTo>
                  <a:pt x="87840" y="245669"/>
                </a:lnTo>
                <a:lnTo>
                  <a:pt x="75723" y="250183"/>
                </a:lnTo>
                <a:lnTo>
                  <a:pt x="64319" y="254935"/>
                </a:lnTo>
                <a:lnTo>
                  <a:pt x="52677" y="260400"/>
                </a:lnTo>
                <a:lnTo>
                  <a:pt x="41035" y="265627"/>
                </a:lnTo>
                <a:lnTo>
                  <a:pt x="29868" y="271567"/>
                </a:lnTo>
                <a:lnTo>
                  <a:pt x="18939" y="277744"/>
                </a:lnTo>
                <a:lnTo>
                  <a:pt x="7772" y="284397"/>
                </a:lnTo>
                <a:lnTo>
                  <a:pt x="0" y="289924"/>
                </a:lnTo>
                <a:lnTo>
                  <a:pt x="0" y="895572"/>
                </a:lnTo>
                <a:lnTo>
                  <a:pt x="125653" y="895572"/>
                </a:lnTo>
                <a:lnTo>
                  <a:pt x="127756" y="892155"/>
                </a:lnTo>
                <a:lnTo>
                  <a:pt x="131082" y="885502"/>
                </a:lnTo>
                <a:lnTo>
                  <a:pt x="133696" y="878374"/>
                </a:lnTo>
                <a:lnTo>
                  <a:pt x="135834" y="871722"/>
                </a:lnTo>
                <a:lnTo>
                  <a:pt x="137735" y="864594"/>
                </a:lnTo>
                <a:lnTo>
                  <a:pt x="138923" y="857466"/>
                </a:lnTo>
                <a:lnTo>
                  <a:pt x="140348" y="850339"/>
                </a:lnTo>
                <a:lnTo>
                  <a:pt x="141298" y="843211"/>
                </a:lnTo>
                <a:lnTo>
                  <a:pt x="142011" y="828955"/>
                </a:lnTo>
                <a:lnTo>
                  <a:pt x="142486" y="814225"/>
                </a:lnTo>
                <a:lnTo>
                  <a:pt x="142486" y="799494"/>
                </a:lnTo>
                <a:lnTo>
                  <a:pt x="142486" y="782625"/>
                </a:lnTo>
                <a:lnTo>
                  <a:pt x="142486" y="771458"/>
                </a:lnTo>
                <a:lnTo>
                  <a:pt x="143912" y="778586"/>
                </a:lnTo>
                <a:lnTo>
                  <a:pt x="145100" y="784526"/>
                </a:lnTo>
                <a:lnTo>
                  <a:pt x="147476" y="789753"/>
                </a:lnTo>
                <a:lnTo>
                  <a:pt x="149614" y="794267"/>
                </a:lnTo>
                <a:lnTo>
                  <a:pt x="152228" y="797831"/>
                </a:lnTo>
                <a:lnTo>
                  <a:pt x="155554" y="801395"/>
                </a:lnTo>
                <a:lnTo>
                  <a:pt x="158643" y="803533"/>
                </a:lnTo>
                <a:lnTo>
                  <a:pt x="162206" y="805909"/>
                </a:lnTo>
                <a:lnTo>
                  <a:pt x="165770" y="807572"/>
                </a:lnTo>
                <a:lnTo>
                  <a:pt x="169572" y="808523"/>
                </a:lnTo>
                <a:lnTo>
                  <a:pt x="174086" y="809473"/>
                </a:lnTo>
                <a:lnTo>
                  <a:pt x="178600" y="810186"/>
                </a:lnTo>
                <a:lnTo>
                  <a:pt x="187866" y="810661"/>
                </a:lnTo>
                <a:lnTo>
                  <a:pt x="198083" y="810661"/>
                </a:lnTo>
                <a:lnTo>
                  <a:pt x="236810" y="810661"/>
                </a:lnTo>
                <a:lnTo>
                  <a:pt x="249640" y="811136"/>
                </a:lnTo>
                <a:lnTo>
                  <a:pt x="263183" y="811611"/>
                </a:lnTo>
                <a:lnTo>
                  <a:pt x="270310" y="811611"/>
                </a:lnTo>
                <a:lnTo>
                  <a:pt x="276963" y="811136"/>
                </a:lnTo>
                <a:lnTo>
                  <a:pt x="283140" y="810186"/>
                </a:lnTo>
                <a:lnTo>
                  <a:pt x="289793" y="808523"/>
                </a:lnTo>
                <a:lnTo>
                  <a:pt x="295495" y="806147"/>
                </a:lnTo>
                <a:lnTo>
                  <a:pt x="301435" y="803058"/>
                </a:lnTo>
                <a:lnTo>
                  <a:pt x="304524" y="801395"/>
                </a:lnTo>
                <a:lnTo>
                  <a:pt x="307137" y="799256"/>
                </a:lnTo>
                <a:lnTo>
                  <a:pt x="309275" y="796881"/>
                </a:lnTo>
                <a:lnTo>
                  <a:pt x="312126" y="794267"/>
                </a:lnTo>
                <a:lnTo>
                  <a:pt x="314265" y="791178"/>
                </a:lnTo>
                <a:lnTo>
                  <a:pt x="316403" y="788090"/>
                </a:lnTo>
                <a:lnTo>
                  <a:pt x="318304" y="784051"/>
                </a:lnTo>
                <a:lnTo>
                  <a:pt x="319967" y="780012"/>
                </a:lnTo>
                <a:lnTo>
                  <a:pt x="321868" y="775973"/>
                </a:lnTo>
                <a:lnTo>
                  <a:pt x="323056" y="771221"/>
                </a:lnTo>
                <a:lnTo>
                  <a:pt x="324481" y="765756"/>
                </a:lnTo>
                <a:lnTo>
                  <a:pt x="325907" y="760529"/>
                </a:lnTo>
                <a:lnTo>
                  <a:pt x="325907" y="827530"/>
                </a:lnTo>
                <a:lnTo>
                  <a:pt x="310226" y="835608"/>
                </a:lnTo>
                <a:lnTo>
                  <a:pt x="295970" y="843686"/>
                </a:lnTo>
                <a:lnTo>
                  <a:pt x="282665" y="850339"/>
                </a:lnTo>
                <a:lnTo>
                  <a:pt x="276488" y="852952"/>
                </a:lnTo>
                <a:lnTo>
                  <a:pt x="270310" y="855565"/>
                </a:lnTo>
                <a:lnTo>
                  <a:pt x="266271" y="857942"/>
                </a:lnTo>
                <a:lnTo>
                  <a:pt x="262708" y="860080"/>
                </a:lnTo>
                <a:lnTo>
                  <a:pt x="259619" y="862693"/>
                </a:lnTo>
                <a:lnTo>
                  <a:pt x="256768" y="865544"/>
                </a:lnTo>
                <a:lnTo>
                  <a:pt x="254154" y="868633"/>
                </a:lnTo>
                <a:lnTo>
                  <a:pt x="252491" y="871722"/>
                </a:lnTo>
                <a:lnTo>
                  <a:pt x="250590" y="874810"/>
                </a:lnTo>
                <a:lnTo>
                  <a:pt x="249402" y="877899"/>
                </a:lnTo>
                <a:lnTo>
                  <a:pt x="248452" y="880988"/>
                </a:lnTo>
                <a:lnTo>
                  <a:pt x="247977" y="884076"/>
                </a:lnTo>
                <a:lnTo>
                  <a:pt x="247977" y="887165"/>
                </a:lnTo>
                <a:lnTo>
                  <a:pt x="248452" y="890016"/>
                </a:lnTo>
                <a:lnTo>
                  <a:pt x="249402" y="893105"/>
                </a:lnTo>
                <a:lnTo>
                  <a:pt x="250075" y="895572"/>
                </a:lnTo>
                <a:lnTo>
                  <a:pt x="474750" y="895572"/>
                </a:lnTo>
                <a:lnTo>
                  <a:pt x="475827" y="894768"/>
                </a:lnTo>
                <a:lnTo>
                  <a:pt x="486993" y="882889"/>
                </a:lnTo>
                <a:lnTo>
                  <a:pt x="497210" y="870296"/>
                </a:lnTo>
                <a:lnTo>
                  <a:pt x="506951" y="857942"/>
                </a:lnTo>
                <a:lnTo>
                  <a:pt x="515742" y="844636"/>
                </a:lnTo>
                <a:lnTo>
                  <a:pt x="523820" y="831094"/>
                </a:lnTo>
                <a:lnTo>
                  <a:pt x="531898" y="816838"/>
                </a:lnTo>
                <a:lnTo>
                  <a:pt x="539026" y="802583"/>
                </a:lnTo>
                <a:lnTo>
                  <a:pt x="545678" y="788565"/>
                </a:lnTo>
                <a:lnTo>
                  <a:pt x="552331" y="773359"/>
                </a:lnTo>
                <a:lnTo>
                  <a:pt x="558033" y="758628"/>
                </a:lnTo>
                <a:lnTo>
                  <a:pt x="563498" y="743185"/>
                </a:lnTo>
                <a:lnTo>
                  <a:pt x="568725" y="727979"/>
                </a:lnTo>
                <a:lnTo>
                  <a:pt x="573714" y="712298"/>
                </a:lnTo>
                <a:lnTo>
                  <a:pt x="577991" y="696855"/>
                </a:lnTo>
                <a:lnTo>
                  <a:pt x="586544" y="665255"/>
                </a:lnTo>
                <a:lnTo>
                  <a:pt x="586069" y="663117"/>
                </a:lnTo>
                <a:lnTo>
                  <a:pt x="584881" y="660266"/>
                </a:lnTo>
                <a:lnTo>
                  <a:pt x="582980" y="657177"/>
                </a:lnTo>
                <a:lnTo>
                  <a:pt x="580367" y="654088"/>
                </a:lnTo>
                <a:lnTo>
                  <a:pt x="574902" y="647911"/>
                </a:lnTo>
                <a:lnTo>
                  <a:pt x="570150" y="642922"/>
                </a:lnTo>
                <a:lnTo>
                  <a:pt x="565636" y="636744"/>
                </a:lnTo>
                <a:lnTo>
                  <a:pt x="560647" y="631517"/>
                </a:lnTo>
                <a:lnTo>
                  <a:pt x="555420" y="626053"/>
                </a:lnTo>
                <a:lnTo>
                  <a:pt x="550193" y="621301"/>
                </a:lnTo>
                <a:lnTo>
                  <a:pt x="544253" y="616787"/>
                </a:lnTo>
                <a:lnTo>
                  <a:pt x="538075" y="612272"/>
                </a:lnTo>
                <a:lnTo>
                  <a:pt x="525721" y="603719"/>
                </a:lnTo>
                <a:lnTo>
                  <a:pt x="563023" y="619875"/>
                </a:lnTo>
                <a:lnTo>
                  <a:pt x="581317" y="628191"/>
                </a:lnTo>
                <a:lnTo>
                  <a:pt x="599374" y="636744"/>
                </a:lnTo>
                <a:lnTo>
                  <a:pt x="607927" y="641259"/>
                </a:lnTo>
                <a:lnTo>
                  <a:pt x="616718" y="646010"/>
                </a:lnTo>
                <a:lnTo>
                  <a:pt x="625271" y="651000"/>
                </a:lnTo>
                <a:lnTo>
                  <a:pt x="633349" y="656227"/>
                </a:lnTo>
                <a:lnTo>
                  <a:pt x="641665" y="662167"/>
                </a:lnTo>
                <a:lnTo>
                  <a:pt x="649268" y="668344"/>
                </a:lnTo>
                <a:lnTo>
                  <a:pt x="656871" y="674996"/>
                </a:lnTo>
                <a:lnTo>
                  <a:pt x="664474" y="682124"/>
                </a:lnTo>
                <a:lnTo>
                  <a:pt x="668988" y="686163"/>
                </a:lnTo>
                <a:lnTo>
                  <a:pt x="672790" y="690202"/>
                </a:lnTo>
                <a:lnTo>
                  <a:pt x="677304" y="693291"/>
                </a:lnTo>
                <a:lnTo>
                  <a:pt x="682293" y="696855"/>
                </a:lnTo>
                <a:lnTo>
                  <a:pt x="686570" y="699468"/>
                </a:lnTo>
                <a:lnTo>
                  <a:pt x="691559" y="702082"/>
                </a:lnTo>
                <a:lnTo>
                  <a:pt x="696549" y="703983"/>
                </a:lnTo>
                <a:lnTo>
                  <a:pt x="701300" y="705646"/>
                </a:lnTo>
                <a:lnTo>
                  <a:pt x="706290" y="707071"/>
                </a:lnTo>
                <a:lnTo>
                  <a:pt x="711042" y="708497"/>
                </a:lnTo>
                <a:lnTo>
                  <a:pt x="716506" y="708734"/>
                </a:lnTo>
                <a:lnTo>
                  <a:pt x="721258" y="708734"/>
                </a:lnTo>
                <a:lnTo>
                  <a:pt x="726723" y="708497"/>
                </a:lnTo>
                <a:lnTo>
                  <a:pt x="731712" y="707546"/>
                </a:lnTo>
                <a:lnTo>
                  <a:pt x="736939" y="706121"/>
                </a:lnTo>
                <a:lnTo>
                  <a:pt x="742166" y="704458"/>
                </a:lnTo>
                <a:lnTo>
                  <a:pt x="749294" y="702082"/>
                </a:lnTo>
                <a:lnTo>
                  <a:pt x="756184" y="699468"/>
                </a:lnTo>
                <a:lnTo>
                  <a:pt x="762361" y="696380"/>
                </a:lnTo>
                <a:lnTo>
                  <a:pt x="768063" y="692816"/>
                </a:lnTo>
                <a:lnTo>
                  <a:pt x="773528" y="689252"/>
                </a:lnTo>
                <a:lnTo>
                  <a:pt x="778755" y="684738"/>
                </a:lnTo>
                <a:lnTo>
                  <a:pt x="783269" y="680461"/>
                </a:lnTo>
                <a:lnTo>
                  <a:pt x="787308" y="674996"/>
                </a:lnTo>
                <a:lnTo>
                  <a:pt x="791110" y="669769"/>
                </a:lnTo>
                <a:lnTo>
                  <a:pt x="794436" y="663830"/>
                </a:lnTo>
                <a:lnTo>
                  <a:pt x="797050" y="657652"/>
                </a:lnTo>
                <a:lnTo>
                  <a:pt x="799188" y="651000"/>
                </a:lnTo>
                <a:lnTo>
                  <a:pt x="801089" y="643872"/>
                </a:lnTo>
                <a:lnTo>
                  <a:pt x="802277" y="636744"/>
                </a:lnTo>
                <a:lnTo>
                  <a:pt x="803227" y="628666"/>
                </a:lnTo>
                <a:lnTo>
                  <a:pt x="803227" y="620826"/>
                </a:lnTo>
                <a:lnTo>
                  <a:pt x="801089" y="622489"/>
                </a:lnTo>
                <a:lnTo>
                  <a:pt x="798238" y="623914"/>
                </a:lnTo>
                <a:lnTo>
                  <a:pt x="793011" y="626053"/>
                </a:lnTo>
                <a:lnTo>
                  <a:pt x="790397" y="627478"/>
                </a:lnTo>
                <a:lnTo>
                  <a:pt x="788496" y="628191"/>
                </a:lnTo>
                <a:lnTo>
                  <a:pt x="787308" y="630092"/>
                </a:lnTo>
                <a:lnTo>
                  <a:pt x="786833" y="631755"/>
                </a:lnTo>
                <a:lnTo>
                  <a:pt x="785408" y="635794"/>
                </a:lnTo>
                <a:lnTo>
                  <a:pt x="784220" y="639833"/>
                </a:lnTo>
                <a:lnTo>
                  <a:pt x="780656" y="646485"/>
                </a:lnTo>
                <a:lnTo>
                  <a:pt x="776617" y="653138"/>
                </a:lnTo>
                <a:lnTo>
                  <a:pt x="772103" y="659078"/>
                </a:lnTo>
                <a:lnTo>
                  <a:pt x="762361" y="670007"/>
                </a:lnTo>
                <a:lnTo>
                  <a:pt x="757847" y="675947"/>
                </a:lnTo>
                <a:lnTo>
                  <a:pt x="753333" y="682124"/>
                </a:lnTo>
                <a:lnTo>
                  <a:pt x="750244" y="684738"/>
                </a:lnTo>
                <a:lnTo>
                  <a:pt x="747155" y="687589"/>
                </a:lnTo>
                <a:lnTo>
                  <a:pt x="744067" y="689252"/>
                </a:lnTo>
                <a:lnTo>
                  <a:pt x="740978" y="690915"/>
                </a:lnTo>
                <a:lnTo>
                  <a:pt x="737890" y="691865"/>
                </a:lnTo>
                <a:lnTo>
                  <a:pt x="734801" y="692816"/>
                </a:lnTo>
                <a:lnTo>
                  <a:pt x="731950" y="693291"/>
                </a:lnTo>
                <a:lnTo>
                  <a:pt x="728861" y="693291"/>
                </a:lnTo>
                <a:lnTo>
                  <a:pt x="723634" y="692816"/>
                </a:lnTo>
                <a:lnTo>
                  <a:pt x="718169" y="691390"/>
                </a:lnTo>
                <a:lnTo>
                  <a:pt x="713418" y="689727"/>
                </a:lnTo>
                <a:lnTo>
                  <a:pt x="708903" y="687826"/>
                </a:lnTo>
                <a:lnTo>
                  <a:pt x="706765" y="687589"/>
                </a:lnTo>
                <a:lnTo>
                  <a:pt x="704864" y="687114"/>
                </a:lnTo>
                <a:lnTo>
                  <a:pt x="703201" y="686163"/>
                </a:lnTo>
                <a:lnTo>
                  <a:pt x="701776" y="684738"/>
                </a:lnTo>
                <a:lnTo>
                  <a:pt x="698687" y="681649"/>
                </a:lnTo>
                <a:lnTo>
                  <a:pt x="696549" y="678085"/>
                </a:lnTo>
                <a:lnTo>
                  <a:pt x="694648" y="673571"/>
                </a:lnTo>
                <a:lnTo>
                  <a:pt x="693460" y="668819"/>
                </a:lnTo>
                <a:lnTo>
                  <a:pt x="692510" y="664305"/>
                </a:lnTo>
                <a:lnTo>
                  <a:pt x="692510" y="659790"/>
                </a:lnTo>
                <a:lnTo>
                  <a:pt x="692510" y="647436"/>
                </a:lnTo>
                <a:lnTo>
                  <a:pt x="693460" y="635319"/>
                </a:lnTo>
                <a:lnTo>
                  <a:pt x="694173" y="624389"/>
                </a:lnTo>
                <a:lnTo>
                  <a:pt x="695598" y="612748"/>
                </a:lnTo>
                <a:lnTo>
                  <a:pt x="699162" y="591364"/>
                </a:lnTo>
                <a:lnTo>
                  <a:pt x="703676" y="570456"/>
                </a:lnTo>
                <a:lnTo>
                  <a:pt x="720070" y="574971"/>
                </a:lnTo>
                <a:lnTo>
                  <a:pt x="736939" y="579247"/>
                </a:lnTo>
                <a:lnTo>
                  <a:pt x="770677" y="589226"/>
                </a:lnTo>
                <a:lnTo>
                  <a:pt x="788021" y="593503"/>
                </a:lnTo>
                <a:lnTo>
                  <a:pt x="805365" y="597542"/>
                </a:lnTo>
                <a:lnTo>
                  <a:pt x="823660" y="601106"/>
                </a:lnTo>
                <a:lnTo>
                  <a:pt x="841954" y="603719"/>
                </a:lnTo>
                <a:lnTo>
                  <a:pt x="861437" y="606570"/>
                </a:lnTo>
                <a:lnTo>
                  <a:pt x="880682" y="608233"/>
                </a:lnTo>
                <a:lnTo>
                  <a:pt x="889948" y="608708"/>
                </a:lnTo>
                <a:lnTo>
                  <a:pt x="898976" y="608708"/>
                </a:lnTo>
                <a:lnTo>
                  <a:pt x="908242" y="608708"/>
                </a:lnTo>
                <a:lnTo>
                  <a:pt x="916795" y="608233"/>
                </a:lnTo>
                <a:lnTo>
                  <a:pt x="925586" y="607283"/>
                </a:lnTo>
                <a:lnTo>
                  <a:pt x="934140" y="606095"/>
                </a:lnTo>
                <a:lnTo>
                  <a:pt x="942455" y="604669"/>
                </a:lnTo>
                <a:lnTo>
                  <a:pt x="950533" y="603006"/>
                </a:lnTo>
                <a:lnTo>
                  <a:pt x="958611" y="600630"/>
                </a:lnTo>
                <a:lnTo>
                  <a:pt x="966452" y="598017"/>
                </a:lnTo>
                <a:lnTo>
                  <a:pt x="974055" y="595403"/>
                </a:lnTo>
                <a:lnTo>
                  <a:pt x="981658" y="591840"/>
                </a:lnTo>
                <a:lnTo>
                  <a:pt x="989261" y="588276"/>
                </a:lnTo>
                <a:lnTo>
                  <a:pt x="996388" y="584237"/>
                </a:lnTo>
                <a:lnTo>
                  <a:pt x="1003041" y="579247"/>
                </a:lnTo>
                <a:lnTo>
                  <a:pt x="1009694" y="574495"/>
                </a:lnTo>
                <a:lnTo>
                  <a:pt x="1016346" y="569031"/>
                </a:lnTo>
                <a:lnTo>
                  <a:pt x="1022998" y="562853"/>
                </a:lnTo>
                <a:lnTo>
                  <a:pt x="1029176" y="556676"/>
                </a:lnTo>
                <a:lnTo>
                  <a:pt x="1035116" y="549548"/>
                </a:lnTo>
                <a:lnTo>
                  <a:pt x="1040818" y="541945"/>
                </a:lnTo>
                <a:lnTo>
                  <a:pt x="1046520" y="534342"/>
                </a:lnTo>
                <a:lnTo>
                  <a:pt x="1051985" y="526027"/>
                </a:lnTo>
                <a:lnTo>
                  <a:pt x="1056737" y="516523"/>
                </a:lnTo>
                <a:lnTo>
                  <a:pt x="1061726" y="507257"/>
                </a:lnTo>
                <a:lnTo>
                  <a:pt x="1066715" y="497041"/>
                </a:lnTo>
                <a:lnTo>
                  <a:pt x="1070992" y="486349"/>
                </a:lnTo>
                <a:lnTo>
                  <a:pt x="1075506" y="475182"/>
                </a:lnTo>
                <a:lnTo>
                  <a:pt x="1079070" y="462828"/>
                </a:lnTo>
                <a:lnTo>
                  <a:pt x="1082634" y="449998"/>
                </a:lnTo>
                <a:lnTo>
                  <a:pt x="1084772" y="437405"/>
                </a:lnTo>
                <a:lnTo>
                  <a:pt x="1087148" y="425050"/>
                </a:lnTo>
                <a:lnTo>
                  <a:pt x="1088811" y="411983"/>
                </a:lnTo>
                <a:lnTo>
                  <a:pt x="1089762" y="399628"/>
                </a:lnTo>
                <a:lnTo>
                  <a:pt x="1090712" y="386798"/>
                </a:lnTo>
                <a:lnTo>
                  <a:pt x="1090712" y="373731"/>
                </a:lnTo>
                <a:lnTo>
                  <a:pt x="1090712" y="360901"/>
                </a:lnTo>
                <a:lnTo>
                  <a:pt x="1089762" y="348071"/>
                </a:lnTo>
                <a:lnTo>
                  <a:pt x="1088811" y="335004"/>
                </a:lnTo>
                <a:lnTo>
                  <a:pt x="1088099" y="321698"/>
                </a:lnTo>
                <a:lnTo>
                  <a:pt x="1084772" y="295563"/>
                </a:lnTo>
                <a:lnTo>
                  <a:pt x="1080971" y="268478"/>
                </a:lnTo>
                <a:lnTo>
                  <a:pt x="1078595" y="258262"/>
                </a:lnTo>
                <a:lnTo>
                  <a:pt x="1075981" y="248283"/>
                </a:lnTo>
                <a:lnTo>
                  <a:pt x="1072417" y="238542"/>
                </a:lnTo>
                <a:lnTo>
                  <a:pt x="1069329" y="229275"/>
                </a:lnTo>
                <a:lnTo>
                  <a:pt x="1061251" y="210031"/>
                </a:lnTo>
                <a:lnTo>
                  <a:pt x="1053173" y="190073"/>
                </a:lnTo>
                <a:lnTo>
                  <a:pt x="1051034" y="186034"/>
                </a:lnTo>
                <a:lnTo>
                  <a:pt x="1048896" y="182470"/>
                </a:lnTo>
                <a:lnTo>
                  <a:pt x="1046045" y="179381"/>
                </a:lnTo>
                <a:lnTo>
                  <a:pt x="1043906" y="176768"/>
                </a:lnTo>
                <a:lnTo>
                  <a:pt x="1041293" y="174630"/>
                </a:lnTo>
                <a:lnTo>
                  <a:pt x="1038680" y="172729"/>
                </a:lnTo>
                <a:lnTo>
                  <a:pt x="1035828" y="171303"/>
                </a:lnTo>
                <a:lnTo>
                  <a:pt x="1032740" y="170591"/>
                </a:lnTo>
                <a:lnTo>
                  <a:pt x="1030126" y="170591"/>
                </a:lnTo>
                <a:lnTo>
                  <a:pt x="1027038" y="170591"/>
                </a:lnTo>
                <a:lnTo>
                  <a:pt x="1024424" y="171303"/>
                </a:lnTo>
                <a:lnTo>
                  <a:pt x="1021335" y="172729"/>
                </a:lnTo>
                <a:lnTo>
                  <a:pt x="1018247" y="174867"/>
                </a:lnTo>
                <a:lnTo>
                  <a:pt x="1014920" y="177718"/>
                </a:lnTo>
                <a:lnTo>
                  <a:pt x="1011832" y="180807"/>
                </a:lnTo>
                <a:lnTo>
                  <a:pt x="1008743" y="184846"/>
                </a:lnTo>
                <a:lnTo>
                  <a:pt x="991874" y="201240"/>
                </a:lnTo>
                <a:lnTo>
                  <a:pt x="983321" y="209318"/>
                </a:lnTo>
                <a:lnTo>
                  <a:pt x="974530" y="216683"/>
                </a:lnTo>
                <a:lnTo>
                  <a:pt x="965739" y="223811"/>
                </a:lnTo>
                <a:lnTo>
                  <a:pt x="956236" y="230226"/>
                </a:lnTo>
                <a:lnTo>
                  <a:pt x="946494" y="235928"/>
                </a:lnTo>
                <a:lnTo>
                  <a:pt x="941505" y="238066"/>
                </a:lnTo>
                <a:lnTo>
                  <a:pt x="936753" y="240442"/>
                </a:lnTo>
                <a:lnTo>
                  <a:pt x="932239" y="242581"/>
                </a:lnTo>
                <a:lnTo>
                  <a:pt x="928675" y="245669"/>
                </a:lnTo>
                <a:lnTo>
                  <a:pt x="925111" y="249233"/>
                </a:lnTo>
                <a:lnTo>
                  <a:pt x="922022" y="252797"/>
                </a:lnTo>
                <a:lnTo>
                  <a:pt x="919884" y="257311"/>
                </a:lnTo>
                <a:lnTo>
                  <a:pt x="918934" y="259925"/>
                </a:lnTo>
                <a:lnTo>
                  <a:pt x="918459" y="262538"/>
                </a:lnTo>
                <a:lnTo>
                  <a:pt x="918459" y="265389"/>
                </a:lnTo>
                <a:lnTo>
                  <a:pt x="918459" y="268003"/>
                </a:lnTo>
                <a:lnTo>
                  <a:pt x="918934" y="271091"/>
                </a:lnTo>
                <a:lnTo>
                  <a:pt x="919884" y="274180"/>
                </a:lnTo>
                <a:lnTo>
                  <a:pt x="921547" y="282258"/>
                </a:lnTo>
                <a:lnTo>
                  <a:pt x="922973" y="290574"/>
                </a:lnTo>
                <a:lnTo>
                  <a:pt x="923923" y="299127"/>
                </a:lnTo>
                <a:lnTo>
                  <a:pt x="924161" y="307443"/>
                </a:lnTo>
                <a:lnTo>
                  <a:pt x="924161" y="315996"/>
                </a:lnTo>
                <a:lnTo>
                  <a:pt x="923923" y="324550"/>
                </a:lnTo>
                <a:lnTo>
                  <a:pt x="922973" y="332865"/>
                </a:lnTo>
                <a:lnTo>
                  <a:pt x="922022" y="340943"/>
                </a:lnTo>
                <a:lnTo>
                  <a:pt x="920597" y="349259"/>
                </a:lnTo>
                <a:lnTo>
                  <a:pt x="918934" y="357812"/>
                </a:lnTo>
                <a:lnTo>
                  <a:pt x="914420" y="374681"/>
                </a:lnTo>
                <a:lnTo>
                  <a:pt x="909192" y="391075"/>
                </a:lnTo>
                <a:lnTo>
                  <a:pt x="903253" y="408182"/>
                </a:lnTo>
                <a:lnTo>
                  <a:pt x="903253" y="397965"/>
                </a:lnTo>
                <a:lnTo>
                  <a:pt x="904203" y="387274"/>
                </a:lnTo>
                <a:lnTo>
                  <a:pt x="906104" y="367078"/>
                </a:lnTo>
                <a:lnTo>
                  <a:pt x="907767" y="347596"/>
                </a:lnTo>
                <a:lnTo>
                  <a:pt x="908717" y="338567"/>
                </a:lnTo>
                <a:lnTo>
                  <a:pt x="908717" y="329777"/>
                </a:lnTo>
                <a:lnTo>
                  <a:pt x="908717" y="325738"/>
                </a:lnTo>
                <a:lnTo>
                  <a:pt x="907767" y="322649"/>
                </a:lnTo>
                <a:lnTo>
                  <a:pt x="906817" y="319560"/>
                </a:lnTo>
                <a:lnTo>
                  <a:pt x="905154" y="316471"/>
                </a:lnTo>
                <a:lnTo>
                  <a:pt x="903728" y="314096"/>
                </a:lnTo>
                <a:lnTo>
                  <a:pt x="901590" y="311957"/>
                </a:lnTo>
                <a:lnTo>
                  <a:pt x="897551" y="307443"/>
                </a:lnTo>
                <a:lnTo>
                  <a:pt x="895412" y="309344"/>
                </a:lnTo>
                <a:lnTo>
                  <a:pt x="892561" y="310769"/>
                </a:lnTo>
                <a:lnTo>
                  <a:pt x="887334" y="313383"/>
                </a:lnTo>
                <a:lnTo>
                  <a:pt x="884721" y="314096"/>
                </a:lnTo>
                <a:lnTo>
                  <a:pt x="882820" y="315521"/>
                </a:lnTo>
                <a:lnTo>
                  <a:pt x="881632" y="316947"/>
                </a:lnTo>
                <a:lnTo>
                  <a:pt x="881157" y="318610"/>
                </a:lnTo>
                <a:lnTo>
                  <a:pt x="872604" y="331915"/>
                </a:lnTo>
                <a:lnTo>
                  <a:pt x="864288" y="346646"/>
                </a:lnTo>
                <a:lnTo>
                  <a:pt x="856210" y="361376"/>
                </a:lnTo>
                <a:lnTo>
                  <a:pt x="847656" y="374681"/>
                </a:lnTo>
                <a:lnTo>
                  <a:pt x="841954" y="374681"/>
                </a:lnTo>
                <a:lnTo>
                  <a:pt x="846468" y="357812"/>
                </a:lnTo>
                <a:lnTo>
                  <a:pt x="850508" y="339518"/>
                </a:lnTo>
                <a:lnTo>
                  <a:pt x="854784" y="319560"/>
                </a:lnTo>
                <a:lnTo>
                  <a:pt x="858823" y="296514"/>
                </a:lnTo>
                <a:lnTo>
                  <a:pt x="848132" y="303879"/>
                </a:lnTo>
                <a:lnTo>
                  <a:pt x="840054" y="310294"/>
                </a:lnTo>
                <a:lnTo>
                  <a:pt x="833163" y="316947"/>
                </a:lnTo>
                <a:lnTo>
                  <a:pt x="825560" y="324550"/>
                </a:lnTo>
                <a:lnTo>
                  <a:pt x="823185" y="326688"/>
                </a:lnTo>
                <a:lnTo>
                  <a:pt x="821522" y="329301"/>
                </a:lnTo>
                <a:lnTo>
                  <a:pt x="817007" y="335954"/>
                </a:lnTo>
                <a:lnTo>
                  <a:pt x="812968" y="344032"/>
                </a:lnTo>
                <a:lnTo>
                  <a:pt x="808929" y="352585"/>
                </a:lnTo>
                <a:lnTo>
                  <a:pt x="809880" y="343557"/>
                </a:lnTo>
                <a:lnTo>
                  <a:pt x="811305" y="335479"/>
                </a:lnTo>
                <a:lnTo>
                  <a:pt x="812493" y="328826"/>
                </a:lnTo>
                <a:lnTo>
                  <a:pt x="814394" y="323124"/>
                </a:lnTo>
                <a:lnTo>
                  <a:pt x="816532" y="317659"/>
                </a:lnTo>
                <a:lnTo>
                  <a:pt x="819146" y="313383"/>
                </a:lnTo>
                <a:lnTo>
                  <a:pt x="822709" y="309344"/>
                </a:lnTo>
                <a:lnTo>
                  <a:pt x="826748" y="306255"/>
                </a:lnTo>
                <a:lnTo>
                  <a:pt x="832213" y="303166"/>
                </a:lnTo>
                <a:lnTo>
                  <a:pt x="838390" y="300315"/>
                </a:lnTo>
                <a:lnTo>
                  <a:pt x="845518" y="298177"/>
                </a:lnTo>
                <a:lnTo>
                  <a:pt x="854071" y="295563"/>
                </a:lnTo>
                <a:lnTo>
                  <a:pt x="875217" y="290574"/>
                </a:lnTo>
                <a:lnTo>
                  <a:pt x="903253" y="285347"/>
                </a:lnTo>
                <a:lnTo>
                  <a:pt x="886384" y="268478"/>
                </a:lnTo>
                <a:lnTo>
                  <a:pt x="879731" y="270141"/>
                </a:lnTo>
                <a:lnTo>
                  <a:pt x="873079" y="271091"/>
                </a:lnTo>
                <a:lnTo>
                  <a:pt x="867376" y="271567"/>
                </a:lnTo>
                <a:lnTo>
                  <a:pt x="862387" y="271091"/>
                </a:lnTo>
                <a:lnTo>
                  <a:pt x="857398" y="269666"/>
                </a:lnTo>
                <a:lnTo>
                  <a:pt x="853596" y="268003"/>
                </a:lnTo>
                <a:lnTo>
                  <a:pt x="849557" y="265627"/>
                </a:lnTo>
                <a:lnTo>
                  <a:pt x="846468" y="262538"/>
                </a:lnTo>
                <a:lnTo>
                  <a:pt x="843380" y="259450"/>
                </a:lnTo>
                <a:lnTo>
                  <a:pt x="840529" y="255411"/>
                </a:lnTo>
                <a:lnTo>
                  <a:pt x="838390" y="251134"/>
                </a:lnTo>
                <a:lnTo>
                  <a:pt x="836490" y="246620"/>
                </a:lnTo>
                <a:lnTo>
                  <a:pt x="834827" y="241155"/>
                </a:lnTo>
                <a:lnTo>
                  <a:pt x="833401" y="235453"/>
                </a:lnTo>
                <a:lnTo>
                  <a:pt x="831263" y="223336"/>
                </a:lnTo>
                <a:lnTo>
                  <a:pt x="897551" y="206942"/>
                </a:lnTo>
                <a:lnTo>
                  <a:pt x="888997" y="194112"/>
                </a:lnTo>
                <a:lnTo>
                  <a:pt x="880682" y="181282"/>
                </a:lnTo>
                <a:lnTo>
                  <a:pt x="871416" y="168690"/>
                </a:lnTo>
                <a:lnTo>
                  <a:pt x="866901" y="162988"/>
                </a:lnTo>
                <a:lnTo>
                  <a:pt x="861437" y="157048"/>
                </a:lnTo>
                <a:lnTo>
                  <a:pt x="856210" y="151821"/>
                </a:lnTo>
                <a:lnTo>
                  <a:pt x="850745" y="146831"/>
                </a:lnTo>
                <a:lnTo>
                  <a:pt x="844568" y="142555"/>
                </a:lnTo>
                <a:lnTo>
                  <a:pt x="838390" y="138516"/>
                </a:lnTo>
                <a:lnTo>
                  <a:pt x="831738" y="134952"/>
                </a:lnTo>
                <a:lnTo>
                  <a:pt x="824610" y="132338"/>
                </a:lnTo>
                <a:lnTo>
                  <a:pt x="817007" y="129963"/>
                </a:lnTo>
                <a:lnTo>
                  <a:pt x="808929" y="128774"/>
                </a:lnTo>
                <a:lnTo>
                  <a:pt x="806791" y="128299"/>
                </a:lnTo>
                <a:lnTo>
                  <a:pt x="804652" y="127824"/>
                </a:lnTo>
                <a:lnTo>
                  <a:pt x="802752" y="126399"/>
                </a:lnTo>
                <a:lnTo>
                  <a:pt x="801089" y="125211"/>
                </a:lnTo>
                <a:lnTo>
                  <a:pt x="799663" y="123310"/>
                </a:lnTo>
                <a:lnTo>
                  <a:pt x="798713" y="121647"/>
                </a:lnTo>
                <a:lnTo>
                  <a:pt x="798000" y="119271"/>
                </a:lnTo>
                <a:lnTo>
                  <a:pt x="798000" y="117608"/>
                </a:lnTo>
                <a:lnTo>
                  <a:pt x="785408" y="106916"/>
                </a:lnTo>
                <a:lnTo>
                  <a:pt x="772578" y="95749"/>
                </a:lnTo>
                <a:lnTo>
                  <a:pt x="747155" y="72703"/>
                </a:lnTo>
                <a:lnTo>
                  <a:pt x="733850" y="61061"/>
                </a:lnTo>
                <a:lnTo>
                  <a:pt x="720545" y="49894"/>
                </a:lnTo>
                <a:lnTo>
                  <a:pt x="706765" y="38728"/>
                </a:lnTo>
                <a:lnTo>
                  <a:pt x="692510" y="28036"/>
                </a:lnTo>
                <a:lnTo>
                  <a:pt x="679442" y="21859"/>
                </a:lnTo>
                <a:lnTo>
                  <a:pt x="666137" y="16632"/>
                </a:lnTo>
                <a:lnTo>
                  <a:pt x="652832" y="11642"/>
                </a:lnTo>
                <a:lnTo>
                  <a:pt x="639527" y="7603"/>
                </a:lnTo>
                <a:lnTo>
                  <a:pt x="626222" y="4514"/>
                </a:lnTo>
                <a:lnTo>
                  <a:pt x="612917" y="1901"/>
                </a:lnTo>
                <a:lnTo>
                  <a:pt x="599374" y="475"/>
                </a:lnTo>
                <a:close/>
              </a:path>
            </a:pathLst>
          </a:custGeom>
          <a:solidFill>
            <a:schemeClr val="bg1">
              <a:alpha val="25000"/>
            </a:schemeClr>
          </a:solidFill>
          <a:ln>
            <a:noFill/>
          </a:ln>
        </p:spPr>
        <p:txBody>
          <a:bodyPr vert="horz" wrap="square" lIns="89642" tIns="44821" rIns="89642" bIns="44821" numCol="1" anchor="t" anchorCtr="0" compatLnSpc="1">
            <a:prstTxWarp prst="textNoShape">
              <a:avLst/>
            </a:prstTxWarp>
            <a:noAutofit/>
          </a:bodyPr>
          <a:lstStyle/>
          <a:p>
            <a:pPr defTabSz="914367"/>
            <a:endParaRPr lang="en-IN" sz="1765" dirty="0">
              <a:solidFill>
                <a:srgbClr val="000000"/>
              </a:solidFill>
            </a:endParaRPr>
          </a:p>
        </p:txBody>
      </p:sp>
      <p:sp>
        <p:nvSpPr>
          <p:cNvPr id="7" name="Rectangle 6"/>
          <p:cNvSpPr/>
          <p:nvPr/>
        </p:nvSpPr>
        <p:spPr>
          <a:xfrm>
            <a:off x="8929" y="1213304"/>
            <a:ext cx="5220355" cy="1558760"/>
          </a:xfrm>
          <a:prstGeom prst="rect">
            <a:avLst/>
          </a:prstGeom>
        </p:spPr>
        <p:txBody>
          <a:bodyPr wrap="square" lIns="268927">
            <a:spAutoFit/>
          </a:bodyPr>
          <a:lstStyle/>
          <a:p>
            <a:pPr defTabSz="914102" fontAlgn="base">
              <a:lnSpc>
                <a:spcPct val="90000"/>
              </a:lnSpc>
              <a:spcBef>
                <a:spcPct val="0"/>
              </a:spcBef>
              <a:spcAft>
                <a:spcPct val="0"/>
              </a:spcAft>
            </a:pPr>
            <a:r>
              <a:rPr lang="en-US" sz="5294" dirty="0" smtClean="0">
                <a:solidFill>
                  <a:srgbClr val="FFFFFF"/>
                </a:solidFill>
                <a:latin typeface="Segoe UI Light"/>
                <a:ea typeface="Segoe UI" pitchFamily="34" charset="0"/>
                <a:cs typeface="Segoe UI" pitchFamily="34" charset="0"/>
              </a:rPr>
              <a:t>Developing with Notebook</a:t>
            </a:r>
            <a:endParaRPr lang="en-US" sz="5294" dirty="0">
              <a:solidFill>
                <a:srgbClr val="FFFFFF"/>
              </a:solidFill>
              <a:latin typeface="Segoe UI Light"/>
              <a:ea typeface="Segoe UI" pitchFamily="34" charset="0"/>
              <a:cs typeface="Segoe UI" pitchFamily="34" charset="0"/>
            </a:endParaRPr>
          </a:p>
        </p:txBody>
      </p:sp>
      <p:sp>
        <p:nvSpPr>
          <p:cNvPr id="2" name="Slide Number Placeholder 1"/>
          <p:cNvSpPr>
            <a:spLocks noGrp="1"/>
          </p:cNvSpPr>
          <p:nvPr>
            <p:ph type="sldNum" sz="quarter" idx="11"/>
          </p:nvPr>
        </p:nvSpPr>
        <p:spPr/>
        <p:txBody>
          <a:bodyPr/>
          <a:lstStyle/>
          <a:p>
            <a:pPr>
              <a:defRPr/>
            </a:pPr>
            <a:fld id="{F8A0AC42-AA1D-4944-8D96-660DE70C7E1B}" type="slidenum">
              <a:rPr lang="en-IN"/>
              <a:pPr>
                <a:defRPr/>
              </a:pPr>
              <a:t>24</a:t>
            </a:fld>
            <a:endParaRPr lang="en-IN" dirty="0"/>
          </a:p>
        </p:txBody>
      </p:sp>
      <p:sp>
        <p:nvSpPr>
          <p:cNvPr id="8" name="TextBox 7"/>
          <p:cNvSpPr txBox="1"/>
          <p:nvPr/>
        </p:nvSpPr>
        <p:spPr>
          <a:xfrm>
            <a:off x="5220356" y="2145069"/>
            <a:ext cx="6553002" cy="2855194"/>
          </a:xfrm>
          <a:prstGeom prst="rect">
            <a:avLst/>
          </a:prstGeom>
          <a:noFill/>
        </p:spPr>
        <p:txBody>
          <a:bodyPr wrap="square" lIns="268927" tIns="143428" rIns="179285" bIns="143428" rtlCol="0">
            <a:noAutofit/>
          </a:bodyPr>
          <a:lstStyle/>
          <a:p>
            <a:pPr marL="52912" lvl="1" defTabSz="913770" fontAlgn="base">
              <a:spcBef>
                <a:spcPts val="1176"/>
              </a:spcBef>
              <a:buClr>
                <a:srgbClr val="68217A">
                  <a:lumMod val="50000"/>
                </a:srgbClr>
              </a:buClr>
            </a:pPr>
            <a:r>
              <a:rPr lang="en-US" sz="3137" dirty="0" smtClean="0">
                <a:ln>
                  <a:solidFill>
                    <a:srgbClr val="FFFFFF">
                      <a:alpha val="0"/>
                    </a:srgbClr>
                  </a:solidFill>
                </a:ln>
                <a:solidFill>
                  <a:srgbClr val="68217A"/>
                </a:solidFill>
                <a:latin typeface="Segoe UI Light"/>
                <a:ea typeface="Segoe UI" pitchFamily="34" charset="0"/>
                <a:cs typeface="Segoe UI" pitchFamily="34" charset="0"/>
              </a:rPr>
              <a:t>Agenda</a:t>
            </a:r>
            <a:endParaRPr lang="en-US" sz="3137" dirty="0">
              <a:ln>
                <a:solidFill>
                  <a:srgbClr val="FFFFFF">
                    <a:alpha val="0"/>
                  </a:srgbClr>
                </a:solidFill>
              </a:ln>
              <a:solidFill>
                <a:srgbClr val="68217A"/>
              </a:solidFill>
              <a:latin typeface="Segoe UI Light"/>
              <a:ea typeface="Segoe UI" pitchFamily="34" charset="0"/>
              <a:cs typeface="Segoe UI" pitchFamily="34" charset="0"/>
            </a:endParaRPr>
          </a:p>
          <a:p>
            <a:pPr marL="558686" lvl="1" indent="-448193" defTabSz="913770" fontAlgn="base">
              <a:buClr>
                <a:srgbClr val="68217A">
                  <a:lumMod val="50000"/>
                </a:srgbClr>
              </a:buClr>
              <a:buBlip>
                <a:blip r:embed="rId2"/>
              </a:buBlip>
            </a:pPr>
            <a:r>
              <a:rPr lang="en-US" sz="2353" dirty="0" smtClean="0">
                <a:ln>
                  <a:solidFill>
                    <a:srgbClr val="FFFFFF">
                      <a:alpha val="0"/>
                    </a:srgbClr>
                  </a:solidFill>
                </a:ln>
                <a:gradFill>
                  <a:gsLst>
                    <a:gs pos="85321">
                      <a:srgbClr val="505050"/>
                    </a:gs>
                    <a:gs pos="57000">
                      <a:srgbClr val="505050"/>
                    </a:gs>
                  </a:gsLst>
                </a:gradFill>
                <a:ea typeface="Segoe UI" pitchFamily="34" charset="0"/>
                <a:cs typeface="Segoe UI" pitchFamily="34" charset="0"/>
              </a:rPr>
              <a:t>Notebooks overview</a:t>
            </a:r>
          </a:p>
          <a:p>
            <a:pPr marL="558686" lvl="1" indent="-448193" defTabSz="913770" fontAlgn="base">
              <a:buClr>
                <a:srgbClr val="68217A">
                  <a:lumMod val="50000"/>
                </a:srgbClr>
              </a:buClr>
              <a:buBlip>
                <a:blip r:embed="rId2"/>
              </a:buBlip>
            </a:pPr>
            <a:r>
              <a:rPr lang="en-US" sz="2353" dirty="0" smtClean="0">
                <a:ln>
                  <a:solidFill>
                    <a:srgbClr val="FFFFFF">
                      <a:alpha val="0"/>
                    </a:srgbClr>
                  </a:solidFill>
                </a:ln>
                <a:gradFill>
                  <a:gsLst>
                    <a:gs pos="85321">
                      <a:srgbClr val="505050"/>
                    </a:gs>
                    <a:gs pos="57000">
                      <a:srgbClr val="505050"/>
                    </a:gs>
                  </a:gsLst>
                </a:gradFill>
                <a:ea typeface="Segoe UI" pitchFamily="34" charset="0"/>
                <a:cs typeface="Segoe UI" pitchFamily="34" charset="0"/>
              </a:rPr>
              <a:t>Zeppelin</a:t>
            </a:r>
          </a:p>
          <a:p>
            <a:pPr marL="558686" lvl="1" indent="-448193" defTabSz="913770" fontAlgn="base">
              <a:buClr>
                <a:srgbClr val="68217A">
                  <a:lumMod val="50000"/>
                </a:srgbClr>
              </a:buClr>
              <a:buBlip>
                <a:blip r:embed="rId2"/>
              </a:buBlip>
            </a:pPr>
            <a:r>
              <a:rPr lang="en-US" sz="2353" dirty="0" smtClean="0">
                <a:ln>
                  <a:solidFill>
                    <a:srgbClr val="FFFFFF">
                      <a:alpha val="0"/>
                    </a:srgbClr>
                  </a:solidFill>
                </a:ln>
                <a:gradFill>
                  <a:gsLst>
                    <a:gs pos="85321">
                      <a:srgbClr val="505050"/>
                    </a:gs>
                    <a:gs pos="57000">
                      <a:srgbClr val="505050"/>
                    </a:gs>
                  </a:gsLst>
                </a:gradFill>
                <a:ea typeface="Segoe UI" pitchFamily="34" charset="0"/>
                <a:cs typeface="Segoe UI" pitchFamily="34" charset="0"/>
              </a:rPr>
              <a:t>Jupyter</a:t>
            </a:r>
          </a:p>
          <a:p>
            <a:pPr marL="558686" lvl="1" indent="-448193" defTabSz="913770" fontAlgn="base">
              <a:buClr>
                <a:srgbClr val="68217A">
                  <a:lumMod val="50000"/>
                </a:srgbClr>
              </a:buClr>
              <a:buBlip>
                <a:blip r:embed="rId2"/>
              </a:buBlip>
            </a:pPr>
            <a:endParaRPr lang="en-US" sz="2353" dirty="0" smtClean="0">
              <a:ln>
                <a:solidFill>
                  <a:srgbClr val="FFFFFF">
                    <a:alpha val="0"/>
                  </a:srgbClr>
                </a:solidFill>
              </a:ln>
              <a:gradFill>
                <a:gsLst>
                  <a:gs pos="85321">
                    <a:srgbClr val="505050"/>
                  </a:gs>
                  <a:gs pos="57000">
                    <a:srgbClr val="505050"/>
                  </a:gs>
                </a:gsLst>
              </a:gradFill>
              <a:ea typeface="Segoe UI" pitchFamily="34" charset="0"/>
              <a:cs typeface="Segoe UI" pitchFamily="34" charset="0"/>
            </a:endParaRPr>
          </a:p>
        </p:txBody>
      </p:sp>
    </p:spTree>
    <p:extLst>
      <p:ext uri="{BB962C8B-B14F-4D97-AF65-F5344CB8AC3E}">
        <p14:creationId xmlns:p14="http://schemas.microsoft.com/office/powerpoint/2010/main" val="3946084683"/>
      </p:ext>
    </p:extLst>
  </p:cSld>
  <p:clrMapOvr>
    <a:masterClrMapping/>
  </p:clrMapOvr>
  <p:transition spd="med">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eveloping Spark Apps with Notebooks</a:t>
            </a:r>
            <a:endParaRPr lang="en-US" dirty="0"/>
          </a:p>
        </p:txBody>
      </p:sp>
      <p:sp>
        <p:nvSpPr>
          <p:cNvPr id="3" name="Slide Number Placeholder 2"/>
          <p:cNvSpPr>
            <a:spLocks noGrp="1"/>
          </p:cNvSpPr>
          <p:nvPr>
            <p:ph type="sldNum" sz="quarter" idx="11"/>
          </p:nvPr>
        </p:nvSpPr>
        <p:spPr/>
        <p:txBody>
          <a:bodyPr/>
          <a:lstStyle/>
          <a:p>
            <a:pPr>
              <a:defRPr/>
            </a:pPr>
            <a:fld id="{F8A0AC42-AA1D-4944-8D96-660DE70C7E1B}" type="slidenum">
              <a:rPr lang="en-US" smtClean="0"/>
              <a:pPr>
                <a:defRPr/>
              </a:pPr>
              <a:t>25</a:t>
            </a:fld>
            <a:endParaRPr lang="en-US" dirty="0"/>
          </a:p>
        </p:txBody>
      </p:sp>
      <p:sp>
        <p:nvSpPr>
          <p:cNvPr id="4" name="TextBox 3"/>
          <p:cNvSpPr txBox="1"/>
          <p:nvPr/>
        </p:nvSpPr>
        <p:spPr>
          <a:xfrm>
            <a:off x="268927" y="1592825"/>
            <a:ext cx="7223254" cy="3923071"/>
          </a:xfrm>
          <a:prstGeom prst="rect">
            <a:avLst/>
          </a:prstGeom>
          <a:noFill/>
        </p:spPr>
        <p:txBody>
          <a:bodyPr wrap="square" lIns="268927" tIns="143428" rIns="179285" bIns="143428" rtlCol="0">
            <a:noAutofit/>
          </a:bodyPr>
          <a:lstStyle>
            <a:defPPr>
              <a:defRPr lang="en-US"/>
            </a:defPPr>
            <a:lvl2pPr marL="52912" lvl="1" defTabSz="913770" fontAlgn="base">
              <a:spcBef>
                <a:spcPts val="1176"/>
              </a:spcBef>
              <a:buClr>
                <a:srgbClr val="68217A">
                  <a:lumMod val="50000"/>
                </a:srgbClr>
              </a:buClr>
              <a:defRPr sz="3137">
                <a:ln>
                  <a:solidFill>
                    <a:srgbClr val="FFFFFF">
                      <a:alpha val="0"/>
                    </a:srgbClr>
                  </a:solidFill>
                </a:ln>
                <a:solidFill>
                  <a:srgbClr val="68217A"/>
                </a:solidFill>
                <a:latin typeface="Segoe UI Light"/>
                <a:ea typeface="Segoe UI" pitchFamily="34" charset="0"/>
                <a:cs typeface="Segoe UI" pitchFamily="34" charset="0"/>
              </a:defRPr>
            </a:lvl2pPr>
          </a:lstStyle>
          <a:p>
            <a:pPr lvl="1"/>
            <a:r>
              <a:rPr lang="en-US" dirty="0"/>
              <a:t>Notebooks:</a:t>
            </a:r>
          </a:p>
          <a:p>
            <a:pPr marL="640080" lvl="2" indent="-448193">
              <a:spcAft>
                <a:spcPts val="600"/>
              </a:spcAft>
              <a:buBlip>
                <a:blip r:embed="rId2"/>
              </a:buBlip>
            </a:pPr>
            <a:r>
              <a:rPr lang="en-US" dirty="0">
                <a:gradFill>
                  <a:gsLst>
                    <a:gs pos="85321">
                      <a:srgbClr val="505050"/>
                    </a:gs>
                    <a:gs pos="57000">
                      <a:srgbClr val="505050"/>
                    </a:gs>
                  </a:gsLst>
                </a:gradFill>
                <a:latin typeface="+mn-lt"/>
              </a:rPr>
              <a:t>A</a:t>
            </a:r>
            <a:r>
              <a:rPr lang="en-US" dirty="0" smtClean="0">
                <a:gradFill>
                  <a:gsLst>
                    <a:gs pos="85321">
                      <a:srgbClr val="505050"/>
                    </a:gs>
                    <a:gs pos="57000">
                      <a:srgbClr val="505050"/>
                    </a:gs>
                  </a:gsLst>
                </a:gradFill>
                <a:latin typeface="+mn-lt"/>
              </a:rPr>
              <a:t>re web-based, interactive servers </a:t>
            </a:r>
            <a:r>
              <a:rPr lang="en-US" dirty="0">
                <a:gradFill>
                  <a:gsLst>
                    <a:gs pos="85321">
                      <a:srgbClr val="505050"/>
                    </a:gs>
                    <a:gs pos="57000">
                      <a:srgbClr val="505050"/>
                    </a:gs>
                  </a:gsLst>
                </a:gradFill>
                <a:latin typeface="+mn-lt"/>
              </a:rPr>
              <a:t>for REPL (Read-Evalute-Print-Loop) style </a:t>
            </a:r>
            <a:r>
              <a:rPr lang="en-US" dirty="0" smtClean="0">
                <a:gradFill>
                  <a:gsLst>
                    <a:gs pos="85321">
                      <a:srgbClr val="505050"/>
                    </a:gs>
                    <a:gs pos="57000">
                      <a:srgbClr val="505050"/>
                    </a:gs>
                  </a:gsLst>
                </a:gradFill>
                <a:latin typeface="+mn-lt"/>
              </a:rPr>
              <a:t>programming. </a:t>
            </a:r>
          </a:p>
          <a:p>
            <a:pPr marL="640080" lvl="2" indent="-448193">
              <a:spcAft>
                <a:spcPts val="600"/>
              </a:spcAft>
              <a:buBlip>
                <a:blip r:embed="rId2"/>
              </a:buBlip>
            </a:pPr>
            <a:r>
              <a:rPr lang="en-US" dirty="0">
                <a:gradFill>
                  <a:gsLst>
                    <a:gs pos="85321">
                      <a:srgbClr val="505050"/>
                    </a:gs>
                    <a:gs pos="57000">
                      <a:srgbClr val="505050"/>
                    </a:gs>
                  </a:gsLst>
                </a:gradFill>
                <a:latin typeface="+mn-lt"/>
              </a:rPr>
              <a:t>A</a:t>
            </a:r>
            <a:r>
              <a:rPr lang="en-US" dirty="0" smtClean="0">
                <a:gradFill>
                  <a:gsLst>
                    <a:gs pos="85321">
                      <a:srgbClr val="505050"/>
                    </a:gs>
                    <a:gs pos="57000">
                      <a:srgbClr val="505050"/>
                    </a:gs>
                  </a:gsLst>
                </a:gradFill>
                <a:latin typeface="+mn-lt"/>
              </a:rPr>
              <a:t>re well-suited for prototyping, rapid development, exploration, discovery and iterative development</a:t>
            </a:r>
            <a:endParaRPr lang="en-US" dirty="0">
              <a:gradFill>
                <a:gsLst>
                  <a:gs pos="85321">
                    <a:srgbClr val="505050"/>
                  </a:gs>
                  <a:gs pos="57000">
                    <a:srgbClr val="505050"/>
                  </a:gs>
                </a:gsLst>
              </a:gradFill>
              <a:latin typeface="+mn-lt"/>
            </a:endParaRPr>
          </a:p>
          <a:p>
            <a:pPr marL="640080" lvl="2" indent="-448193">
              <a:spcAft>
                <a:spcPts val="600"/>
              </a:spcAft>
              <a:buBlip>
                <a:blip r:embed="rId2"/>
              </a:buBlip>
            </a:pPr>
            <a:r>
              <a:rPr lang="en-US" dirty="0">
                <a:gradFill>
                  <a:gsLst>
                    <a:gs pos="85321">
                      <a:srgbClr val="505050"/>
                    </a:gs>
                    <a:gs pos="57000">
                      <a:srgbClr val="505050"/>
                    </a:gs>
                  </a:gsLst>
                </a:gradFill>
                <a:latin typeface="+mn-lt"/>
              </a:rPr>
              <a:t>T</a:t>
            </a:r>
            <a:r>
              <a:rPr lang="en-US" dirty="0" smtClean="0">
                <a:gradFill>
                  <a:gsLst>
                    <a:gs pos="85321">
                      <a:srgbClr val="505050"/>
                    </a:gs>
                    <a:gs pos="57000">
                      <a:srgbClr val="505050"/>
                    </a:gs>
                  </a:gsLst>
                </a:gradFill>
                <a:latin typeface="+mn-lt"/>
              </a:rPr>
              <a:t>ypically </a:t>
            </a:r>
            <a:r>
              <a:rPr lang="en-US" dirty="0">
                <a:gradFill>
                  <a:gsLst>
                    <a:gs pos="85321">
                      <a:srgbClr val="505050"/>
                    </a:gs>
                    <a:gs pos="57000">
                      <a:srgbClr val="505050"/>
                    </a:gs>
                  </a:gsLst>
                </a:gradFill>
                <a:latin typeface="+mn-lt"/>
              </a:rPr>
              <a:t>consist of code, data, visualization, comments and notes</a:t>
            </a:r>
          </a:p>
          <a:p>
            <a:pPr marL="640080" lvl="2" indent="-448193">
              <a:spcAft>
                <a:spcPts val="600"/>
              </a:spcAft>
              <a:buBlip>
                <a:blip r:embed="rId2"/>
              </a:buBlip>
            </a:pPr>
            <a:r>
              <a:rPr lang="en-US" dirty="0" smtClean="0">
                <a:gradFill>
                  <a:gsLst>
                    <a:gs pos="85321">
                      <a:srgbClr val="505050"/>
                    </a:gs>
                    <a:gs pos="57000">
                      <a:srgbClr val="505050"/>
                    </a:gs>
                  </a:gsLst>
                </a:gradFill>
                <a:latin typeface="+mn-lt"/>
              </a:rPr>
              <a:t>Enable </a:t>
            </a:r>
            <a:r>
              <a:rPr lang="en-US" dirty="0">
                <a:gradFill>
                  <a:gsLst>
                    <a:gs pos="85321">
                      <a:srgbClr val="505050"/>
                    </a:gs>
                    <a:gs pos="57000">
                      <a:srgbClr val="505050"/>
                    </a:gs>
                  </a:gsLst>
                </a:gradFill>
                <a:latin typeface="+mn-lt"/>
              </a:rPr>
              <a:t>collaboration with team </a:t>
            </a:r>
            <a:r>
              <a:rPr lang="en-US" dirty="0" smtClean="0">
                <a:gradFill>
                  <a:gsLst>
                    <a:gs pos="85321">
                      <a:srgbClr val="505050"/>
                    </a:gs>
                    <a:gs pos="57000">
                      <a:srgbClr val="505050"/>
                    </a:gs>
                  </a:gsLst>
                </a:gradFill>
                <a:latin typeface="+mn-lt"/>
              </a:rPr>
              <a:t>members</a:t>
            </a:r>
          </a:p>
        </p:txBody>
      </p:sp>
      <p:pic>
        <p:nvPicPr>
          <p:cNvPr id="6" name="Picture 5"/>
          <p:cNvPicPr>
            <a:picLocks noChangeAspect="1"/>
          </p:cNvPicPr>
          <p:nvPr/>
        </p:nvPicPr>
        <p:blipFill>
          <a:blip r:embed="rId3"/>
          <a:stretch>
            <a:fillRect/>
          </a:stretch>
        </p:blipFill>
        <p:spPr>
          <a:xfrm>
            <a:off x="8409038" y="4040326"/>
            <a:ext cx="2066530" cy="2169856"/>
          </a:xfrm>
          <a:prstGeom prst="rect">
            <a:avLst/>
          </a:prstGeom>
        </p:spPr>
      </p:pic>
      <p:pic>
        <p:nvPicPr>
          <p:cNvPr id="7" name="Picture 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577864" y="1214321"/>
            <a:ext cx="3435808" cy="3435808"/>
          </a:xfrm>
          <a:prstGeom prst="rect">
            <a:avLst/>
          </a:prstGeom>
        </p:spPr>
      </p:pic>
      <p:pic>
        <p:nvPicPr>
          <p:cNvPr id="8" name="Picture 7"/>
          <p:cNvPicPr>
            <a:picLocks noChangeAspect="1"/>
          </p:cNvPicPr>
          <p:nvPr/>
        </p:nvPicPr>
        <p:blipFill>
          <a:blip r:embed="rId5"/>
          <a:stretch>
            <a:fillRect/>
          </a:stretch>
        </p:blipFill>
        <p:spPr>
          <a:xfrm>
            <a:off x="8938943" y="2455107"/>
            <a:ext cx="1652933" cy="302452"/>
          </a:xfrm>
          <a:prstGeom prst="rect">
            <a:avLst/>
          </a:prstGeom>
        </p:spPr>
      </p:pic>
      <p:sp>
        <p:nvSpPr>
          <p:cNvPr id="9" name="TextBox 8"/>
          <p:cNvSpPr txBox="1"/>
          <p:nvPr/>
        </p:nvSpPr>
        <p:spPr>
          <a:xfrm>
            <a:off x="7104020" y="1267666"/>
            <a:ext cx="4818430" cy="588038"/>
          </a:xfrm>
          <a:prstGeom prst="rect">
            <a:avLst/>
          </a:prstGeom>
          <a:noFill/>
        </p:spPr>
        <p:txBody>
          <a:bodyPr wrap="square" lIns="268927" tIns="143428" rIns="179285" bIns="143428" rtlCol="0">
            <a:noAutofit/>
          </a:bodyPr>
          <a:lstStyle>
            <a:defPPr>
              <a:defRPr lang="en-US"/>
            </a:defPPr>
            <a:lvl2pPr marL="52912" lvl="1" defTabSz="913770" fontAlgn="base">
              <a:spcBef>
                <a:spcPts val="1176"/>
              </a:spcBef>
              <a:buClr>
                <a:srgbClr val="68217A">
                  <a:lumMod val="50000"/>
                </a:srgbClr>
              </a:buClr>
              <a:defRPr sz="3137">
                <a:ln>
                  <a:solidFill>
                    <a:srgbClr val="FFFFFF">
                      <a:alpha val="0"/>
                    </a:srgbClr>
                  </a:solidFill>
                </a:ln>
                <a:solidFill>
                  <a:srgbClr val="68217A"/>
                </a:solidFill>
                <a:latin typeface="Segoe UI Light"/>
                <a:ea typeface="Segoe UI" pitchFamily="34" charset="0"/>
                <a:cs typeface="Segoe UI" pitchFamily="34" charset="0"/>
              </a:defRPr>
            </a:lvl2pPr>
          </a:lstStyle>
          <a:p>
            <a:pPr marL="191887" lvl="2" algn="ctr">
              <a:spcAft>
                <a:spcPts val="600"/>
              </a:spcAft>
            </a:pPr>
            <a:r>
              <a:rPr lang="en-US" dirty="0" smtClean="0">
                <a:gradFill>
                  <a:gsLst>
                    <a:gs pos="85321">
                      <a:srgbClr val="505050"/>
                    </a:gs>
                    <a:gs pos="57000">
                      <a:srgbClr val="505050"/>
                    </a:gs>
                  </a:gsLst>
                </a:gradFill>
              </a:rPr>
              <a:t>Jupyter and Zeppeling are two Notebooks that work with Apache Spark</a:t>
            </a:r>
            <a:r>
              <a:rPr lang="en-US" dirty="0" smtClean="0">
                <a:gradFill>
                  <a:gsLst>
                    <a:gs pos="85321">
                      <a:srgbClr val="505050"/>
                    </a:gs>
                    <a:gs pos="57000">
                      <a:srgbClr val="505050"/>
                    </a:gs>
                  </a:gsLst>
                </a:gradFill>
                <a:latin typeface="+mn-lt"/>
              </a:rPr>
              <a:t> </a:t>
            </a:r>
          </a:p>
        </p:txBody>
      </p:sp>
    </p:spTree>
    <p:extLst>
      <p:ext uri="{BB962C8B-B14F-4D97-AF65-F5344CB8AC3E}">
        <p14:creationId xmlns:p14="http://schemas.microsoft.com/office/powerpoint/2010/main" val="2863847842"/>
      </p:ext>
    </p:extLst>
  </p:cSld>
  <p:clrMapOvr>
    <a:masterClrMapping/>
  </p:clrMapOvr>
  <p:transition spd="med">
    <p:fad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pache Zeppelin</a:t>
            </a:r>
            <a:endParaRPr lang="en-US" dirty="0"/>
          </a:p>
        </p:txBody>
      </p:sp>
      <p:sp>
        <p:nvSpPr>
          <p:cNvPr id="3" name="Slide Number Placeholder 2"/>
          <p:cNvSpPr>
            <a:spLocks noGrp="1"/>
          </p:cNvSpPr>
          <p:nvPr>
            <p:ph type="sldNum" sz="quarter" idx="11"/>
          </p:nvPr>
        </p:nvSpPr>
        <p:spPr/>
        <p:txBody>
          <a:bodyPr/>
          <a:lstStyle/>
          <a:p>
            <a:pPr>
              <a:defRPr/>
            </a:pPr>
            <a:fld id="{F8A0AC42-AA1D-4944-8D96-660DE70C7E1B}" type="slidenum">
              <a:rPr lang="en-US" smtClean="0"/>
              <a:pPr>
                <a:defRPr/>
              </a:pPr>
              <a:t>26</a:t>
            </a:fld>
            <a:endParaRPr lang="en-US" dirty="0"/>
          </a:p>
        </p:txBody>
      </p:sp>
      <p:sp>
        <p:nvSpPr>
          <p:cNvPr id="4" name="TextBox 3"/>
          <p:cNvSpPr txBox="1"/>
          <p:nvPr/>
        </p:nvSpPr>
        <p:spPr>
          <a:xfrm>
            <a:off x="642553" y="1288025"/>
            <a:ext cx="10821860" cy="4923575"/>
          </a:xfrm>
          <a:prstGeom prst="rect">
            <a:avLst/>
          </a:prstGeom>
          <a:noFill/>
        </p:spPr>
        <p:txBody>
          <a:bodyPr wrap="square" lIns="268927" tIns="143428" rIns="179285" bIns="143428" rtlCol="0">
            <a:noAutofit/>
          </a:bodyPr>
          <a:lstStyle>
            <a:defPPr>
              <a:defRPr lang="en-US"/>
            </a:defPPr>
            <a:lvl2pPr marL="52912" lvl="1" defTabSz="913770" fontAlgn="base">
              <a:spcBef>
                <a:spcPts val="1176"/>
              </a:spcBef>
              <a:buClr>
                <a:srgbClr val="68217A">
                  <a:lumMod val="50000"/>
                </a:srgbClr>
              </a:buClr>
              <a:defRPr sz="3137">
                <a:ln>
                  <a:solidFill>
                    <a:srgbClr val="FFFFFF">
                      <a:alpha val="0"/>
                    </a:srgbClr>
                  </a:solidFill>
                </a:ln>
                <a:solidFill>
                  <a:srgbClr val="68217A"/>
                </a:solidFill>
                <a:latin typeface="Segoe UI Light"/>
                <a:ea typeface="Segoe UI" pitchFamily="34" charset="0"/>
                <a:cs typeface="Segoe UI" pitchFamily="34" charset="0"/>
              </a:defRPr>
            </a:lvl2pPr>
          </a:lstStyle>
          <a:p>
            <a:pPr marL="640080" lvl="2" indent="-448193">
              <a:spcAft>
                <a:spcPts val="600"/>
              </a:spcAft>
              <a:buBlip>
                <a:blip r:embed="rId2"/>
              </a:buBlip>
            </a:pPr>
            <a:r>
              <a:rPr lang="en-US" dirty="0" smtClean="0">
                <a:gradFill>
                  <a:gsLst>
                    <a:gs pos="85321">
                      <a:srgbClr val="505050"/>
                    </a:gs>
                    <a:gs pos="57000">
                      <a:srgbClr val="505050"/>
                    </a:gs>
                  </a:gsLst>
                </a:gradFill>
              </a:rPr>
              <a:t>Is an Apache project currently in incubation. </a:t>
            </a:r>
          </a:p>
          <a:p>
            <a:pPr marL="640080" lvl="2" indent="-448193">
              <a:spcAft>
                <a:spcPts val="600"/>
              </a:spcAft>
              <a:buBlip>
                <a:blip r:embed="rId2"/>
              </a:buBlip>
            </a:pPr>
            <a:r>
              <a:rPr lang="en-US" dirty="0">
                <a:gradFill>
                  <a:gsLst>
                    <a:gs pos="85321">
                      <a:srgbClr val="505050"/>
                    </a:gs>
                    <a:gs pos="57000">
                      <a:srgbClr val="505050"/>
                    </a:gs>
                  </a:gsLst>
                </a:gradFill>
              </a:rPr>
              <a:t>Zeppelin provides </a:t>
            </a:r>
            <a:r>
              <a:rPr lang="en-US" b="1" dirty="0">
                <a:gradFill>
                  <a:gsLst>
                    <a:gs pos="85321">
                      <a:srgbClr val="505050"/>
                    </a:gs>
                    <a:gs pos="57000">
                      <a:srgbClr val="505050"/>
                    </a:gs>
                  </a:gsLst>
                </a:gradFill>
              </a:rPr>
              <a:t>built-in Apache Spark integration </a:t>
            </a:r>
            <a:r>
              <a:rPr lang="en-US" dirty="0">
                <a:gradFill>
                  <a:gsLst>
                    <a:gs pos="85321">
                      <a:srgbClr val="505050"/>
                    </a:gs>
                    <a:gs pos="57000">
                      <a:srgbClr val="505050"/>
                    </a:gs>
                  </a:gsLst>
                </a:gradFill>
              </a:rPr>
              <a:t>(no need to build a separate module, plugin or library for it). Zeppelin’s Spark integration provides</a:t>
            </a:r>
          </a:p>
          <a:p>
            <a:pPr marL="1097280" lvl="3" indent="-448193">
              <a:spcAft>
                <a:spcPts val="600"/>
              </a:spcAft>
              <a:buBlip>
                <a:blip r:embed="rId2"/>
              </a:buBlip>
            </a:pPr>
            <a:r>
              <a:rPr lang="en-US" sz="1600" dirty="0" smtClean="0">
                <a:gradFill>
                  <a:gsLst>
                    <a:gs pos="85321">
                      <a:srgbClr val="505050"/>
                    </a:gs>
                    <a:gs pos="57000">
                      <a:srgbClr val="505050"/>
                    </a:gs>
                  </a:gsLst>
                </a:gradFill>
              </a:rPr>
              <a:t>Automatic </a:t>
            </a:r>
            <a:r>
              <a:rPr lang="en-US" sz="1600" dirty="0">
                <a:gradFill>
                  <a:gsLst>
                    <a:gs pos="85321">
                      <a:srgbClr val="505050"/>
                    </a:gs>
                    <a:gs pos="57000">
                      <a:srgbClr val="505050"/>
                    </a:gs>
                  </a:gsLst>
                </a:gradFill>
              </a:rPr>
              <a:t>SparkContext and SQLContext injection</a:t>
            </a:r>
          </a:p>
          <a:p>
            <a:pPr marL="1097280" lvl="3" indent="-448193">
              <a:spcAft>
                <a:spcPts val="600"/>
              </a:spcAft>
              <a:buBlip>
                <a:blip r:embed="rId2"/>
              </a:buBlip>
            </a:pPr>
            <a:r>
              <a:rPr lang="en-US" sz="1600" dirty="0" smtClean="0">
                <a:gradFill>
                  <a:gsLst>
                    <a:gs pos="85321">
                      <a:srgbClr val="505050"/>
                    </a:gs>
                    <a:gs pos="57000">
                      <a:srgbClr val="505050"/>
                    </a:gs>
                  </a:gsLst>
                </a:gradFill>
              </a:rPr>
              <a:t>Runtime </a:t>
            </a:r>
            <a:r>
              <a:rPr lang="en-US" sz="1600" dirty="0">
                <a:gradFill>
                  <a:gsLst>
                    <a:gs pos="85321">
                      <a:srgbClr val="505050"/>
                    </a:gs>
                    <a:gs pos="57000">
                      <a:srgbClr val="505050"/>
                    </a:gs>
                  </a:gsLst>
                </a:gradFill>
              </a:rPr>
              <a:t>jar dependency loading from local filesystem or maven repository</a:t>
            </a:r>
            <a:r>
              <a:rPr lang="en-US" sz="1600" dirty="0" smtClean="0">
                <a:gradFill>
                  <a:gsLst>
                    <a:gs pos="85321">
                      <a:srgbClr val="505050"/>
                    </a:gs>
                    <a:gs pos="57000">
                      <a:srgbClr val="505050"/>
                    </a:gs>
                  </a:gsLst>
                </a:gradFill>
              </a:rPr>
              <a:t>.</a:t>
            </a:r>
            <a:endParaRPr lang="en-US" sz="1600" dirty="0">
              <a:gradFill>
                <a:gsLst>
                  <a:gs pos="85321">
                    <a:srgbClr val="505050"/>
                  </a:gs>
                  <a:gs pos="57000">
                    <a:srgbClr val="505050"/>
                  </a:gs>
                </a:gsLst>
              </a:gradFill>
            </a:endParaRPr>
          </a:p>
          <a:p>
            <a:pPr marL="1097280" lvl="3" indent="-448193">
              <a:spcAft>
                <a:spcPts val="600"/>
              </a:spcAft>
              <a:buBlip>
                <a:blip r:embed="rId2"/>
              </a:buBlip>
            </a:pPr>
            <a:r>
              <a:rPr lang="en-US" sz="1600" dirty="0" smtClean="0">
                <a:gradFill>
                  <a:gsLst>
                    <a:gs pos="85321">
                      <a:srgbClr val="505050"/>
                    </a:gs>
                    <a:gs pos="57000">
                      <a:srgbClr val="505050"/>
                    </a:gs>
                  </a:gsLst>
                </a:gradFill>
              </a:rPr>
              <a:t>Canceling </a:t>
            </a:r>
            <a:r>
              <a:rPr lang="en-US" sz="1600" dirty="0">
                <a:gradFill>
                  <a:gsLst>
                    <a:gs pos="85321">
                      <a:srgbClr val="505050"/>
                    </a:gs>
                    <a:gs pos="57000">
                      <a:srgbClr val="505050"/>
                    </a:gs>
                  </a:gsLst>
                </a:gradFill>
              </a:rPr>
              <a:t>job and displaying its </a:t>
            </a:r>
            <a:r>
              <a:rPr lang="en-US" sz="1600" dirty="0" smtClean="0">
                <a:gradFill>
                  <a:gsLst>
                    <a:gs pos="85321">
                      <a:srgbClr val="505050"/>
                    </a:gs>
                    <a:gs pos="57000">
                      <a:srgbClr val="505050"/>
                    </a:gs>
                  </a:gsLst>
                </a:gradFill>
              </a:rPr>
              <a:t>progress</a:t>
            </a:r>
          </a:p>
          <a:p>
            <a:pPr marL="640080" lvl="2" indent="-448193">
              <a:spcAft>
                <a:spcPts val="600"/>
              </a:spcAft>
              <a:buBlip>
                <a:blip r:embed="rId2"/>
              </a:buBlip>
            </a:pPr>
            <a:r>
              <a:rPr lang="en-US" dirty="0" smtClean="0">
                <a:gradFill>
                  <a:gsLst>
                    <a:gs pos="85321">
                      <a:srgbClr val="505050"/>
                    </a:gs>
                    <a:gs pos="57000">
                      <a:srgbClr val="505050"/>
                    </a:gs>
                  </a:gsLst>
                </a:gradFill>
                <a:latin typeface="+mn-lt"/>
              </a:rPr>
              <a:t>It is based on an </a:t>
            </a:r>
            <a:r>
              <a:rPr lang="en-US" b="1" dirty="0" smtClean="0">
                <a:gradFill>
                  <a:gsLst>
                    <a:gs pos="85321">
                      <a:srgbClr val="505050"/>
                    </a:gs>
                    <a:gs pos="57000">
                      <a:srgbClr val="505050"/>
                    </a:gs>
                  </a:gsLst>
                </a:gradFill>
                <a:latin typeface="+mn-lt"/>
              </a:rPr>
              <a:t>interpreter concept </a:t>
            </a:r>
            <a:r>
              <a:rPr lang="en-US" dirty="0" smtClean="0">
                <a:gradFill>
                  <a:gsLst>
                    <a:gs pos="85321">
                      <a:srgbClr val="505050"/>
                    </a:gs>
                    <a:gs pos="57000">
                      <a:srgbClr val="505050"/>
                    </a:gs>
                  </a:gsLst>
                </a:gradFill>
                <a:latin typeface="+mn-lt"/>
              </a:rPr>
              <a:t>that </a:t>
            </a:r>
            <a:r>
              <a:rPr lang="en-US" dirty="0" smtClean="0">
                <a:gradFill>
                  <a:gsLst>
                    <a:gs pos="85321">
                      <a:srgbClr val="505050"/>
                    </a:gs>
                    <a:gs pos="57000">
                      <a:srgbClr val="505050"/>
                    </a:gs>
                  </a:gsLst>
                </a:gradFill>
              </a:rPr>
              <a:t>allows </a:t>
            </a:r>
            <a:r>
              <a:rPr lang="en-US" dirty="0">
                <a:gradFill>
                  <a:gsLst>
                    <a:gs pos="85321">
                      <a:srgbClr val="505050"/>
                    </a:gs>
                    <a:gs pos="57000">
                      <a:srgbClr val="505050"/>
                    </a:gs>
                  </a:gsLst>
                </a:gradFill>
              </a:rPr>
              <a:t>any language/data-processing-backend to be plugged into Zeppelin. Current languages included in the Zeppelin interpreter are: </a:t>
            </a:r>
            <a:endParaRPr lang="en-US" dirty="0" smtClean="0">
              <a:gradFill>
                <a:gsLst>
                  <a:gs pos="85321">
                    <a:srgbClr val="505050"/>
                  </a:gs>
                  <a:gs pos="57000">
                    <a:srgbClr val="505050"/>
                  </a:gs>
                </a:gsLst>
              </a:gradFill>
            </a:endParaRPr>
          </a:p>
          <a:p>
            <a:pPr marL="1097280" lvl="3" indent="-448193">
              <a:spcAft>
                <a:spcPts val="600"/>
              </a:spcAft>
              <a:buBlip>
                <a:blip r:embed="rId2"/>
              </a:buBlip>
            </a:pPr>
            <a:r>
              <a:rPr lang="en-US" sz="1600" dirty="0" smtClean="0">
                <a:gradFill>
                  <a:gsLst>
                    <a:gs pos="85321">
                      <a:srgbClr val="505050"/>
                    </a:gs>
                    <a:gs pos="57000">
                      <a:srgbClr val="505050"/>
                    </a:gs>
                  </a:gsLst>
                </a:gradFill>
              </a:rPr>
              <a:t>Scala(with </a:t>
            </a:r>
            <a:r>
              <a:rPr lang="en-US" sz="1600" dirty="0">
                <a:gradFill>
                  <a:gsLst>
                    <a:gs pos="85321">
                      <a:srgbClr val="505050"/>
                    </a:gs>
                    <a:gs pos="57000">
                      <a:srgbClr val="505050"/>
                    </a:gs>
                  </a:gsLst>
                </a:gradFill>
              </a:rPr>
              <a:t>Apache Spark), </a:t>
            </a:r>
            <a:endParaRPr lang="en-US" sz="1600" dirty="0" smtClean="0">
              <a:gradFill>
                <a:gsLst>
                  <a:gs pos="85321">
                    <a:srgbClr val="505050"/>
                  </a:gs>
                  <a:gs pos="57000">
                    <a:srgbClr val="505050"/>
                  </a:gs>
                </a:gsLst>
              </a:gradFill>
            </a:endParaRPr>
          </a:p>
          <a:p>
            <a:pPr marL="1097280" lvl="3" indent="-448193">
              <a:spcAft>
                <a:spcPts val="600"/>
              </a:spcAft>
              <a:buBlip>
                <a:blip r:embed="rId2"/>
              </a:buBlip>
            </a:pPr>
            <a:r>
              <a:rPr lang="en-US" sz="1600" dirty="0" smtClean="0">
                <a:gradFill>
                  <a:gsLst>
                    <a:gs pos="85321">
                      <a:srgbClr val="505050"/>
                    </a:gs>
                    <a:gs pos="57000">
                      <a:srgbClr val="505050"/>
                    </a:gs>
                  </a:gsLst>
                </a:gradFill>
              </a:rPr>
              <a:t>SparkSQL, </a:t>
            </a:r>
          </a:p>
          <a:p>
            <a:pPr marL="1097280" lvl="3" indent="-448193">
              <a:spcAft>
                <a:spcPts val="600"/>
              </a:spcAft>
              <a:buBlip>
                <a:blip r:embed="rId2"/>
              </a:buBlip>
            </a:pPr>
            <a:r>
              <a:rPr lang="en-US" sz="1600" dirty="0" smtClean="0">
                <a:gradFill>
                  <a:gsLst>
                    <a:gs pos="85321">
                      <a:srgbClr val="505050"/>
                    </a:gs>
                    <a:gs pos="57000">
                      <a:srgbClr val="505050"/>
                    </a:gs>
                  </a:gsLst>
                </a:gradFill>
              </a:rPr>
              <a:t>Markdown, </a:t>
            </a:r>
          </a:p>
          <a:p>
            <a:pPr marL="1097280" lvl="3" indent="-448193">
              <a:spcAft>
                <a:spcPts val="600"/>
              </a:spcAft>
              <a:buBlip>
                <a:blip r:embed="rId2"/>
              </a:buBlip>
            </a:pPr>
            <a:r>
              <a:rPr lang="en-US" sz="1600" dirty="0" smtClean="0">
                <a:gradFill>
                  <a:gsLst>
                    <a:gs pos="85321">
                      <a:srgbClr val="505050"/>
                    </a:gs>
                    <a:gs pos="57000">
                      <a:srgbClr val="505050"/>
                    </a:gs>
                  </a:gsLst>
                </a:gradFill>
              </a:rPr>
              <a:t>Shell </a:t>
            </a:r>
          </a:p>
          <a:p>
            <a:pPr marL="640080" lvl="2" indent="-448193">
              <a:spcAft>
                <a:spcPts val="600"/>
              </a:spcAft>
              <a:buBlip>
                <a:blip r:embed="rId2"/>
              </a:buBlip>
            </a:pPr>
            <a:r>
              <a:rPr lang="en-US" sz="1600" dirty="0">
                <a:solidFill>
                  <a:schemeClr val="bg2">
                    <a:lumMod val="50000"/>
                  </a:schemeClr>
                </a:solidFill>
              </a:rPr>
              <a:t>Notebook URL can be shared among collaborators. Zeppelin can then broadcast any changes in real time</a:t>
            </a:r>
          </a:p>
          <a:p>
            <a:pPr marL="640080" lvl="2" indent="-448193">
              <a:spcAft>
                <a:spcPts val="600"/>
              </a:spcAft>
              <a:buBlip>
                <a:blip r:embed="rId2"/>
              </a:buBlip>
            </a:pPr>
            <a:r>
              <a:rPr lang="en-US" sz="1600" dirty="0">
                <a:solidFill>
                  <a:schemeClr val="bg2">
                    <a:lumMod val="50000"/>
                  </a:schemeClr>
                </a:solidFill>
              </a:rPr>
              <a:t>Zeppelin provides an URL to display the result only, that page does not include Zeppelin's menu and buttons. This way, you can easily embed it as an iframe inside of your </a:t>
            </a:r>
            <a:r>
              <a:rPr lang="en-US" sz="1600" dirty="0" smtClean="0">
                <a:solidFill>
                  <a:schemeClr val="bg2">
                    <a:lumMod val="50000"/>
                  </a:schemeClr>
                </a:solidFill>
              </a:rPr>
              <a:t>website</a:t>
            </a:r>
            <a:endParaRPr lang="en-US" sz="1600" dirty="0" smtClean="0">
              <a:gradFill>
                <a:gsLst>
                  <a:gs pos="85321">
                    <a:srgbClr val="505050"/>
                  </a:gs>
                  <a:gs pos="57000">
                    <a:srgbClr val="505050"/>
                  </a:gs>
                </a:gsLst>
              </a:gradFill>
            </a:endParaRPr>
          </a:p>
          <a:p>
            <a:pPr marL="191887" lvl="2">
              <a:spcAft>
                <a:spcPts val="600"/>
              </a:spcAft>
            </a:pPr>
            <a:endParaRPr lang="en-US" dirty="0">
              <a:gradFill>
                <a:gsLst>
                  <a:gs pos="85321">
                    <a:srgbClr val="505050"/>
                  </a:gs>
                  <a:gs pos="57000">
                    <a:srgbClr val="505050"/>
                  </a:gs>
                </a:gsLst>
              </a:gradFill>
              <a:latin typeface="+mn-lt"/>
            </a:endParaRPr>
          </a:p>
        </p:txBody>
      </p:sp>
    </p:spTree>
    <p:extLst>
      <p:ext uri="{BB962C8B-B14F-4D97-AF65-F5344CB8AC3E}">
        <p14:creationId xmlns:p14="http://schemas.microsoft.com/office/powerpoint/2010/main" val="726550498"/>
      </p:ext>
    </p:extLst>
  </p:cSld>
  <p:clrMapOvr>
    <a:masterClrMapping/>
  </p:clrMapOvr>
  <p:transition spd="med">
    <p:fad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Zeppelin Architecture</a:t>
            </a:r>
            <a:endParaRPr lang="en-US" dirty="0"/>
          </a:p>
        </p:txBody>
      </p:sp>
      <p:sp>
        <p:nvSpPr>
          <p:cNvPr id="3" name="Slide Number Placeholder 2"/>
          <p:cNvSpPr>
            <a:spLocks noGrp="1"/>
          </p:cNvSpPr>
          <p:nvPr>
            <p:ph type="sldNum" sz="quarter" idx="11"/>
          </p:nvPr>
        </p:nvSpPr>
        <p:spPr/>
        <p:txBody>
          <a:bodyPr/>
          <a:lstStyle/>
          <a:p>
            <a:pPr>
              <a:defRPr/>
            </a:pPr>
            <a:fld id="{F8A0AC42-AA1D-4944-8D96-660DE70C7E1B}" type="slidenum">
              <a:rPr lang="en-US" smtClean="0"/>
              <a:pPr>
                <a:defRPr/>
              </a:pPr>
              <a:t>27</a:t>
            </a:fld>
            <a:endParaRPr lang="en-US" dirty="0"/>
          </a:p>
        </p:txBody>
      </p:sp>
      <p:grpSp>
        <p:nvGrpSpPr>
          <p:cNvPr id="28" name="Group 27"/>
          <p:cNvGrpSpPr/>
          <p:nvPr/>
        </p:nvGrpSpPr>
        <p:grpSpPr>
          <a:xfrm>
            <a:off x="743226" y="1437503"/>
            <a:ext cx="6277893" cy="3847074"/>
            <a:chOff x="1705896" y="1563329"/>
            <a:chExt cx="7266037" cy="4741811"/>
          </a:xfrm>
        </p:grpSpPr>
        <p:sp>
          <p:nvSpPr>
            <p:cNvPr id="4" name="Rectangle 3"/>
            <p:cNvSpPr/>
            <p:nvPr/>
          </p:nvSpPr>
          <p:spPr bwMode="auto">
            <a:xfrm>
              <a:off x="1705896" y="1563329"/>
              <a:ext cx="7261122" cy="491613"/>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600" dirty="0" smtClean="0">
                  <a:solidFill>
                    <a:schemeClr val="bg1"/>
                  </a:solidFill>
                  <a:ea typeface="Segoe UI" pitchFamily="34" charset="0"/>
                  <a:cs typeface="Segoe UI" pitchFamily="34" charset="0"/>
                </a:rPr>
                <a:t>Browser Client</a:t>
              </a:r>
            </a:p>
          </p:txBody>
        </p:sp>
        <p:sp>
          <p:nvSpPr>
            <p:cNvPr id="5" name="Rectangle 4"/>
            <p:cNvSpPr/>
            <p:nvPr/>
          </p:nvSpPr>
          <p:spPr bwMode="auto">
            <a:xfrm>
              <a:off x="1705896" y="2843062"/>
              <a:ext cx="7261122" cy="485413"/>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600" dirty="0" smtClean="0">
                  <a:solidFill>
                    <a:schemeClr val="bg1"/>
                  </a:solidFill>
                  <a:ea typeface="Segoe UI" pitchFamily="34" charset="0"/>
                  <a:cs typeface="Segoe UI" pitchFamily="34" charset="0"/>
                </a:rPr>
                <a:t>Zeppelin Server</a:t>
              </a:r>
            </a:p>
          </p:txBody>
        </p:sp>
        <p:sp>
          <p:nvSpPr>
            <p:cNvPr id="6" name="Rectangle 5"/>
            <p:cNvSpPr/>
            <p:nvPr/>
          </p:nvSpPr>
          <p:spPr bwMode="auto">
            <a:xfrm>
              <a:off x="1705896" y="3422911"/>
              <a:ext cx="3441290" cy="508214"/>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600" dirty="0" smtClean="0">
                  <a:solidFill>
                    <a:schemeClr val="bg1"/>
                  </a:solidFill>
                  <a:ea typeface="Segoe UI" pitchFamily="34" charset="0"/>
                  <a:cs typeface="Segoe UI" pitchFamily="34" charset="0"/>
                </a:rPr>
                <a:t>Class Loader</a:t>
              </a:r>
            </a:p>
          </p:txBody>
        </p:sp>
        <p:sp>
          <p:nvSpPr>
            <p:cNvPr id="9" name="Rectangle 8"/>
            <p:cNvSpPr/>
            <p:nvPr/>
          </p:nvSpPr>
          <p:spPr bwMode="auto">
            <a:xfrm>
              <a:off x="5525728" y="3422911"/>
              <a:ext cx="3441290" cy="551890"/>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600" dirty="0" smtClean="0">
                  <a:solidFill>
                    <a:schemeClr val="bg1"/>
                  </a:solidFill>
                  <a:ea typeface="Segoe UI" pitchFamily="34" charset="0"/>
                  <a:cs typeface="Segoe UI" pitchFamily="34" charset="0"/>
                </a:rPr>
                <a:t>Class Loader</a:t>
              </a:r>
            </a:p>
          </p:txBody>
        </p:sp>
        <p:sp>
          <p:nvSpPr>
            <p:cNvPr id="12" name="Rectangle 11"/>
            <p:cNvSpPr/>
            <p:nvPr/>
          </p:nvSpPr>
          <p:spPr bwMode="auto">
            <a:xfrm>
              <a:off x="1710811" y="4106255"/>
              <a:ext cx="3441290" cy="551890"/>
            </a:xfrm>
            <a:prstGeom prst="rect">
              <a:avLst/>
            </a:prstGeom>
            <a:solidFill>
              <a:schemeClr val="accent4">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600" dirty="0" smtClean="0">
                  <a:solidFill>
                    <a:schemeClr val="bg1"/>
                  </a:solidFill>
                  <a:ea typeface="Segoe UI" pitchFamily="34" charset="0"/>
                  <a:cs typeface="Segoe UI" pitchFamily="34" charset="0"/>
                </a:rPr>
                <a:t>Interpreter Group</a:t>
              </a:r>
            </a:p>
          </p:txBody>
        </p:sp>
        <p:sp>
          <p:nvSpPr>
            <p:cNvPr id="13" name="Rectangle 12"/>
            <p:cNvSpPr/>
            <p:nvPr/>
          </p:nvSpPr>
          <p:spPr bwMode="auto">
            <a:xfrm>
              <a:off x="5530643" y="4106255"/>
              <a:ext cx="3441290" cy="551890"/>
            </a:xfrm>
            <a:prstGeom prst="rect">
              <a:avLst/>
            </a:prstGeom>
            <a:solidFill>
              <a:schemeClr val="accent4">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600" dirty="0" smtClean="0">
                  <a:solidFill>
                    <a:schemeClr val="bg1"/>
                  </a:solidFill>
                  <a:ea typeface="Segoe UI" pitchFamily="34" charset="0"/>
                  <a:cs typeface="Segoe UI" pitchFamily="34" charset="0"/>
                </a:rPr>
                <a:t>Interpreter Group</a:t>
              </a:r>
            </a:p>
          </p:txBody>
        </p:sp>
        <p:sp>
          <p:nvSpPr>
            <p:cNvPr id="14" name="Rectangle 13"/>
            <p:cNvSpPr/>
            <p:nvPr/>
          </p:nvSpPr>
          <p:spPr bwMode="auto">
            <a:xfrm>
              <a:off x="1705896" y="4763703"/>
              <a:ext cx="1568246" cy="51893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600" dirty="0" smtClean="0">
                  <a:solidFill>
                    <a:schemeClr val="bg1"/>
                  </a:solidFill>
                  <a:ea typeface="Segoe UI" pitchFamily="34" charset="0"/>
                  <a:cs typeface="Segoe UI" pitchFamily="34" charset="0"/>
                </a:rPr>
                <a:t>Interpreter</a:t>
              </a:r>
            </a:p>
          </p:txBody>
        </p:sp>
        <p:sp>
          <p:nvSpPr>
            <p:cNvPr id="15" name="Rectangle 14"/>
            <p:cNvSpPr/>
            <p:nvPr/>
          </p:nvSpPr>
          <p:spPr bwMode="auto">
            <a:xfrm>
              <a:off x="3331906" y="4763703"/>
              <a:ext cx="1574387" cy="50821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600" dirty="0" smtClean="0">
                  <a:solidFill>
                    <a:schemeClr val="bg1"/>
                  </a:solidFill>
                  <a:ea typeface="Segoe UI" pitchFamily="34" charset="0"/>
                  <a:cs typeface="Segoe UI" pitchFamily="34" charset="0"/>
                </a:rPr>
                <a:t>Dep</a:t>
              </a:r>
            </a:p>
          </p:txBody>
        </p:sp>
        <p:sp>
          <p:nvSpPr>
            <p:cNvPr id="16" name="Rectangle 15"/>
            <p:cNvSpPr/>
            <p:nvPr/>
          </p:nvSpPr>
          <p:spPr bwMode="auto">
            <a:xfrm>
              <a:off x="5525728" y="4763703"/>
              <a:ext cx="1469921" cy="50821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600" dirty="0" smtClean="0">
                  <a:solidFill>
                    <a:schemeClr val="bg1"/>
                  </a:solidFill>
                  <a:ea typeface="Segoe UI" pitchFamily="34" charset="0"/>
                  <a:cs typeface="Segoe UI" pitchFamily="34" charset="0"/>
                </a:rPr>
                <a:t>Spark</a:t>
              </a:r>
            </a:p>
          </p:txBody>
        </p:sp>
        <p:sp>
          <p:nvSpPr>
            <p:cNvPr id="17" name="Rectangle 16"/>
            <p:cNvSpPr/>
            <p:nvPr/>
          </p:nvSpPr>
          <p:spPr bwMode="auto">
            <a:xfrm>
              <a:off x="7053414" y="4763703"/>
              <a:ext cx="1569477" cy="50821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600" dirty="0" smtClean="0">
                  <a:solidFill>
                    <a:schemeClr val="bg1"/>
                  </a:solidFill>
                  <a:ea typeface="Segoe UI" pitchFamily="34" charset="0"/>
                  <a:cs typeface="Segoe UI" pitchFamily="34" charset="0"/>
                </a:rPr>
                <a:t>Spark SQL</a:t>
              </a:r>
            </a:p>
          </p:txBody>
        </p:sp>
        <p:cxnSp>
          <p:nvCxnSpPr>
            <p:cNvPr id="21" name="Straight Arrow Connector 20"/>
            <p:cNvCxnSpPr>
              <a:stCxn id="4" idx="2"/>
              <a:endCxn id="5" idx="0"/>
            </p:cNvCxnSpPr>
            <p:nvPr/>
          </p:nvCxnSpPr>
          <p:spPr>
            <a:xfrm>
              <a:off x="5336457" y="2054942"/>
              <a:ext cx="0" cy="788120"/>
            </a:xfrm>
            <a:prstGeom prst="straightConnector1">
              <a:avLst/>
            </a:prstGeom>
            <a:ln w="38100">
              <a:solidFill>
                <a:schemeClr val="tx2">
                  <a:lumMod val="7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2" name="TextBox 21"/>
            <p:cNvSpPr txBox="1"/>
            <p:nvPr/>
          </p:nvSpPr>
          <p:spPr>
            <a:xfrm>
              <a:off x="4012907" y="2166513"/>
              <a:ext cx="2727548" cy="538752"/>
            </a:xfrm>
            <a:prstGeom prst="rect">
              <a:avLst/>
            </a:prstGeom>
            <a:noFill/>
          </p:spPr>
          <p:txBody>
            <a:bodyPr wrap="none" lIns="182880" tIns="146304" rIns="182880" bIns="146304" rtlCol="0" anchor="ctr">
              <a:noAutofit/>
            </a:bodyPr>
            <a:lstStyle/>
            <a:p>
              <a:pPr>
                <a:lnSpc>
                  <a:spcPct val="90000"/>
                </a:lnSpc>
                <a:spcAft>
                  <a:spcPts val="600"/>
                </a:spcAft>
              </a:pPr>
              <a:r>
                <a:rPr lang="en-US" sz="1600" dirty="0" smtClean="0">
                  <a:solidFill>
                    <a:schemeClr val="tx1">
                      <a:lumMod val="65000"/>
                      <a:lumOff val="35000"/>
                    </a:schemeClr>
                  </a:solidFill>
                </a:rPr>
                <a:t>HTTP Rest  Websocket</a:t>
              </a:r>
            </a:p>
          </p:txBody>
        </p:sp>
        <p:sp>
          <p:nvSpPr>
            <p:cNvPr id="24" name="TextBox 23"/>
            <p:cNvSpPr txBox="1"/>
            <p:nvPr/>
          </p:nvSpPr>
          <p:spPr>
            <a:xfrm>
              <a:off x="4757279" y="4594228"/>
              <a:ext cx="814231" cy="646326"/>
            </a:xfrm>
            <a:prstGeom prst="rect">
              <a:avLst/>
            </a:prstGeom>
            <a:noFill/>
          </p:spPr>
          <p:txBody>
            <a:bodyPr wrap="none" lIns="182880" tIns="146304" rIns="182880" bIns="146304" rtlCol="0" anchor="ctr">
              <a:noAutofit/>
            </a:bodyPr>
            <a:lstStyle/>
            <a:p>
              <a:pPr>
                <a:lnSpc>
                  <a:spcPct val="90000"/>
                </a:lnSpc>
                <a:spcAft>
                  <a:spcPts val="600"/>
                </a:spcAft>
              </a:pPr>
              <a:r>
                <a:rPr lang="en-US" sz="2400" dirty="0" smtClean="0">
                  <a:solidFill>
                    <a:schemeClr val="accent3">
                      <a:lumMod val="60000"/>
                      <a:lumOff val="40000"/>
                    </a:schemeClr>
                  </a:solidFill>
                </a:rPr>
                <a:t>…</a:t>
              </a:r>
            </a:p>
          </p:txBody>
        </p:sp>
        <p:sp>
          <p:nvSpPr>
            <p:cNvPr id="25" name="Oval 24"/>
            <p:cNvSpPr/>
            <p:nvPr/>
          </p:nvSpPr>
          <p:spPr bwMode="auto">
            <a:xfrm>
              <a:off x="5284834" y="5747088"/>
              <a:ext cx="2025446" cy="558052"/>
            </a:xfrm>
            <a:prstGeom prst="ellipse">
              <a:avLst/>
            </a:prstGeom>
            <a:solidFill>
              <a:schemeClr val="accent6">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600" dirty="0" smtClean="0">
                  <a:solidFill>
                    <a:schemeClr val="bg1"/>
                  </a:solidFill>
                  <a:ea typeface="Segoe UI" pitchFamily="34" charset="0"/>
                  <a:cs typeface="Segoe UI" pitchFamily="34" charset="0"/>
                </a:rPr>
                <a:t>Spark</a:t>
              </a:r>
            </a:p>
          </p:txBody>
        </p:sp>
        <p:cxnSp>
          <p:nvCxnSpPr>
            <p:cNvPr id="26" name="Straight Arrow Connector 25"/>
            <p:cNvCxnSpPr>
              <a:endCxn id="25" idx="0"/>
            </p:cNvCxnSpPr>
            <p:nvPr/>
          </p:nvCxnSpPr>
          <p:spPr>
            <a:xfrm>
              <a:off x="6297557" y="5282633"/>
              <a:ext cx="0" cy="464455"/>
            </a:xfrm>
            <a:prstGeom prst="straightConnector1">
              <a:avLst/>
            </a:prstGeom>
            <a:ln w="38100">
              <a:solidFill>
                <a:schemeClr val="tx2">
                  <a:lumMod val="7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grpSp>
      <p:sp>
        <p:nvSpPr>
          <p:cNvPr id="29" name="Rectangle 28"/>
          <p:cNvSpPr/>
          <p:nvPr/>
        </p:nvSpPr>
        <p:spPr bwMode="auto">
          <a:xfrm>
            <a:off x="550607" y="1111045"/>
            <a:ext cx="6626941" cy="4385187"/>
          </a:xfrm>
          <a:prstGeom prst="rect">
            <a:avLst/>
          </a:prstGeom>
          <a:noFill/>
          <a:ln>
            <a:solidFill>
              <a:schemeClr val="tx2">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dirty="0" smtClean="0">
              <a:solidFill>
                <a:schemeClr val="bg1"/>
              </a:solidFill>
              <a:ea typeface="Segoe UI" pitchFamily="34" charset="0"/>
              <a:cs typeface="Segoe UI" pitchFamily="34" charset="0"/>
            </a:endParaRPr>
          </a:p>
        </p:txBody>
      </p:sp>
      <p:sp>
        <p:nvSpPr>
          <p:cNvPr id="30" name="TextBox 29"/>
          <p:cNvSpPr txBox="1"/>
          <p:nvPr/>
        </p:nvSpPr>
        <p:spPr>
          <a:xfrm>
            <a:off x="6549794" y="3808682"/>
            <a:ext cx="814231" cy="646326"/>
          </a:xfrm>
          <a:prstGeom prst="rect">
            <a:avLst/>
          </a:prstGeom>
          <a:noFill/>
        </p:spPr>
        <p:txBody>
          <a:bodyPr wrap="none" lIns="182880" tIns="146304" rIns="182880" bIns="146304" rtlCol="0" anchor="t">
            <a:noAutofit/>
          </a:bodyPr>
          <a:lstStyle/>
          <a:p>
            <a:pPr>
              <a:lnSpc>
                <a:spcPct val="90000"/>
              </a:lnSpc>
              <a:spcAft>
                <a:spcPts val="600"/>
              </a:spcAft>
            </a:pPr>
            <a:r>
              <a:rPr lang="en-US" sz="2800" dirty="0" smtClean="0">
                <a:solidFill>
                  <a:schemeClr val="accent3">
                    <a:lumMod val="60000"/>
                    <a:lumOff val="40000"/>
                  </a:schemeClr>
                </a:solidFill>
              </a:rPr>
              <a:t>…</a:t>
            </a:r>
          </a:p>
        </p:txBody>
      </p:sp>
      <p:pic>
        <p:nvPicPr>
          <p:cNvPr id="33" name="Picture 32"/>
          <p:cNvPicPr>
            <a:picLocks noChangeAspect="1"/>
          </p:cNvPicPr>
          <p:nvPr/>
        </p:nvPicPr>
        <p:blipFill>
          <a:blip r:embed="rId2"/>
          <a:stretch>
            <a:fillRect/>
          </a:stretch>
        </p:blipFill>
        <p:spPr>
          <a:xfrm>
            <a:off x="7255200" y="2475762"/>
            <a:ext cx="4667250" cy="1838325"/>
          </a:xfrm>
          <a:prstGeom prst="rect">
            <a:avLst/>
          </a:prstGeom>
          <a:ln>
            <a:solidFill>
              <a:schemeClr val="bg2">
                <a:lumMod val="50000"/>
              </a:schemeClr>
            </a:solidFill>
          </a:ln>
        </p:spPr>
      </p:pic>
      <p:sp>
        <p:nvSpPr>
          <p:cNvPr id="34" name="Oval 33"/>
          <p:cNvSpPr/>
          <p:nvPr/>
        </p:nvSpPr>
        <p:spPr bwMode="auto">
          <a:xfrm>
            <a:off x="1966522" y="4838938"/>
            <a:ext cx="1749996" cy="452753"/>
          </a:xfrm>
          <a:prstGeom prst="ellipse">
            <a:avLst/>
          </a:prstGeom>
          <a:solidFill>
            <a:schemeClr val="tx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600" dirty="0" smtClean="0">
                <a:solidFill>
                  <a:schemeClr val="bg1"/>
                </a:solidFill>
                <a:ea typeface="Segoe UI" pitchFamily="34" charset="0"/>
                <a:cs typeface="Segoe UI" pitchFamily="34" charset="0"/>
              </a:rPr>
              <a:t>Maven</a:t>
            </a:r>
          </a:p>
        </p:txBody>
      </p:sp>
      <p:cxnSp>
        <p:nvCxnSpPr>
          <p:cNvPr id="35" name="Straight Arrow Connector 34"/>
          <p:cNvCxnSpPr/>
          <p:nvPr/>
        </p:nvCxnSpPr>
        <p:spPr>
          <a:xfrm>
            <a:off x="2841520" y="4446314"/>
            <a:ext cx="0" cy="376817"/>
          </a:xfrm>
          <a:prstGeom prst="straightConnector1">
            <a:avLst/>
          </a:prstGeom>
          <a:ln w="38100">
            <a:solidFill>
              <a:schemeClr val="tx2">
                <a:lumMod val="7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6" name="TextBox 35"/>
          <p:cNvSpPr txBox="1"/>
          <p:nvPr/>
        </p:nvSpPr>
        <p:spPr>
          <a:xfrm>
            <a:off x="7098890" y="1299391"/>
            <a:ext cx="4823560" cy="914400"/>
          </a:xfrm>
          <a:prstGeom prst="rect">
            <a:avLst/>
          </a:prstGeom>
          <a:noFill/>
        </p:spPr>
        <p:txBody>
          <a:bodyPr wrap="square" lIns="268927" tIns="143428" rIns="179285" bIns="143428" rtlCol="0">
            <a:noAutofit/>
          </a:bodyPr>
          <a:lstStyle>
            <a:defPPr>
              <a:defRPr lang="en-US"/>
            </a:defPPr>
            <a:lvl2pPr marL="52912" lvl="1" defTabSz="913770" fontAlgn="base">
              <a:spcBef>
                <a:spcPts val="1176"/>
              </a:spcBef>
              <a:buClr>
                <a:srgbClr val="68217A">
                  <a:lumMod val="50000"/>
                </a:srgbClr>
              </a:buClr>
              <a:defRPr sz="3137">
                <a:ln>
                  <a:solidFill>
                    <a:srgbClr val="FFFFFF">
                      <a:alpha val="0"/>
                    </a:srgbClr>
                  </a:solidFill>
                </a:ln>
                <a:solidFill>
                  <a:srgbClr val="68217A"/>
                </a:solidFill>
                <a:latin typeface="Segoe UI Light"/>
                <a:ea typeface="Segoe UI" pitchFamily="34" charset="0"/>
                <a:cs typeface="Segoe UI" pitchFamily="34" charset="0"/>
              </a:defRPr>
            </a:lvl2pPr>
            <a:lvl3pPr marL="640080" lvl="2" indent="-448193">
              <a:spcAft>
                <a:spcPts val="600"/>
              </a:spcAft>
              <a:buBlip>
                <a:blip r:embed="rId3"/>
              </a:buBlip>
              <a:defRPr>
                <a:gradFill>
                  <a:gsLst>
                    <a:gs pos="85321">
                      <a:srgbClr val="505050"/>
                    </a:gs>
                    <a:gs pos="57000">
                      <a:srgbClr val="505050"/>
                    </a:gs>
                  </a:gsLst>
                </a:gradFill>
              </a:defRPr>
            </a:lvl3pPr>
            <a:lvl4pPr marL="1097280" lvl="3" indent="-448193">
              <a:spcAft>
                <a:spcPts val="600"/>
              </a:spcAft>
              <a:buBlip>
                <a:blip r:embed="rId3"/>
              </a:buBlip>
              <a:defRPr sz="1600">
                <a:gradFill>
                  <a:gsLst>
                    <a:gs pos="85321">
                      <a:srgbClr val="505050"/>
                    </a:gs>
                    <a:gs pos="57000">
                      <a:srgbClr val="505050"/>
                    </a:gs>
                  </a:gsLst>
                </a:gradFill>
              </a:defRPr>
            </a:lvl4pPr>
          </a:lstStyle>
          <a:p>
            <a:r>
              <a:rPr lang="en-US" dirty="0">
                <a:solidFill>
                  <a:schemeClr val="tx1">
                    <a:lumMod val="65000"/>
                    <a:lumOff val="35000"/>
                  </a:schemeClr>
                </a:solidFill>
              </a:rPr>
              <a:t>Apache Spark is supported in Zeppelin with </a:t>
            </a:r>
            <a:r>
              <a:rPr lang="en-US" dirty="0" smtClean="0">
                <a:solidFill>
                  <a:schemeClr val="tx1">
                    <a:lumMod val="65000"/>
                    <a:lumOff val="35000"/>
                  </a:schemeClr>
                </a:solidFill>
              </a:rPr>
              <a:t>the Spark </a:t>
            </a:r>
            <a:r>
              <a:rPr lang="en-US" dirty="0">
                <a:solidFill>
                  <a:schemeClr val="tx1">
                    <a:lumMod val="65000"/>
                    <a:lumOff val="35000"/>
                  </a:schemeClr>
                </a:solidFill>
              </a:rPr>
              <a:t>Interpreter group, which </a:t>
            </a:r>
            <a:r>
              <a:rPr lang="en-US" dirty="0" smtClean="0">
                <a:solidFill>
                  <a:schemeClr val="tx1">
                    <a:lumMod val="65000"/>
                    <a:lumOff val="35000"/>
                  </a:schemeClr>
                </a:solidFill>
              </a:rPr>
              <a:t>consists </a:t>
            </a:r>
            <a:r>
              <a:rPr lang="en-US" dirty="0">
                <a:solidFill>
                  <a:schemeClr val="tx1">
                    <a:lumMod val="65000"/>
                    <a:lumOff val="35000"/>
                  </a:schemeClr>
                </a:solidFill>
              </a:rPr>
              <a:t>of 4 interpreters</a:t>
            </a:r>
          </a:p>
        </p:txBody>
      </p:sp>
    </p:spTree>
    <p:extLst>
      <p:ext uri="{BB962C8B-B14F-4D97-AF65-F5344CB8AC3E}">
        <p14:creationId xmlns:p14="http://schemas.microsoft.com/office/powerpoint/2010/main" val="360597105"/>
      </p:ext>
    </p:extLst>
  </p:cSld>
  <p:clrMapOvr>
    <a:masterClrMapping/>
  </p:clrMapOvr>
  <p:transition spd="med">
    <p:fade/>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Jupyter </a:t>
            </a:r>
            <a:endParaRPr lang="en-US" dirty="0"/>
          </a:p>
        </p:txBody>
      </p:sp>
      <p:sp>
        <p:nvSpPr>
          <p:cNvPr id="3" name="Slide Number Placeholder 2"/>
          <p:cNvSpPr>
            <a:spLocks noGrp="1"/>
          </p:cNvSpPr>
          <p:nvPr>
            <p:ph type="sldNum" sz="quarter" idx="11"/>
          </p:nvPr>
        </p:nvSpPr>
        <p:spPr/>
        <p:txBody>
          <a:bodyPr/>
          <a:lstStyle/>
          <a:p>
            <a:pPr>
              <a:defRPr/>
            </a:pPr>
            <a:fld id="{F8A0AC42-AA1D-4944-8D96-660DE70C7E1B}" type="slidenum">
              <a:rPr lang="en-US" smtClean="0"/>
              <a:pPr>
                <a:defRPr/>
              </a:pPr>
              <a:t>28</a:t>
            </a:fld>
            <a:endParaRPr lang="en-US" dirty="0"/>
          </a:p>
        </p:txBody>
      </p:sp>
      <p:sp>
        <p:nvSpPr>
          <p:cNvPr id="4" name="TextBox 3"/>
          <p:cNvSpPr txBox="1"/>
          <p:nvPr/>
        </p:nvSpPr>
        <p:spPr>
          <a:xfrm>
            <a:off x="642553" y="1288026"/>
            <a:ext cx="6259692" cy="5149716"/>
          </a:xfrm>
          <a:prstGeom prst="rect">
            <a:avLst/>
          </a:prstGeom>
          <a:noFill/>
        </p:spPr>
        <p:txBody>
          <a:bodyPr wrap="square" lIns="268927" tIns="143428" rIns="179285" bIns="143428" rtlCol="0">
            <a:noAutofit/>
          </a:bodyPr>
          <a:lstStyle>
            <a:defPPr>
              <a:defRPr lang="en-US"/>
            </a:defPPr>
            <a:lvl2pPr marL="52912" lvl="1" defTabSz="913770" fontAlgn="base">
              <a:spcBef>
                <a:spcPts val="1176"/>
              </a:spcBef>
              <a:buClr>
                <a:srgbClr val="68217A">
                  <a:lumMod val="50000"/>
                </a:srgbClr>
              </a:buClr>
              <a:defRPr sz="3137">
                <a:ln>
                  <a:solidFill>
                    <a:srgbClr val="FFFFFF">
                      <a:alpha val="0"/>
                    </a:srgbClr>
                  </a:solidFill>
                </a:ln>
                <a:solidFill>
                  <a:srgbClr val="68217A"/>
                </a:solidFill>
                <a:latin typeface="Segoe UI Light"/>
                <a:ea typeface="Segoe UI" pitchFamily="34" charset="0"/>
                <a:cs typeface="Segoe UI" pitchFamily="34" charset="0"/>
              </a:defRPr>
            </a:lvl2pPr>
          </a:lstStyle>
          <a:p>
            <a:pPr marL="640080" lvl="2" indent="-448193">
              <a:spcAft>
                <a:spcPts val="600"/>
              </a:spcAft>
              <a:buBlip>
                <a:blip r:embed="rId2"/>
              </a:buBlip>
            </a:pPr>
            <a:r>
              <a:rPr lang="en-US" dirty="0" smtClean="0">
                <a:gradFill>
                  <a:gsLst>
                    <a:gs pos="85321">
                      <a:srgbClr val="505050"/>
                    </a:gs>
                    <a:gs pos="57000">
                      <a:srgbClr val="505050"/>
                    </a:gs>
                  </a:gsLst>
                </a:gradFill>
              </a:rPr>
              <a:t>Names inspired by scientific and statistical languages (Julia, Python and R)</a:t>
            </a:r>
          </a:p>
          <a:p>
            <a:pPr marL="640080" lvl="2" indent="-448193">
              <a:spcAft>
                <a:spcPts val="600"/>
              </a:spcAft>
              <a:buBlip>
                <a:blip r:embed="rId2"/>
              </a:buBlip>
            </a:pPr>
            <a:r>
              <a:rPr lang="en-US" dirty="0" smtClean="0">
                <a:gradFill>
                  <a:gsLst>
                    <a:gs pos="85321">
                      <a:srgbClr val="505050"/>
                    </a:gs>
                    <a:gs pos="57000">
                      <a:srgbClr val="505050"/>
                    </a:gs>
                  </a:gsLst>
                </a:gradFill>
              </a:rPr>
              <a:t>Is based on, and an evolution of IPython</a:t>
            </a:r>
            <a:r>
              <a:rPr lang="en-US" dirty="0">
                <a:gradFill>
                  <a:gsLst>
                    <a:gs pos="85321">
                      <a:srgbClr val="505050"/>
                    </a:gs>
                    <a:gs pos="57000">
                      <a:srgbClr val="505050"/>
                    </a:gs>
                  </a:gsLst>
                </a:gradFill>
              </a:rPr>
              <a:t> </a:t>
            </a:r>
            <a:r>
              <a:rPr lang="en-US" dirty="0" smtClean="0">
                <a:gradFill>
                  <a:gsLst>
                    <a:gs pos="85321">
                      <a:srgbClr val="505050"/>
                    </a:gs>
                    <a:gs pos="57000">
                      <a:srgbClr val="505050"/>
                    </a:gs>
                  </a:gsLst>
                </a:gradFill>
              </a:rPr>
              <a:t>[Shortly IPython will not ship separately]</a:t>
            </a:r>
          </a:p>
          <a:p>
            <a:pPr marL="640080" lvl="2" indent="-448193">
              <a:spcAft>
                <a:spcPts val="600"/>
              </a:spcAft>
              <a:buBlip>
                <a:blip r:embed="rId2"/>
              </a:buBlip>
            </a:pPr>
            <a:r>
              <a:rPr lang="en-US" dirty="0" smtClean="0">
                <a:gradFill>
                  <a:gsLst>
                    <a:gs pos="85321">
                      <a:srgbClr val="505050"/>
                    </a:gs>
                    <a:gs pos="57000">
                      <a:srgbClr val="505050"/>
                    </a:gs>
                  </a:gsLst>
                </a:gradFill>
              </a:rPr>
              <a:t>Is language agnostic. All languages are equal class citizens. Languages are supported through ‘kernels’ (a program that runs and introspects the users code) </a:t>
            </a:r>
          </a:p>
          <a:p>
            <a:pPr marL="640080" lvl="2" indent="-448193">
              <a:spcAft>
                <a:spcPts val="600"/>
              </a:spcAft>
              <a:buBlip>
                <a:blip r:embed="rId2"/>
              </a:buBlip>
            </a:pPr>
            <a:r>
              <a:rPr lang="en-US" dirty="0" smtClean="0">
                <a:gradFill>
                  <a:gsLst>
                    <a:gs pos="85321">
                      <a:srgbClr val="505050"/>
                    </a:gs>
                    <a:gs pos="57000">
                      <a:srgbClr val="505050"/>
                    </a:gs>
                  </a:gsLst>
                </a:gradFill>
              </a:rPr>
              <a:t>Supports a rich REPL protocol</a:t>
            </a:r>
          </a:p>
          <a:p>
            <a:pPr marL="640080" lvl="2" indent="-448193">
              <a:spcAft>
                <a:spcPts val="600"/>
              </a:spcAft>
              <a:buBlip>
                <a:blip r:embed="rId2"/>
              </a:buBlip>
            </a:pPr>
            <a:r>
              <a:rPr lang="en-US" dirty="0" smtClean="0">
                <a:gradFill>
                  <a:gsLst>
                    <a:gs pos="85321">
                      <a:srgbClr val="505050"/>
                    </a:gs>
                    <a:gs pos="57000">
                      <a:srgbClr val="505050"/>
                    </a:gs>
                  </a:gsLst>
                </a:gradFill>
              </a:rPr>
              <a:t>Includes:</a:t>
            </a:r>
          </a:p>
          <a:p>
            <a:pPr marL="1097280" lvl="3" indent="-448193">
              <a:spcAft>
                <a:spcPts val="600"/>
              </a:spcAft>
              <a:buBlip>
                <a:blip r:embed="rId2"/>
              </a:buBlip>
            </a:pPr>
            <a:r>
              <a:rPr lang="en-US" dirty="0" smtClean="0">
                <a:gradFill>
                  <a:gsLst>
                    <a:gs pos="85321">
                      <a:srgbClr val="505050"/>
                    </a:gs>
                    <a:gs pos="57000">
                      <a:srgbClr val="505050"/>
                    </a:gs>
                  </a:gsLst>
                </a:gradFill>
              </a:rPr>
              <a:t>Jupytr notebook document format (.ipynb)</a:t>
            </a:r>
          </a:p>
          <a:p>
            <a:pPr marL="1097280" lvl="3" indent="-448193">
              <a:spcAft>
                <a:spcPts val="600"/>
              </a:spcAft>
              <a:buBlip>
                <a:blip r:embed="rId2"/>
              </a:buBlip>
            </a:pPr>
            <a:r>
              <a:rPr lang="en-US" dirty="0" smtClean="0">
                <a:gradFill>
                  <a:gsLst>
                    <a:gs pos="85321">
                      <a:srgbClr val="505050"/>
                    </a:gs>
                    <a:gs pos="57000">
                      <a:srgbClr val="505050"/>
                    </a:gs>
                  </a:gsLst>
                </a:gradFill>
                <a:hlinkClick r:id="rId3"/>
              </a:rPr>
              <a:t>Jupytr Interactive web-based Notebook</a:t>
            </a:r>
            <a:endParaRPr lang="en-US" dirty="0" smtClean="0">
              <a:gradFill>
                <a:gsLst>
                  <a:gs pos="85321">
                    <a:srgbClr val="505050"/>
                  </a:gs>
                  <a:gs pos="57000">
                    <a:srgbClr val="505050"/>
                  </a:gs>
                </a:gsLst>
              </a:gradFill>
            </a:endParaRPr>
          </a:p>
          <a:p>
            <a:pPr marL="1097280" lvl="3" indent="-448193">
              <a:spcAft>
                <a:spcPts val="600"/>
              </a:spcAft>
              <a:buBlip>
                <a:blip r:embed="rId2"/>
              </a:buBlip>
            </a:pPr>
            <a:r>
              <a:rPr lang="en-US" dirty="0" smtClean="0">
                <a:gradFill>
                  <a:gsLst>
                    <a:gs pos="85321">
                      <a:srgbClr val="505050"/>
                    </a:gs>
                    <a:gs pos="57000">
                      <a:srgbClr val="505050"/>
                    </a:gs>
                  </a:gsLst>
                </a:gradFill>
                <a:hlinkClick r:id="rId4"/>
              </a:rPr>
              <a:t>Jupyter Qt console</a:t>
            </a:r>
            <a:endParaRPr lang="en-US" dirty="0" smtClean="0">
              <a:gradFill>
                <a:gsLst>
                  <a:gs pos="85321">
                    <a:srgbClr val="505050"/>
                  </a:gs>
                  <a:gs pos="57000">
                    <a:srgbClr val="505050"/>
                  </a:gs>
                </a:gsLst>
              </a:gradFill>
            </a:endParaRPr>
          </a:p>
          <a:p>
            <a:pPr marL="1097280" lvl="3" indent="-448193">
              <a:spcAft>
                <a:spcPts val="600"/>
              </a:spcAft>
              <a:buBlip>
                <a:blip r:embed="rId2"/>
              </a:buBlip>
            </a:pPr>
            <a:r>
              <a:rPr lang="en-US" dirty="0" smtClean="0">
                <a:gradFill>
                  <a:gsLst>
                    <a:gs pos="85321">
                      <a:srgbClr val="505050"/>
                    </a:gs>
                    <a:gs pos="57000">
                      <a:srgbClr val="505050"/>
                    </a:gs>
                  </a:gsLst>
                </a:gradFill>
                <a:hlinkClick r:id="rId5"/>
              </a:rPr>
              <a:t>Jupyter Terminal console</a:t>
            </a:r>
            <a:endParaRPr lang="en-US" dirty="0" smtClean="0">
              <a:gradFill>
                <a:gsLst>
                  <a:gs pos="85321">
                    <a:srgbClr val="505050"/>
                  </a:gs>
                  <a:gs pos="57000">
                    <a:srgbClr val="505050"/>
                  </a:gs>
                </a:gsLst>
              </a:gradFill>
            </a:endParaRPr>
          </a:p>
          <a:p>
            <a:pPr marL="1097280" lvl="3" indent="-448193">
              <a:spcAft>
                <a:spcPts val="600"/>
              </a:spcAft>
              <a:buBlip>
                <a:blip r:embed="rId2"/>
              </a:buBlip>
            </a:pPr>
            <a:r>
              <a:rPr lang="en-US" dirty="0" smtClean="0">
                <a:gradFill>
                  <a:gsLst>
                    <a:gs pos="85321">
                      <a:srgbClr val="505050"/>
                    </a:gs>
                    <a:gs pos="57000">
                      <a:srgbClr val="505050"/>
                    </a:gs>
                  </a:gsLst>
                </a:gradFill>
                <a:hlinkClick r:id="rId6"/>
              </a:rPr>
              <a:t>Notebook viewer (nbviewer)</a:t>
            </a:r>
            <a:endParaRPr lang="en-US" dirty="0" smtClean="0">
              <a:gradFill>
                <a:gsLst>
                  <a:gs pos="85321">
                    <a:srgbClr val="505050"/>
                  </a:gs>
                  <a:gs pos="57000">
                    <a:srgbClr val="505050"/>
                  </a:gs>
                </a:gsLst>
              </a:gradFill>
            </a:endParaRPr>
          </a:p>
          <a:p>
            <a:pPr marL="640080" lvl="2" indent="-448193">
              <a:spcAft>
                <a:spcPts val="600"/>
              </a:spcAft>
              <a:buBlip>
                <a:blip r:embed="rId2"/>
              </a:buBlip>
            </a:pPr>
            <a:endParaRPr lang="en-US" dirty="0" smtClean="0">
              <a:gradFill>
                <a:gsLst>
                  <a:gs pos="85321">
                    <a:srgbClr val="505050"/>
                  </a:gs>
                  <a:gs pos="57000">
                    <a:srgbClr val="505050"/>
                  </a:gs>
                </a:gsLst>
              </a:gradFill>
            </a:endParaRPr>
          </a:p>
          <a:p>
            <a:pPr marL="640080" lvl="2" indent="-448193">
              <a:spcAft>
                <a:spcPts val="600"/>
              </a:spcAft>
              <a:buBlip>
                <a:blip r:embed="rId2"/>
              </a:buBlip>
            </a:pPr>
            <a:endParaRPr lang="en-US" dirty="0" smtClean="0">
              <a:gradFill>
                <a:gsLst>
                  <a:gs pos="85321">
                    <a:srgbClr val="505050"/>
                  </a:gs>
                  <a:gs pos="57000">
                    <a:srgbClr val="505050"/>
                  </a:gs>
                </a:gsLst>
              </a:gradFill>
            </a:endParaRPr>
          </a:p>
        </p:txBody>
      </p:sp>
      <p:pic>
        <p:nvPicPr>
          <p:cNvPr id="5" name="Picture 4"/>
          <p:cNvPicPr>
            <a:picLocks noChangeAspect="1"/>
          </p:cNvPicPr>
          <p:nvPr/>
        </p:nvPicPr>
        <p:blipFill>
          <a:blip r:embed="rId7"/>
          <a:stretch>
            <a:fillRect/>
          </a:stretch>
        </p:blipFill>
        <p:spPr>
          <a:xfrm>
            <a:off x="7493178" y="2383248"/>
            <a:ext cx="4402855" cy="2138262"/>
          </a:xfrm>
          <a:prstGeom prst="rect">
            <a:avLst/>
          </a:prstGeom>
        </p:spPr>
      </p:pic>
      <p:sp>
        <p:nvSpPr>
          <p:cNvPr id="6" name="TextBox 5"/>
          <p:cNvSpPr txBox="1"/>
          <p:nvPr/>
        </p:nvSpPr>
        <p:spPr>
          <a:xfrm>
            <a:off x="8686798" y="4521510"/>
            <a:ext cx="2015613" cy="914400"/>
          </a:xfrm>
          <a:prstGeom prst="rect">
            <a:avLst/>
          </a:prstGeom>
          <a:noFill/>
        </p:spPr>
        <p:txBody>
          <a:bodyPr wrap="none" lIns="182880" tIns="146304" rIns="182880" bIns="146304" rtlCol="0">
            <a:noAutofit/>
          </a:bodyPr>
          <a:lstStyle/>
          <a:p>
            <a:pPr marL="0" lvl="2">
              <a:lnSpc>
                <a:spcPct val="90000"/>
              </a:lnSpc>
              <a:spcAft>
                <a:spcPts val="600"/>
              </a:spcAft>
            </a:pPr>
            <a:r>
              <a:rPr lang="en-US" dirty="0" smtClean="0">
                <a:gradFill>
                  <a:gsLst>
                    <a:gs pos="85321">
                      <a:srgbClr val="505050"/>
                    </a:gs>
                    <a:gs pos="57000">
                      <a:srgbClr val="505050"/>
                    </a:gs>
                  </a:gsLst>
                </a:gradFill>
              </a:rPr>
              <a:t>See </a:t>
            </a:r>
            <a:r>
              <a:rPr lang="en-US" dirty="0" smtClean="0">
                <a:gradFill>
                  <a:gsLst>
                    <a:gs pos="85321">
                      <a:srgbClr val="505050"/>
                    </a:gs>
                    <a:gs pos="57000">
                      <a:srgbClr val="505050"/>
                    </a:gs>
                  </a:gsLst>
                </a:gradFill>
                <a:hlinkClick r:id="rId8"/>
              </a:rPr>
              <a:t>full list here</a:t>
            </a:r>
            <a:endParaRPr lang="en-US" dirty="0" smtClean="0">
              <a:gradFill>
                <a:gsLst>
                  <a:gs pos="85321">
                    <a:srgbClr val="505050"/>
                  </a:gs>
                  <a:gs pos="57000">
                    <a:srgbClr val="505050"/>
                  </a:gs>
                </a:gsLst>
              </a:gradFill>
            </a:endParaRPr>
          </a:p>
          <a:p>
            <a:pPr>
              <a:lnSpc>
                <a:spcPct val="90000"/>
              </a:lnSpc>
              <a:spcAft>
                <a:spcPts val="600"/>
              </a:spcAft>
            </a:pPr>
            <a:endParaRPr lang="en-US" sz="2400" dirty="0" smtClean="0">
              <a:gradFill>
                <a:gsLst>
                  <a:gs pos="2917">
                    <a:schemeClr val="tx1"/>
                  </a:gs>
                  <a:gs pos="30000">
                    <a:schemeClr val="tx1"/>
                  </a:gs>
                </a:gsLst>
                <a:lin ang="5400000" scaled="0"/>
              </a:gradFill>
            </a:endParaRPr>
          </a:p>
        </p:txBody>
      </p:sp>
      <p:sp>
        <p:nvSpPr>
          <p:cNvPr id="7" name="TextBox 6"/>
          <p:cNvSpPr txBox="1"/>
          <p:nvPr/>
        </p:nvSpPr>
        <p:spPr>
          <a:xfrm>
            <a:off x="7826476" y="1852306"/>
            <a:ext cx="4385185" cy="914400"/>
          </a:xfrm>
          <a:prstGeom prst="rect">
            <a:avLst/>
          </a:prstGeom>
          <a:noFill/>
        </p:spPr>
        <p:txBody>
          <a:bodyPr wrap="square" lIns="268927" tIns="143428" rIns="179285" bIns="143428" rtlCol="0">
            <a:noAutofit/>
          </a:bodyPr>
          <a:lstStyle>
            <a:defPPr>
              <a:defRPr lang="en-US"/>
            </a:defPPr>
            <a:lvl1pPr>
              <a:defRPr>
                <a:solidFill>
                  <a:schemeClr val="tx1">
                    <a:lumMod val="65000"/>
                    <a:lumOff val="35000"/>
                  </a:schemeClr>
                </a:solidFill>
              </a:defRPr>
            </a:lvl1pPr>
            <a:lvl2pPr marL="52912" lvl="1" defTabSz="913770" fontAlgn="base">
              <a:spcBef>
                <a:spcPts val="1176"/>
              </a:spcBef>
              <a:buClr>
                <a:srgbClr val="68217A">
                  <a:lumMod val="50000"/>
                </a:srgbClr>
              </a:buClr>
              <a:defRPr sz="3137">
                <a:ln>
                  <a:solidFill>
                    <a:srgbClr val="FFFFFF">
                      <a:alpha val="0"/>
                    </a:srgbClr>
                  </a:solidFill>
                </a:ln>
                <a:solidFill>
                  <a:srgbClr val="68217A"/>
                </a:solidFill>
                <a:latin typeface="Segoe UI Light"/>
                <a:ea typeface="Segoe UI" pitchFamily="34" charset="0"/>
                <a:cs typeface="Segoe UI" pitchFamily="34" charset="0"/>
              </a:defRPr>
            </a:lvl2pPr>
            <a:lvl3pPr marL="640080" lvl="2" indent="-448193">
              <a:spcAft>
                <a:spcPts val="600"/>
              </a:spcAft>
              <a:buBlip>
                <a:blip r:embed="rId2"/>
              </a:buBlip>
              <a:defRPr>
                <a:gradFill>
                  <a:gsLst>
                    <a:gs pos="85321">
                      <a:srgbClr val="505050"/>
                    </a:gs>
                    <a:gs pos="57000">
                      <a:srgbClr val="505050"/>
                    </a:gs>
                  </a:gsLst>
                </a:gradFill>
              </a:defRPr>
            </a:lvl3pPr>
            <a:lvl4pPr marL="1097280" lvl="3" indent="-448193">
              <a:spcAft>
                <a:spcPts val="600"/>
              </a:spcAft>
              <a:buBlip>
                <a:blip r:embed="rId2"/>
              </a:buBlip>
              <a:defRPr sz="1600">
                <a:gradFill>
                  <a:gsLst>
                    <a:gs pos="85321">
                      <a:srgbClr val="505050"/>
                    </a:gs>
                    <a:gs pos="57000">
                      <a:srgbClr val="505050"/>
                    </a:gs>
                  </a:gsLst>
                </a:gradFill>
              </a:defRPr>
            </a:lvl4pPr>
          </a:lstStyle>
          <a:p>
            <a:pPr marL="191887" lvl="2" indent="0">
              <a:buNone/>
            </a:pPr>
            <a:r>
              <a:rPr lang="en-US" dirty="0"/>
              <a:t>S</a:t>
            </a:r>
            <a:r>
              <a:rPr lang="en-US" dirty="0" smtClean="0"/>
              <a:t>upported languages (Kernels)</a:t>
            </a:r>
            <a:endParaRPr lang="en-US" dirty="0"/>
          </a:p>
          <a:p>
            <a:endParaRPr lang="en-US" dirty="0"/>
          </a:p>
        </p:txBody>
      </p:sp>
    </p:spTree>
    <p:extLst>
      <p:ext uri="{BB962C8B-B14F-4D97-AF65-F5344CB8AC3E}">
        <p14:creationId xmlns:p14="http://schemas.microsoft.com/office/powerpoint/2010/main" val="4017712991"/>
      </p:ext>
    </p:extLst>
  </p:cSld>
  <p:clrMapOvr>
    <a:masterClrMapping/>
  </p:clrMapOvr>
  <p:transition spd="med">
    <p:fade/>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bwMode="auto">
          <a:xfrm>
            <a:off x="1" y="973"/>
            <a:ext cx="5220356" cy="6857027"/>
          </a:xfrm>
          <a:prstGeom prst="rect">
            <a:avLst/>
          </a:prstGeom>
          <a:solidFill>
            <a:srgbClr val="68217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8927" tIns="143428"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endParaRPr lang="en-US" sz="5294" dirty="0">
              <a:solidFill>
                <a:srgbClr val="FFFFFF"/>
              </a:solidFill>
              <a:latin typeface="Segoe UI Light"/>
              <a:ea typeface="Segoe UI" pitchFamily="34" charset="0"/>
              <a:cs typeface="Segoe UI" pitchFamily="34" charset="0"/>
            </a:endParaRPr>
          </a:p>
          <a:p>
            <a:pPr defTabSz="914102" fontAlgn="base">
              <a:lnSpc>
                <a:spcPct val="90000"/>
              </a:lnSpc>
              <a:spcBef>
                <a:spcPct val="0"/>
              </a:spcBef>
              <a:spcAft>
                <a:spcPct val="0"/>
              </a:spcAft>
            </a:pPr>
            <a:endParaRPr lang="en-US" sz="5294" dirty="0">
              <a:solidFill>
                <a:srgbClr val="FFFFFF"/>
              </a:solidFill>
              <a:latin typeface="Segoe UI Light"/>
              <a:ea typeface="Segoe UI" pitchFamily="34" charset="0"/>
              <a:cs typeface="Segoe UI" pitchFamily="34" charset="0"/>
            </a:endParaRPr>
          </a:p>
        </p:txBody>
      </p:sp>
      <p:sp>
        <p:nvSpPr>
          <p:cNvPr id="5" name="Rectangle 4"/>
          <p:cNvSpPr/>
          <p:nvPr/>
        </p:nvSpPr>
        <p:spPr bwMode="auto">
          <a:xfrm>
            <a:off x="1" y="6319659"/>
            <a:ext cx="5220356" cy="537855"/>
          </a:xfrm>
          <a:prstGeom prst="rect">
            <a:avLst/>
          </a:prstGeom>
          <a:solidFill>
            <a:schemeClr val="accent3">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endParaRPr lang="en-US" sz="2353" kern="0" dirty="0">
              <a:ln>
                <a:solidFill>
                  <a:srgbClr val="FFFFFF">
                    <a:alpha val="0"/>
                  </a:srgbClr>
                </a:solidFill>
              </a:ln>
              <a:solidFill>
                <a:srgbClr val="FFFFFF"/>
              </a:solidFill>
              <a:latin typeface="Segoe UI Semibold" panose="020B0702040204020203" pitchFamily="34" charset="0"/>
              <a:ea typeface="MS PGothic" charset="0"/>
              <a:cs typeface="Segoe UI Semibold" panose="020B0702040204020203" pitchFamily="34" charset="0"/>
            </a:endParaRPr>
          </a:p>
        </p:txBody>
      </p:sp>
      <p:sp>
        <p:nvSpPr>
          <p:cNvPr id="6" name="Freeform 5"/>
          <p:cNvSpPr>
            <a:spLocks/>
          </p:cNvSpPr>
          <p:nvPr/>
        </p:nvSpPr>
        <p:spPr bwMode="auto">
          <a:xfrm flipH="1">
            <a:off x="2619107" y="4183803"/>
            <a:ext cx="2601249" cy="2135857"/>
          </a:xfrm>
          <a:custGeom>
            <a:avLst/>
            <a:gdLst>
              <a:gd name="connsiteX0" fmla="*/ 603413 w 1090712"/>
              <a:gd name="connsiteY0" fmla="*/ 721327 h 895572"/>
              <a:gd name="connsiteX1" fmla="*/ 578466 w 1090712"/>
              <a:gd name="connsiteY1" fmla="*/ 770746 h 895572"/>
              <a:gd name="connsiteX2" fmla="*/ 553519 w 1090712"/>
              <a:gd name="connsiteY2" fmla="*/ 818264 h 895572"/>
              <a:gd name="connsiteX3" fmla="*/ 528334 w 1090712"/>
              <a:gd name="connsiteY3" fmla="*/ 865069 h 895572"/>
              <a:gd name="connsiteX4" fmla="*/ 511825 w 1090712"/>
              <a:gd name="connsiteY4" fmla="*/ 895572 h 895572"/>
              <a:gd name="connsiteX5" fmla="*/ 624528 w 1090712"/>
              <a:gd name="connsiteY5" fmla="*/ 895572 h 895572"/>
              <a:gd name="connsiteX6" fmla="*/ 624796 w 1090712"/>
              <a:gd name="connsiteY6" fmla="*/ 894768 h 895572"/>
              <a:gd name="connsiteX7" fmla="*/ 625271 w 1090712"/>
              <a:gd name="connsiteY7" fmla="*/ 891679 h 895572"/>
              <a:gd name="connsiteX8" fmla="*/ 625747 w 1090712"/>
              <a:gd name="connsiteY8" fmla="*/ 889066 h 895572"/>
              <a:gd name="connsiteX9" fmla="*/ 625747 w 1090712"/>
              <a:gd name="connsiteY9" fmla="*/ 860555 h 895572"/>
              <a:gd name="connsiteX10" fmla="*/ 624796 w 1090712"/>
              <a:gd name="connsiteY10" fmla="*/ 833945 h 895572"/>
              <a:gd name="connsiteX11" fmla="*/ 624321 w 1090712"/>
              <a:gd name="connsiteY11" fmla="*/ 820877 h 895572"/>
              <a:gd name="connsiteX12" fmla="*/ 623608 w 1090712"/>
              <a:gd name="connsiteY12" fmla="*/ 808047 h 895572"/>
              <a:gd name="connsiteX13" fmla="*/ 621708 w 1090712"/>
              <a:gd name="connsiteY13" fmla="*/ 795218 h 895572"/>
              <a:gd name="connsiteX14" fmla="*/ 620044 w 1090712"/>
              <a:gd name="connsiteY14" fmla="*/ 782625 h 895572"/>
              <a:gd name="connsiteX15" fmla="*/ 616005 w 1090712"/>
              <a:gd name="connsiteY15" fmla="*/ 766707 h 895572"/>
              <a:gd name="connsiteX16" fmla="*/ 611966 w 1090712"/>
              <a:gd name="connsiteY16" fmla="*/ 751976 h 895572"/>
              <a:gd name="connsiteX17" fmla="*/ 607452 w 1090712"/>
              <a:gd name="connsiteY17" fmla="*/ 737245 h 895572"/>
              <a:gd name="connsiteX18" fmla="*/ 698212 w 1090712"/>
              <a:gd name="connsiteY18" fmla="*/ 530778 h 895572"/>
              <a:gd name="connsiteX19" fmla="*/ 693460 w 1090712"/>
              <a:gd name="connsiteY19" fmla="*/ 534818 h 895572"/>
              <a:gd name="connsiteX20" fmla="*/ 688471 w 1090712"/>
              <a:gd name="connsiteY20" fmla="*/ 538857 h 895572"/>
              <a:gd name="connsiteX21" fmla="*/ 678254 w 1090712"/>
              <a:gd name="connsiteY21" fmla="*/ 546935 h 895572"/>
              <a:gd name="connsiteX22" fmla="*/ 669226 w 1090712"/>
              <a:gd name="connsiteY22" fmla="*/ 553587 h 895572"/>
              <a:gd name="connsiteX23" fmla="*/ 663048 w 1090712"/>
              <a:gd name="connsiteY23" fmla="*/ 558814 h 895572"/>
              <a:gd name="connsiteX24" fmla="*/ 663048 w 1090712"/>
              <a:gd name="connsiteY24" fmla="*/ 556676 h 895572"/>
              <a:gd name="connsiteX25" fmla="*/ 663523 w 1090712"/>
              <a:gd name="connsiteY25" fmla="*/ 554538 h 895572"/>
              <a:gd name="connsiteX26" fmla="*/ 665424 w 1090712"/>
              <a:gd name="connsiteY26" fmla="*/ 550498 h 895572"/>
              <a:gd name="connsiteX27" fmla="*/ 668038 w 1090712"/>
              <a:gd name="connsiteY27" fmla="*/ 546459 h 895572"/>
              <a:gd name="connsiteX28" fmla="*/ 671602 w 1090712"/>
              <a:gd name="connsiteY28" fmla="*/ 542420 h 895572"/>
              <a:gd name="connsiteX29" fmla="*/ 676829 w 1090712"/>
              <a:gd name="connsiteY29" fmla="*/ 538857 h 895572"/>
              <a:gd name="connsiteX30" fmla="*/ 682768 w 1090712"/>
              <a:gd name="connsiteY30" fmla="*/ 535768 h 895572"/>
              <a:gd name="connsiteX31" fmla="*/ 689896 w 1090712"/>
              <a:gd name="connsiteY31" fmla="*/ 533154 h 895572"/>
              <a:gd name="connsiteX32" fmla="*/ 654257 w 1090712"/>
              <a:gd name="connsiteY32" fmla="*/ 302216 h 895572"/>
              <a:gd name="connsiteX33" fmla="*/ 651882 w 1090712"/>
              <a:gd name="connsiteY33" fmla="*/ 302691 h 895572"/>
              <a:gd name="connsiteX34" fmla="*/ 649268 w 1090712"/>
              <a:gd name="connsiteY34" fmla="*/ 303166 h 895572"/>
              <a:gd name="connsiteX35" fmla="*/ 647130 w 1090712"/>
              <a:gd name="connsiteY35" fmla="*/ 304354 h 895572"/>
              <a:gd name="connsiteX36" fmla="*/ 644516 w 1090712"/>
              <a:gd name="connsiteY36" fmla="*/ 306255 h 895572"/>
              <a:gd name="connsiteX37" fmla="*/ 642140 w 1090712"/>
              <a:gd name="connsiteY37" fmla="*/ 307918 h 895572"/>
              <a:gd name="connsiteX38" fmla="*/ 640002 w 1090712"/>
              <a:gd name="connsiteY38" fmla="*/ 310294 h 895572"/>
              <a:gd name="connsiteX39" fmla="*/ 638101 w 1090712"/>
              <a:gd name="connsiteY39" fmla="*/ 312432 h 895572"/>
              <a:gd name="connsiteX40" fmla="*/ 636913 w 1090712"/>
              <a:gd name="connsiteY40" fmla="*/ 314571 h 895572"/>
              <a:gd name="connsiteX41" fmla="*/ 635963 w 1090712"/>
              <a:gd name="connsiteY41" fmla="*/ 316946 h 895572"/>
              <a:gd name="connsiteX42" fmla="*/ 635963 w 1090712"/>
              <a:gd name="connsiteY42" fmla="*/ 319085 h 895572"/>
              <a:gd name="connsiteX43" fmla="*/ 636913 w 1090712"/>
              <a:gd name="connsiteY43" fmla="*/ 321223 h 895572"/>
              <a:gd name="connsiteX44" fmla="*/ 637626 w 1090712"/>
              <a:gd name="connsiteY44" fmla="*/ 324074 h 895572"/>
              <a:gd name="connsiteX45" fmla="*/ 639527 w 1090712"/>
              <a:gd name="connsiteY45" fmla="*/ 326688 h 895572"/>
              <a:gd name="connsiteX46" fmla="*/ 643091 w 1090712"/>
              <a:gd name="connsiteY46" fmla="*/ 331677 h 895572"/>
              <a:gd name="connsiteX47" fmla="*/ 647130 w 1090712"/>
              <a:gd name="connsiteY47" fmla="*/ 335954 h 895572"/>
              <a:gd name="connsiteX48" fmla="*/ 655920 w 1090712"/>
              <a:gd name="connsiteY48" fmla="*/ 330727 h 895572"/>
              <a:gd name="connsiteX49" fmla="*/ 663999 w 1090712"/>
              <a:gd name="connsiteY49" fmla="*/ 324787 h 895572"/>
              <a:gd name="connsiteX50" fmla="*/ 679917 w 1090712"/>
              <a:gd name="connsiteY50" fmla="*/ 313383 h 895572"/>
              <a:gd name="connsiteX51" fmla="*/ 676354 w 1090712"/>
              <a:gd name="connsiteY51" fmla="*/ 311007 h 895572"/>
              <a:gd name="connsiteX52" fmla="*/ 672790 w 1090712"/>
              <a:gd name="connsiteY52" fmla="*/ 308393 h 895572"/>
              <a:gd name="connsiteX53" fmla="*/ 668988 w 1090712"/>
              <a:gd name="connsiteY53" fmla="*/ 306730 h 895572"/>
              <a:gd name="connsiteX54" fmla="*/ 664949 w 1090712"/>
              <a:gd name="connsiteY54" fmla="*/ 304829 h 895572"/>
              <a:gd name="connsiteX55" fmla="*/ 660910 w 1090712"/>
              <a:gd name="connsiteY55" fmla="*/ 303641 h 895572"/>
              <a:gd name="connsiteX56" fmla="*/ 657346 w 1090712"/>
              <a:gd name="connsiteY56" fmla="*/ 302691 h 895572"/>
              <a:gd name="connsiteX57" fmla="*/ 696549 w 1090712"/>
              <a:gd name="connsiteY57" fmla="*/ 252322 h 895572"/>
              <a:gd name="connsiteX58" fmla="*/ 696786 w 1090712"/>
              <a:gd name="connsiteY58" fmla="*/ 259925 h 895572"/>
              <a:gd name="connsiteX59" fmla="*/ 698212 w 1090712"/>
              <a:gd name="connsiteY59" fmla="*/ 266102 h 895572"/>
              <a:gd name="connsiteX60" fmla="*/ 700113 w 1090712"/>
              <a:gd name="connsiteY60" fmla="*/ 272042 h 895572"/>
              <a:gd name="connsiteX61" fmla="*/ 701776 w 1090712"/>
              <a:gd name="connsiteY61" fmla="*/ 276794 h 895572"/>
              <a:gd name="connsiteX62" fmla="*/ 704389 w 1090712"/>
              <a:gd name="connsiteY62" fmla="*/ 280833 h 895572"/>
              <a:gd name="connsiteX63" fmla="*/ 707240 w 1090712"/>
              <a:gd name="connsiteY63" fmla="*/ 284397 h 895572"/>
              <a:gd name="connsiteX64" fmla="*/ 710329 w 1090712"/>
              <a:gd name="connsiteY64" fmla="*/ 287010 h 895572"/>
              <a:gd name="connsiteX65" fmla="*/ 713418 w 1090712"/>
              <a:gd name="connsiteY65" fmla="*/ 289624 h 895572"/>
              <a:gd name="connsiteX66" fmla="*/ 716506 w 1090712"/>
              <a:gd name="connsiteY66" fmla="*/ 291524 h 895572"/>
              <a:gd name="connsiteX67" fmla="*/ 719595 w 1090712"/>
              <a:gd name="connsiteY67" fmla="*/ 293187 h 895572"/>
              <a:gd name="connsiteX68" fmla="*/ 725772 w 1090712"/>
              <a:gd name="connsiteY68" fmla="*/ 295088 h 895572"/>
              <a:gd name="connsiteX69" fmla="*/ 731237 w 1090712"/>
              <a:gd name="connsiteY69" fmla="*/ 296514 h 895572"/>
              <a:gd name="connsiteX70" fmla="*/ 734801 w 1090712"/>
              <a:gd name="connsiteY70" fmla="*/ 296751 h 895572"/>
              <a:gd name="connsiteX71" fmla="*/ 722209 w 1090712"/>
              <a:gd name="connsiteY71" fmla="*/ 303879 h 895572"/>
              <a:gd name="connsiteX72" fmla="*/ 710804 w 1090712"/>
              <a:gd name="connsiteY72" fmla="*/ 311007 h 895572"/>
              <a:gd name="connsiteX73" fmla="*/ 688471 w 1090712"/>
              <a:gd name="connsiteY73" fmla="*/ 324787 h 895572"/>
              <a:gd name="connsiteX74" fmla="*/ 667563 w 1090712"/>
              <a:gd name="connsiteY74" fmla="*/ 339043 h 895572"/>
              <a:gd name="connsiteX75" fmla="*/ 646179 w 1090712"/>
              <a:gd name="connsiteY75" fmla="*/ 352823 h 895572"/>
              <a:gd name="connsiteX76" fmla="*/ 620044 w 1090712"/>
              <a:gd name="connsiteY76" fmla="*/ 313383 h 895572"/>
              <a:gd name="connsiteX77" fmla="*/ 617668 w 1090712"/>
              <a:gd name="connsiteY77" fmla="*/ 312432 h 895572"/>
              <a:gd name="connsiteX78" fmla="*/ 615055 w 1090712"/>
              <a:gd name="connsiteY78" fmla="*/ 312432 h 895572"/>
              <a:gd name="connsiteX79" fmla="*/ 612441 w 1090712"/>
              <a:gd name="connsiteY79" fmla="*/ 313383 h 895572"/>
              <a:gd name="connsiteX80" fmla="*/ 609353 w 1090712"/>
              <a:gd name="connsiteY80" fmla="*/ 314095 h 895572"/>
              <a:gd name="connsiteX81" fmla="*/ 602938 w 1090712"/>
              <a:gd name="connsiteY81" fmla="*/ 316946 h 895572"/>
              <a:gd name="connsiteX82" fmla="*/ 599849 w 1090712"/>
              <a:gd name="connsiteY82" fmla="*/ 317659 h 895572"/>
              <a:gd name="connsiteX83" fmla="*/ 596760 w 1090712"/>
              <a:gd name="connsiteY83" fmla="*/ 318610 h 895572"/>
              <a:gd name="connsiteX84" fmla="*/ 607927 w 1090712"/>
              <a:gd name="connsiteY84" fmla="*/ 307205 h 895572"/>
              <a:gd name="connsiteX85" fmla="*/ 618619 w 1090712"/>
              <a:gd name="connsiteY85" fmla="*/ 295088 h 895572"/>
              <a:gd name="connsiteX86" fmla="*/ 623846 w 1090712"/>
              <a:gd name="connsiteY86" fmla="*/ 289386 h 895572"/>
              <a:gd name="connsiteX87" fmla="*/ 629786 w 1090712"/>
              <a:gd name="connsiteY87" fmla="*/ 283921 h 895572"/>
              <a:gd name="connsiteX88" fmla="*/ 635963 w 1090712"/>
              <a:gd name="connsiteY88" fmla="*/ 278694 h 895572"/>
              <a:gd name="connsiteX89" fmla="*/ 642140 w 1090712"/>
              <a:gd name="connsiteY89" fmla="*/ 273705 h 895572"/>
              <a:gd name="connsiteX90" fmla="*/ 648793 w 1090712"/>
              <a:gd name="connsiteY90" fmla="*/ 269191 h 895572"/>
              <a:gd name="connsiteX91" fmla="*/ 655446 w 1090712"/>
              <a:gd name="connsiteY91" fmla="*/ 265627 h 895572"/>
              <a:gd name="connsiteX92" fmla="*/ 662098 w 1090712"/>
              <a:gd name="connsiteY92" fmla="*/ 263013 h 895572"/>
              <a:gd name="connsiteX93" fmla="*/ 668988 w 1090712"/>
              <a:gd name="connsiteY93" fmla="*/ 260400 h 895572"/>
              <a:gd name="connsiteX94" fmla="*/ 682768 w 1090712"/>
              <a:gd name="connsiteY94" fmla="*/ 256361 h 895572"/>
              <a:gd name="connsiteX95" fmla="*/ 1030602 w 1090712"/>
              <a:gd name="connsiteY95" fmla="*/ 200289 h 895572"/>
              <a:gd name="connsiteX96" fmla="*/ 1027513 w 1090712"/>
              <a:gd name="connsiteY96" fmla="*/ 207892 h 895572"/>
              <a:gd name="connsiteX97" fmla="*/ 1023949 w 1090712"/>
              <a:gd name="connsiteY97" fmla="*/ 214545 h 895572"/>
              <a:gd name="connsiteX98" fmla="*/ 1019910 w 1090712"/>
              <a:gd name="connsiteY98" fmla="*/ 221197 h 895572"/>
              <a:gd name="connsiteX99" fmla="*/ 1015396 w 1090712"/>
              <a:gd name="connsiteY99" fmla="*/ 226899 h 895572"/>
              <a:gd name="connsiteX100" fmla="*/ 1011119 w 1090712"/>
              <a:gd name="connsiteY100" fmla="*/ 232839 h 895572"/>
              <a:gd name="connsiteX101" fmla="*/ 1006130 w 1090712"/>
              <a:gd name="connsiteY101" fmla="*/ 237591 h 895572"/>
              <a:gd name="connsiteX102" fmla="*/ 1001140 w 1090712"/>
              <a:gd name="connsiteY102" fmla="*/ 242105 h 895572"/>
              <a:gd name="connsiteX103" fmla="*/ 996388 w 1090712"/>
              <a:gd name="connsiteY103" fmla="*/ 246144 h 895572"/>
              <a:gd name="connsiteX104" fmla="*/ 990924 w 1090712"/>
              <a:gd name="connsiteY104" fmla="*/ 249708 h 895572"/>
              <a:gd name="connsiteX105" fmla="*/ 985697 w 1090712"/>
              <a:gd name="connsiteY105" fmla="*/ 252797 h 895572"/>
              <a:gd name="connsiteX106" fmla="*/ 980232 w 1090712"/>
              <a:gd name="connsiteY106" fmla="*/ 254935 h 895572"/>
              <a:gd name="connsiteX107" fmla="*/ 975005 w 1090712"/>
              <a:gd name="connsiteY107" fmla="*/ 256836 h 895572"/>
              <a:gd name="connsiteX108" fmla="*/ 969541 w 1090712"/>
              <a:gd name="connsiteY108" fmla="*/ 258262 h 895572"/>
              <a:gd name="connsiteX109" fmla="*/ 963839 w 1090712"/>
              <a:gd name="connsiteY109" fmla="*/ 258499 h 895572"/>
              <a:gd name="connsiteX110" fmla="*/ 958612 w 1090712"/>
              <a:gd name="connsiteY110" fmla="*/ 258499 h 895572"/>
              <a:gd name="connsiteX111" fmla="*/ 953622 w 1090712"/>
              <a:gd name="connsiteY111" fmla="*/ 257786 h 895572"/>
              <a:gd name="connsiteX112" fmla="*/ 970966 w 1090712"/>
              <a:gd name="connsiteY112" fmla="*/ 244006 h 895572"/>
              <a:gd name="connsiteX113" fmla="*/ 990211 w 1090712"/>
              <a:gd name="connsiteY113" fmla="*/ 229275 h 895572"/>
              <a:gd name="connsiteX114" fmla="*/ 1010169 w 1090712"/>
              <a:gd name="connsiteY114" fmla="*/ 214069 h 895572"/>
              <a:gd name="connsiteX115" fmla="*/ 1020385 w 1090712"/>
              <a:gd name="connsiteY115" fmla="*/ 206942 h 895572"/>
              <a:gd name="connsiteX116" fmla="*/ 389581 w 1090712"/>
              <a:gd name="connsiteY116" fmla="*/ 176768 h 895572"/>
              <a:gd name="connsiteX117" fmla="*/ 397422 w 1090712"/>
              <a:gd name="connsiteY117" fmla="*/ 177243 h 895572"/>
              <a:gd name="connsiteX118" fmla="*/ 414766 w 1090712"/>
              <a:gd name="connsiteY118" fmla="*/ 178906 h 895572"/>
              <a:gd name="connsiteX119" fmla="*/ 405500 w 1090712"/>
              <a:gd name="connsiteY119" fmla="*/ 179856 h 895572"/>
              <a:gd name="connsiteX120" fmla="*/ 396946 w 1090712"/>
              <a:gd name="connsiteY120" fmla="*/ 181995 h 895572"/>
              <a:gd name="connsiteX121" fmla="*/ 389581 w 1090712"/>
              <a:gd name="connsiteY121" fmla="*/ 184371 h 895572"/>
              <a:gd name="connsiteX122" fmla="*/ 381978 w 1090712"/>
              <a:gd name="connsiteY122" fmla="*/ 186984 h 895572"/>
              <a:gd name="connsiteX123" fmla="*/ 375326 w 1090712"/>
              <a:gd name="connsiteY123" fmla="*/ 190548 h 895572"/>
              <a:gd name="connsiteX124" fmla="*/ 368911 w 1090712"/>
              <a:gd name="connsiteY124" fmla="*/ 194112 h 895572"/>
              <a:gd name="connsiteX125" fmla="*/ 363208 w 1090712"/>
              <a:gd name="connsiteY125" fmla="*/ 198626 h 895572"/>
              <a:gd name="connsiteX126" fmla="*/ 357981 w 1090712"/>
              <a:gd name="connsiteY126" fmla="*/ 202903 h 895572"/>
              <a:gd name="connsiteX127" fmla="*/ 352517 w 1090712"/>
              <a:gd name="connsiteY127" fmla="*/ 208367 h 895572"/>
              <a:gd name="connsiteX128" fmla="*/ 348003 w 1090712"/>
              <a:gd name="connsiteY128" fmla="*/ 214070 h 895572"/>
              <a:gd name="connsiteX129" fmla="*/ 343726 w 1090712"/>
              <a:gd name="connsiteY129" fmla="*/ 220247 h 895572"/>
              <a:gd name="connsiteX130" fmla="*/ 339687 w 1090712"/>
              <a:gd name="connsiteY130" fmla="*/ 226662 h 895572"/>
              <a:gd name="connsiteX131" fmla="*/ 335648 w 1090712"/>
              <a:gd name="connsiteY131" fmla="*/ 233790 h 895572"/>
              <a:gd name="connsiteX132" fmla="*/ 332559 w 1090712"/>
              <a:gd name="connsiteY132" fmla="*/ 240917 h 895572"/>
              <a:gd name="connsiteX133" fmla="*/ 328995 w 1090712"/>
              <a:gd name="connsiteY133" fmla="*/ 248758 h 895572"/>
              <a:gd name="connsiteX134" fmla="*/ 325907 w 1090712"/>
              <a:gd name="connsiteY134" fmla="*/ 256836 h 895572"/>
              <a:gd name="connsiteX135" fmla="*/ 325432 w 1090712"/>
              <a:gd name="connsiteY135" fmla="*/ 252797 h 895572"/>
              <a:gd name="connsiteX136" fmla="*/ 324956 w 1090712"/>
              <a:gd name="connsiteY136" fmla="*/ 248283 h 895572"/>
              <a:gd name="connsiteX137" fmla="*/ 323056 w 1090712"/>
              <a:gd name="connsiteY137" fmla="*/ 239492 h 895572"/>
              <a:gd name="connsiteX138" fmla="*/ 320917 w 1090712"/>
              <a:gd name="connsiteY138" fmla="*/ 229275 h 895572"/>
              <a:gd name="connsiteX139" fmla="*/ 320442 w 1090712"/>
              <a:gd name="connsiteY139" fmla="*/ 223811 h 895572"/>
              <a:gd name="connsiteX140" fmla="*/ 319967 w 1090712"/>
              <a:gd name="connsiteY140" fmla="*/ 217633 h 895572"/>
              <a:gd name="connsiteX141" fmla="*/ 314740 w 1090712"/>
              <a:gd name="connsiteY141" fmla="*/ 217633 h 895572"/>
              <a:gd name="connsiteX142" fmla="*/ 302148 w 1090712"/>
              <a:gd name="connsiteY142" fmla="*/ 243056 h 895572"/>
              <a:gd name="connsiteX143" fmla="*/ 289793 w 1090712"/>
              <a:gd name="connsiteY143" fmla="*/ 267528 h 895572"/>
              <a:gd name="connsiteX144" fmla="*/ 277438 w 1090712"/>
              <a:gd name="connsiteY144" fmla="*/ 291049 h 895572"/>
              <a:gd name="connsiteX145" fmla="*/ 264371 w 1090712"/>
              <a:gd name="connsiteY145" fmla="*/ 312907 h 895572"/>
              <a:gd name="connsiteX146" fmla="*/ 267459 w 1090712"/>
              <a:gd name="connsiteY146" fmla="*/ 295088 h 895572"/>
              <a:gd name="connsiteX147" fmla="*/ 271023 w 1090712"/>
              <a:gd name="connsiteY147" fmla="*/ 279170 h 895572"/>
              <a:gd name="connsiteX148" fmla="*/ 274587 w 1090712"/>
              <a:gd name="connsiteY148" fmla="*/ 263964 h 895572"/>
              <a:gd name="connsiteX149" fmla="*/ 279101 w 1090712"/>
              <a:gd name="connsiteY149" fmla="*/ 250183 h 895572"/>
              <a:gd name="connsiteX150" fmla="*/ 284091 w 1090712"/>
              <a:gd name="connsiteY150" fmla="*/ 238066 h 895572"/>
              <a:gd name="connsiteX151" fmla="*/ 289318 w 1090712"/>
              <a:gd name="connsiteY151" fmla="*/ 226900 h 895572"/>
              <a:gd name="connsiteX152" fmla="*/ 292406 w 1090712"/>
              <a:gd name="connsiteY152" fmla="*/ 221673 h 895572"/>
              <a:gd name="connsiteX153" fmla="*/ 295495 w 1090712"/>
              <a:gd name="connsiteY153" fmla="*/ 217158 h 895572"/>
              <a:gd name="connsiteX154" fmla="*/ 298584 w 1090712"/>
              <a:gd name="connsiteY154" fmla="*/ 212406 h 895572"/>
              <a:gd name="connsiteX155" fmla="*/ 302148 w 1090712"/>
              <a:gd name="connsiteY155" fmla="*/ 208367 h 895572"/>
              <a:gd name="connsiteX156" fmla="*/ 305711 w 1090712"/>
              <a:gd name="connsiteY156" fmla="*/ 204328 h 895572"/>
              <a:gd name="connsiteX157" fmla="*/ 309275 w 1090712"/>
              <a:gd name="connsiteY157" fmla="*/ 200765 h 895572"/>
              <a:gd name="connsiteX158" fmla="*/ 313314 w 1090712"/>
              <a:gd name="connsiteY158" fmla="*/ 197201 h 895572"/>
              <a:gd name="connsiteX159" fmla="*/ 317354 w 1090712"/>
              <a:gd name="connsiteY159" fmla="*/ 194112 h 895572"/>
              <a:gd name="connsiteX160" fmla="*/ 321868 w 1090712"/>
              <a:gd name="connsiteY160" fmla="*/ 191498 h 895572"/>
              <a:gd name="connsiteX161" fmla="*/ 326382 w 1090712"/>
              <a:gd name="connsiteY161" fmla="*/ 188647 h 895572"/>
              <a:gd name="connsiteX162" fmla="*/ 330659 w 1090712"/>
              <a:gd name="connsiteY162" fmla="*/ 186509 h 895572"/>
              <a:gd name="connsiteX163" fmla="*/ 335648 w 1090712"/>
              <a:gd name="connsiteY163" fmla="*/ 184371 h 895572"/>
              <a:gd name="connsiteX164" fmla="*/ 340637 w 1090712"/>
              <a:gd name="connsiteY164" fmla="*/ 182470 h 895572"/>
              <a:gd name="connsiteX165" fmla="*/ 345864 w 1090712"/>
              <a:gd name="connsiteY165" fmla="*/ 181282 h 895572"/>
              <a:gd name="connsiteX166" fmla="*/ 351091 w 1090712"/>
              <a:gd name="connsiteY166" fmla="*/ 179856 h 895572"/>
              <a:gd name="connsiteX167" fmla="*/ 357031 w 1090712"/>
              <a:gd name="connsiteY167" fmla="*/ 178431 h 895572"/>
              <a:gd name="connsiteX168" fmla="*/ 368911 w 1090712"/>
              <a:gd name="connsiteY168" fmla="*/ 177243 h 895572"/>
              <a:gd name="connsiteX169" fmla="*/ 381978 w 1090712"/>
              <a:gd name="connsiteY169" fmla="*/ 176768 h 895572"/>
              <a:gd name="connsiteX170" fmla="*/ 609353 w 1090712"/>
              <a:gd name="connsiteY170" fmla="*/ 174629 h 895572"/>
              <a:gd name="connsiteX171" fmla="*/ 602463 w 1090712"/>
              <a:gd name="connsiteY171" fmla="*/ 180807 h 895572"/>
              <a:gd name="connsiteX172" fmla="*/ 596285 w 1090712"/>
              <a:gd name="connsiteY172" fmla="*/ 187459 h 895572"/>
              <a:gd name="connsiteX173" fmla="*/ 583931 w 1090712"/>
              <a:gd name="connsiteY173" fmla="*/ 201715 h 895572"/>
              <a:gd name="connsiteX174" fmla="*/ 571101 w 1090712"/>
              <a:gd name="connsiteY174" fmla="*/ 215495 h 895572"/>
              <a:gd name="connsiteX175" fmla="*/ 564686 w 1090712"/>
              <a:gd name="connsiteY175" fmla="*/ 222148 h 895572"/>
              <a:gd name="connsiteX176" fmla="*/ 558508 w 1090712"/>
              <a:gd name="connsiteY176" fmla="*/ 228325 h 895572"/>
              <a:gd name="connsiteX177" fmla="*/ 557558 w 1090712"/>
              <a:gd name="connsiteY177" fmla="*/ 223335 h 895572"/>
              <a:gd name="connsiteX178" fmla="*/ 557083 w 1090712"/>
              <a:gd name="connsiteY178" fmla="*/ 219059 h 895572"/>
              <a:gd name="connsiteX179" fmla="*/ 557083 w 1090712"/>
              <a:gd name="connsiteY179" fmla="*/ 215020 h 895572"/>
              <a:gd name="connsiteX180" fmla="*/ 557558 w 1090712"/>
              <a:gd name="connsiteY180" fmla="*/ 210981 h 895572"/>
              <a:gd name="connsiteX181" fmla="*/ 558508 w 1090712"/>
              <a:gd name="connsiteY181" fmla="*/ 207417 h 895572"/>
              <a:gd name="connsiteX182" fmla="*/ 560409 w 1090712"/>
              <a:gd name="connsiteY182" fmla="*/ 203853 h 895572"/>
              <a:gd name="connsiteX183" fmla="*/ 562072 w 1090712"/>
              <a:gd name="connsiteY183" fmla="*/ 200764 h 895572"/>
              <a:gd name="connsiteX184" fmla="*/ 564686 w 1090712"/>
              <a:gd name="connsiteY184" fmla="*/ 197676 h 895572"/>
              <a:gd name="connsiteX185" fmla="*/ 567774 w 1090712"/>
              <a:gd name="connsiteY185" fmla="*/ 194587 h 895572"/>
              <a:gd name="connsiteX186" fmla="*/ 571813 w 1090712"/>
              <a:gd name="connsiteY186" fmla="*/ 191973 h 895572"/>
              <a:gd name="connsiteX187" fmla="*/ 576328 w 1090712"/>
              <a:gd name="connsiteY187" fmla="*/ 188647 h 895572"/>
              <a:gd name="connsiteX188" fmla="*/ 581317 w 1090712"/>
              <a:gd name="connsiteY188" fmla="*/ 186034 h 895572"/>
              <a:gd name="connsiteX189" fmla="*/ 587019 w 1090712"/>
              <a:gd name="connsiteY189" fmla="*/ 183420 h 895572"/>
              <a:gd name="connsiteX190" fmla="*/ 593672 w 1090712"/>
              <a:gd name="connsiteY190" fmla="*/ 180332 h 895572"/>
              <a:gd name="connsiteX191" fmla="*/ 586544 w 1090712"/>
              <a:gd name="connsiteY191" fmla="*/ 0 h 895572"/>
              <a:gd name="connsiteX192" fmla="*/ 570150 w 1090712"/>
              <a:gd name="connsiteY192" fmla="*/ 2851 h 895572"/>
              <a:gd name="connsiteX193" fmla="*/ 553519 w 1090712"/>
              <a:gd name="connsiteY193" fmla="*/ 5940 h 895572"/>
              <a:gd name="connsiteX194" fmla="*/ 536650 w 1090712"/>
              <a:gd name="connsiteY194" fmla="*/ 10454 h 895572"/>
              <a:gd name="connsiteX195" fmla="*/ 520256 w 1090712"/>
              <a:gd name="connsiteY195" fmla="*/ 14731 h 895572"/>
              <a:gd name="connsiteX196" fmla="*/ 486993 w 1090712"/>
              <a:gd name="connsiteY196" fmla="*/ 24472 h 895572"/>
              <a:gd name="connsiteX197" fmla="*/ 469887 w 1090712"/>
              <a:gd name="connsiteY197" fmla="*/ 28986 h 895572"/>
              <a:gd name="connsiteX198" fmla="*/ 453493 w 1090712"/>
              <a:gd name="connsiteY198" fmla="*/ 33500 h 895572"/>
              <a:gd name="connsiteX199" fmla="*/ 438762 w 1090712"/>
              <a:gd name="connsiteY199" fmla="*/ 40153 h 895572"/>
              <a:gd name="connsiteX200" fmla="*/ 424507 w 1090712"/>
              <a:gd name="connsiteY200" fmla="*/ 47281 h 895572"/>
              <a:gd name="connsiteX201" fmla="*/ 417379 w 1090712"/>
              <a:gd name="connsiteY201" fmla="*/ 51320 h 895572"/>
              <a:gd name="connsiteX202" fmla="*/ 410727 w 1090712"/>
              <a:gd name="connsiteY202" fmla="*/ 55834 h 895572"/>
              <a:gd name="connsiteX203" fmla="*/ 403599 w 1090712"/>
              <a:gd name="connsiteY203" fmla="*/ 60111 h 895572"/>
              <a:gd name="connsiteX204" fmla="*/ 397422 w 1090712"/>
              <a:gd name="connsiteY204" fmla="*/ 65100 h 895572"/>
              <a:gd name="connsiteX205" fmla="*/ 390769 w 1090712"/>
              <a:gd name="connsiteY205" fmla="*/ 69852 h 895572"/>
              <a:gd name="connsiteX206" fmla="*/ 384592 w 1090712"/>
              <a:gd name="connsiteY206" fmla="*/ 75792 h 895572"/>
              <a:gd name="connsiteX207" fmla="*/ 378889 w 1090712"/>
              <a:gd name="connsiteY207" fmla="*/ 81494 h 895572"/>
              <a:gd name="connsiteX208" fmla="*/ 372950 w 1090712"/>
              <a:gd name="connsiteY208" fmla="*/ 87671 h 895572"/>
              <a:gd name="connsiteX209" fmla="*/ 367723 w 1090712"/>
              <a:gd name="connsiteY209" fmla="*/ 94324 h 895572"/>
              <a:gd name="connsiteX210" fmla="*/ 362733 w 1090712"/>
              <a:gd name="connsiteY210" fmla="*/ 101452 h 895572"/>
              <a:gd name="connsiteX211" fmla="*/ 357981 w 1090712"/>
              <a:gd name="connsiteY211" fmla="*/ 109055 h 895572"/>
              <a:gd name="connsiteX212" fmla="*/ 353467 w 1090712"/>
              <a:gd name="connsiteY212" fmla="*/ 117608 h 895572"/>
              <a:gd name="connsiteX213" fmla="*/ 409064 w 1090712"/>
              <a:gd name="connsiteY213" fmla="*/ 117608 h 895572"/>
              <a:gd name="connsiteX214" fmla="*/ 406925 w 1090712"/>
              <a:gd name="connsiteY214" fmla="*/ 119271 h 895572"/>
              <a:gd name="connsiteX215" fmla="*/ 404074 w 1090712"/>
              <a:gd name="connsiteY215" fmla="*/ 121647 h 895572"/>
              <a:gd name="connsiteX216" fmla="*/ 400510 w 1090712"/>
              <a:gd name="connsiteY216" fmla="*/ 123310 h 895572"/>
              <a:gd name="connsiteX217" fmla="*/ 397422 w 1090712"/>
              <a:gd name="connsiteY217" fmla="*/ 125211 h 895572"/>
              <a:gd name="connsiteX218" fmla="*/ 393383 w 1090712"/>
              <a:gd name="connsiteY218" fmla="*/ 126399 h 895572"/>
              <a:gd name="connsiteX219" fmla="*/ 389581 w 1090712"/>
              <a:gd name="connsiteY219" fmla="*/ 127824 h 895572"/>
              <a:gd name="connsiteX220" fmla="*/ 385542 w 1090712"/>
              <a:gd name="connsiteY220" fmla="*/ 128299 h 895572"/>
              <a:gd name="connsiteX221" fmla="*/ 381503 w 1090712"/>
              <a:gd name="connsiteY221" fmla="*/ 128774 h 895572"/>
              <a:gd name="connsiteX222" fmla="*/ 375326 w 1090712"/>
              <a:gd name="connsiteY222" fmla="*/ 130438 h 895572"/>
              <a:gd name="connsiteX223" fmla="*/ 368435 w 1090712"/>
              <a:gd name="connsiteY223" fmla="*/ 131863 h 895572"/>
              <a:gd name="connsiteX224" fmla="*/ 361783 w 1090712"/>
              <a:gd name="connsiteY224" fmla="*/ 133051 h 895572"/>
              <a:gd name="connsiteX225" fmla="*/ 355606 w 1090712"/>
              <a:gd name="connsiteY225" fmla="*/ 134001 h 895572"/>
              <a:gd name="connsiteX226" fmla="*/ 342300 w 1090712"/>
              <a:gd name="connsiteY226" fmla="*/ 135427 h 895572"/>
              <a:gd name="connsiteX227" fmla="*/ 329471 w 1090712"/>
              <a:gd name="connsiteY227" fmla="*/ 137090 h 895572"/>
              <a:gd name="connsiteX228" fmla="*/ 322818 w 1090712"/>
              <a:gd name="connsiteY228" fmla="*/ 138040 h 895572"/>
              <a:gd name="connsiteX229" fmla="*/ 316403 w 1090712"/>
              <a:gd name="connsiteY229" fmla="*/ 139704 h 895572"/>
              <a:gd name="connsiteX230" fmla="*/ 310226 w 1090712"/>
              <a:gd name="connsiteY230" fmla="*/ 141604 h 895572"/>
              <a:gd name="connsiteX231" fmla="*/ 304048 w 1090712"/>
              <a:gd name="connsiteY231" fmla="*/ 144218 h 895572"/>
              <a:gd name="connsiteX232" fmla="*/ 298346 w 1090712"/>
              <a:gd name="connsiteY232" fmla="*/ 147307 h 895572"/>
              <a:gd name="connsiteX233" fmla="*/ 292406 w 1090712"/>
              <a:gd name="connsiteY233" fmla="*/ 151346 h 895572"/>
              <a:gd name="connsiteX234" fmla="*/ 286704 w 1090712"/>
              <a:gd name="connsiteY234" fmla="*/ 156335 h 895572"/>
              <a:gd name="connsiteX235" fmla="*/ 281240 w 1090712"/>
              <a:gd name="connsiteY235" fmla="*/ 162037 h 895572"/>
              <a:gd name="connsiteX236" fmla="*/ 262232 w 1090712"/>
              <a:gd name="connsiteY236" fmla="*/ 182945 h 895572"/>
              <a:gd name="connsiteX237" fmla="*/ 242987 w 1090712"/>
              <a:gd name="connsiteY237" fmla="*/ 203378 h 895572"/>
              <a:gd name="connsiteX238" fmla="*/ 203547 w 1090712"/>
              <a:gd name="connsiteY238" fmla="*/ 244006 h 895572"/>
              <a:gd name="connsiteX239" fmla="*/ 183827 w 1090712"/>
              <a:gd name="connsiteY239" fmla="*/ 264439 h 895572"/>
              <a:gd name="connsiteX240" fmla="*/ 164345 w 1090712"/>
              <a:gd name="connsiteY240" fmla="*/ 285822 h 895572"/>
              <a:gd name="connsiteX241" fmla="*/ 144862 w 1090712"/>
              <a:gd name="connsiteY241" fmla="*/ 307443 h 895572"/>
              <a:gd name="connsiteX242" fmla="*/ 126093 w 1090712"/>
              <a:gd name="connsiteY242" fmla="*/ 329777 h 895572"/>
              <a:gd name="connsiteX243" fmla="*/ 122054 w 1090712"/>
              <a:gd name="connsiteY243" fmla="*/ 335004 h 895572"/>
              <a:gd name="connsiteX244" fmla="*/ 118015 w 1090712"/>
              <a:gd name="connsiteY244" fmla="*/ 340468 h 895572"/>
              <a:gd name="connsiteX245" fmla="*/ 110887 w 1090712"/>
              <a:gd name="connsiteY245" fmla="*/ 352110 h 895572"/>
              <a:gd name="connsiteX246" fmla="*/ 104709 w 1090712"/>
              <a:gd name="connsiteY246" fmla="*/ 363514 h 895572"/>
              <a:gd name="connsiteX247" fmla="*/ 99007 w 1090712"/>
              <a:gd name="connsiteY247" fmla="*/ 375156 h 895572"/>
              <a:gd name="connsiteX248" fmla="*/ 87840 w 1090712"/>
              <a:gd name="connsiteY248" fmla="*/ 400103 h 895572"/>
              <a:gd name="connsiteX249" fmla="*/ 82138 w 1090712"/>
              <a:gd name="connsiteY249" fmla="*/ 412458 h 895572"/>
              <a:gd name="connsiteX250" fmla="*/ 75723 w 1090712"/>
              <a:gd name="connsiteY250" fmla="*/ 425050 h 895572"/>
              <a:gd name="connsiteX251" fmla="*/ 75723 w 1090712"/>
              <a:gd name="connsiteY251" fmla="*/ 429802 h 895572"/>
              <a:gd name="connsiteX252" fmla="*/ 76674 w 1090712"/>
              <a:gd name="connsiteY252" fmla="*/ 436217 h 895572"/>
              <a:gd name="connsiteX253" fmla="*/ 77149 w 1090712"/>
              <a:gd name="connsiteY253" fmla="*/ 439306 h 895572"/>
              <a:gd name="connsiteX254" fmla="*/ 78574 w 1090712"/>
              <a:gd name="connsiteY254" fmla="*/ 442395 h 895572"/>
              <a:gd name="connsiteX255" fmla="*/ 79762 w 1090712"/>
              <a:gd name="connsiteY255" fmla="*/ 445008 h 895572"/>
              <a:gd name="connsiteX256" fmla="*/ 81663 w 1090712"/>
              <a:gd name="connsiteY256" fmla="*/ 447147 h 895572"/>
              <a:gd name="connsiteX257" fmla="*/ 94018 w 1090712"/>
              <a:gd name="connsiteY257" fmla="*/ 468055 h 895572"/>
              <a:gd name="connsiteX258" fmla="*/ 106848 w 1090712"/>
              <a:gd name="connsiteY258" fmla="*/ 488963 h 895572"/>
              <a:gd name="connsiteX259" fmla="*/ 113975 w 1090712"/>
              <a:gd name="connsiteY259" fmla="*/ 499654 h 895572"/>
              <a:gd name="connsiteX260" fmla="*/ 121103 w 1090712"/>
              <a:gd name="connsiteY260" fmla="*/ 510346 h 895572"/>
              <a:gd name="connsiteX261" fmla="*/ 128706 w 1090712"/>
              <a:gd name="connsiteY261" fmla="*/ 520562 h 895572"/>
              <a:gd name="connsiteX262" fmla="*/ 137259 w 1090712"/>
              <a:gd name="connsiteY262" fmla="*/ 531254 h 895572"/>
              <a:gd name="connsiteX263" fmla="*/ 149614 w 1090712"/>
              <a:gd name="connsiteY263" fmla="*/ 514385 h 895572"/>
              <a:gd name="connsiteX264" fmla="*/ 162206 w 1090712"/>
              <a:gd name="connsiteY264" fmla="*/ 498466 h 895572"/>
              <a:gd name="connsiteX265" fmla="*/ 174561 w 1090712"/>
              <a:gd name="connsiteY265" fmla="*/ 483260 h 895572"/>
              <a:gd name="connsiteX266" fmla="*/ 180739 w 1090712"/>
              <a:gd name="connsiteY266" fmla="*/ 476133 h 895572"/>
              <a:gd name="connsiteX267" fmla="*/ 186916 w 1090712"/>
              <a:gd name="connsiteY267" fmla="*/ 469480 h 895572"/>
              <a:gd name="connsiteX268" fmla="*/ 182639 w 1090712"/>
              <a:gd name="connsiteY268" fmla="*/ 482310 h 895572"/>
              <a:gd name="connsiteX269" fmla="*/ 178125 w 1090712"/>
              <a:gd name="connsiteY269" fmla="*/ 495615 h 895572"/>
              <a:gd name="connsiteX270" fmla="*/ 172423 w 1090712"/>
              <a:gd name="connsiteY270" fmla="*/ 509871 h 895572"/>
              <a:gd name="connsiteX271" fmla="*/ 164820 w 1090712"/>
              <a:gd name="connsiteY271" fmla="*/ 525552 h 895572"/>
              <a:gd name="connsiteX272" fmla="*/ 156267 w 1090712"/>
              <a:gd name="connsiteY272" fmla="*/ 538381 h 895572"/>
              <a:gd name="connsiteX273" fmla="*/ 152703 w 1090712"/>
              <a:gd name="connsiteY273" fmla="*/ 544559 h 895572"/>
              <a:gd name="connsiteX274" fmla="*/ 148664 w 1090712"/>
              <a:gd name="connsiteY274" fmla="*/ 551449 h 895572"/>
              <a:gd name="connsiteX275" fmla="*/ 145100 w 1090712"/>
              <a:gd name="connsiteY275" fmla="*/ 558339 h 895572"/>
              <a:gd name="connsiteX276" fmla="*/ 142011 w 1090712"/>
              <a:gd name="connsiteY276" fmla="*/ 565467 h 895572"/>
              <a:gd name="connsiteX277" fmla="*/ 139398 w 1090712"/>
              <a:gd name="connsiteY277" fmla="*/ 573070 h 895572"/>
              <a:gd name="connsiteX278" fmla="*/ 137259 w 1090712"/>
              <a:gd name="connsiteY278" fmla="*/ 581623 h 895572"/>
              <a:gd name="connsiteX279" fmla="*/ 136309 w 1090712"/>
              <a:gd name="connsiteY279" fmla="*/ 583761 h 895572"/>
              <a:gd name="connsiteX280" fmla="*/ 135359 w 1090712"/>
              <a:gd name="connsiteY280" fmla="*/ 586137 h 895572"/>
              <a:gd name="connsiteX281" fmla="*/ 134883 w 1090712"/>
              <a:gd name="connsiteY281" fmla="*/ 590889 h 895572"/>
              <a:gd name="connsiteX282" fmla="*/ 134883 w 1090712"/>
              <a:gd name="connsiteY282" fmla="*/ 595879 h 895572"/>
              <a:gd name="connsiteX283" fmla="*/ 135359 w 1090712"/>
              <a:gd name="connsiteY283" fmla="*/ 601106 h 895572"/>
              <a:gd name="connsiteX284" fmla="*/ 136784 w 1090712"/>
              <a:gd name="connsiteY284" fmla="*/ 606095 h 895572"/>
              <a:gd name="connsiteX285" fmla="*/ 138447 w 1090712"/>
              <a:gd name="connsiteY285" fmla="*/ 611322 h 895572"/>
              <a:gd name="connsiteX286" fmla="*/ 140348 w 1090712"/>
              <a:gd name="connsiteY286" fmla="*/ 616311 h 895572"/>
              <a:gd name="connsiteX287" fmla="*/ 142486 w 1090712"/>
              <a:gd name="connsiteY287" fmla="*/ 620826 h 895572"/>
              <a:gd name="connsiteX288" fmla="*/ 148664 w 1090712"/>
              <a:gd name="connsiteY288" fmla="*/ 629616 h 895572"/>
              <a:gd name="connsiteX289" fmla="*/ 155554 w 1090712"/>
              <a:gd name="connsiteY289" fmla="*/ 637219 h 895572"/>
              <a:gd name="connsiteX290" fmla="*/ 162444 w 1090712"/>
              <a:gd name="connsiteY290" fmla="*/ 643872 h 895572"/>
              <a:gd name="connsiteX291" fmla="*/ 169572 w 1090712"/>
              <a:gd name="connsiteY291" fmla="*/ 649099 h 895572"/>
              <a:gd name="connsiteX292" fmla="*/ 177175 w 1090712"/>
              <a:gd name="connsiteY292" fmla="*/ 653613 h 895572"/>
              <a:gd name="connsiteX293" fmla="*/ 184778 w 1090712"/>
              <a:gd name="connsiteY293" fmla="*/ 657177 h 895572"/>
              <a:gd name="connsiteX294" fmla="*/ 192856 w 1090712"/>
              <a:gd name="connsiteY294" fmla="*/ 659553 h 895572"/>
              <a:gd name="connsiteX295" fmla="*/ 200934 w 1090712"/>
              <a:gd name="connsiteY295" fmla="*/ 661216 h 895572"/>
              <a:gd name="connsiteX296" fmla="*/ 209250 w 1090712"/>
              <a:gd name="connsiteY296" fmla="*/ 661691 h 895572"/>
              <a:gd name="connsiteX297" fmla="*/ 218278 w 1090712"/>
              <a:gd name="connsiteY297" fmla="*/ 661691 h 895572"/>
              <a:gd name="connsiteX298" fmla="*/ 227069 w 1090712"/>
              <a:gd name="connsiteY298" fmla="*/ 660266 h 895572"/>
              <a:gd name="connsiteX299" fmla="*/ 236335 w 1090712"/>
              <a:gd name="connsiteY299" fmla="*/ 658603 h 895572"/>
              <a:gd name="connsiteX300" fmla="*/ 245838 w 1090712"/>
              <a:gd name="connsiteY300" fmla="*/ 655514 h 895572"/>
              <a:gd name="connsiteX301" fmla="*/ 255580 w 1090712"/>
              <a:gd name="connsiteY301" fmla="*/ 652425 h 895572"/>
              <a:gd name="connsiteX302" fmla="*/ 265321 w 1090712"/>
              <a:gd name="connsiteY302" fmla="*/ 647911 h 895572"/>
              <a:gd name="connsiteX303" fmla="*/ 276013 w 1090712"/>
              <a:gd name="connsiteY303" fmla="*/ 642922 h 895572"/>
              <a:gd name="connsiteX304" fmla="*/ 288367 w 1090712"/>
              <a:gd name="connsiteY304" fmla="*/ 635081 h 895572"/>
              <a:gd name="connsiteX305" fmla="*/ 301910 w 1090712"/>
              <a:gd name="connsiteY305" fmla="*/ 627478 h 895572"/>
              <a:gd name="connsiteX306" fmla="*/ 315215 w 1090712"/>
              <a:gd name="connsiteY306" fmla="*/ 620350 h 895572"/>
              <a:gd name="connsiteX307" fmla="*/ 329471 w 1090712"/>
              <a:gd name="connsiteY307" fmla="*/ 613698 h 895572"/>
              <a:gd name="connsiteX308" fmla="*/ 343726 w 1090712"/>
              <a:gd name="connsiteY308" fmla="*/ 607283 h 895572"/>
              <a:gd name="connsiteX309" fmla="*/ 357981 w 1090712"/>
              <a:gd name="connsiteY309" fmla="*/ 602056 h 895572"/>
              <a:gd name="connsiteX310" fmla="*/ 371999 w 1090712"/>
              <a:gd name="connsiteY310" fmla="*/ 597066 h 895572"/>
              <a:gd name="connsiteX311" fmla="*/ 386730 w 1090712"/>
              <a:gd name="connsiteY311" fmla="*/ 592790 h 895572"/>
              <a:gd name="connsiteX312" fmla="*/ 394808 w 1090712"/>
              <a:gd name="connsiteY312" fmla="*/ 590414 h 895572"/>
              <a:gd name="connsiteX313" fmla="*/ 402411 w 1090712"/>
              <a:gd name="connsiteY313" fmla="*/ 587325 h 895572"/>
              <a:gd name="connsiteX314" fmla="*/ 409064 w 1090712"/>
              <a:gd name="connsiteY314" fmla="*/ 583761 h 895572"/>
              <a:gd name="connsiteX315" fmla="*/ 411677 w 1090712"/>
              <a:gd name="connsiteY315" fmla="*/ 581623 h 895572"/>
              <a:gd name="connsiteX316" fmla="*/ 414766 w 1090712"/>
              <a:gd name="connsiteY316" fmla="*/ 579247 h 895572"/>
              <a:gd name="connsiteX317" fmla="*/ 417142 w 1090712"/>
              <a:gd name="connsiteY317" fmla="*/ 577109 h 895572"/>
              <a:gd name="connsiteX318" fmla="*/ 419280 w 1090712"/>
              <a:gd name="connsiteY318" fmla="*/ 574495 h 895572"/>
              <a:gd name="connsiteX319" fmla="*/ 420943 w 1090712"/>
              <a:gd name="connsiteY319" fmla="*/ 571407 h 895572"/>
              <a:gd name="connsiteX320" fmla="*/ 422844 w 1090712"/>
              <a:gd name="connsiteY320" fmla="*/ 568318 h 895572"/>
              <a:gd name="connsiteX321" fmla="*/ 424269 w 1090712"/>
              <a:gd name="connsiteY321" fmla="*/ 565229 h 895572"/>
              <a:gd name="connsiteX322" fmla="*/ 424982 w 1090712"/>
              <a:gd name="connsiteY322" fmla="*/ 561665 h 895572"/>
              <a:gd name="connsiteX323" fmla="*/ 425457 w 1090712"/>
              <a:gd name="connsiteY323" fmla="*/ 557626 h 895572"/>
              <a:gd name="connsiteX324" fmla="*/ 425932 w 1090712"/>
              <a:gd name="connsiteY324" fmla="*/ 553587 h 895572"/>
              <a:gd name="connsiteX325" fmla="*/ 425932 w 1090712"/>
              <a:gd name="connsiteY325" fmla="*/ 413884 h 895572"/>
              <a:gd name="connsiteX326" fmla="*/ 425932 w 1090712"/>
              <a:gd name="connsiteY326" fmla="*/ 285347 h 895572"/>
              <a:gd name="connsiteX327" fmla="*/ 429496 w 1090712"/>
              <a:gd name="connsiteY327" fmla="*/ 300078 h 895572"/>
              <a:gd name="connsiteX328" fmla="*/ 433060 w 1090712"/>
              <a:gd name="connsiteY328" fmla="*/ 314096 h 895572"/>
              <a:gd name="connsiteX329" fmla="*/ 436149 w 1090712"/>
              <a:gd name="connsiteY329" fmla="*/ 328826 h 895572"/>
              <a:gd name="connsiteX330" fmla="*/ 438762 w 1090712"/>
              <a:gd name="connsiteY330" fmla="*/ 343082 h 895572"/>
              <a:gd name="connsiteX331" fmla="*/ 443752 w 1090712"/>
              <a:gd name="connsiteY331" fmla="*/ 370642 h 895572"/>
              <a:gd name="connsiteX332" fmla="*/ 447791 w 1090712"/>
              <a:gd name="connsiteY332" fmla="*/ 397015 h 895572"/>
              <a:gd name="connsiteX333" fmla="*/ 451830 w 1090712"/>
              <a:gd name="connsiteY333" fmla="*/ 421962 h 895572"/>
              <a:gd name="connsiteX334" fmla="*/ 454919 w 1090712"/>
              <a:gd name="connsiteY334" fmla="*/ 446434 h 895572"/>
              <a:gd name="connsiteX335" fmla="*/ 456106 w 1090712"/>
              <a:gd name="connsiteY335" fmla="*/ 458313 h 895572"/>
              <a:gd name="connsiteX336" fmla="*/ 457057 w 1090712"/>
              <a:gd name="connsiteY336" fmla="*/ 470430 h 895572"/>
              <a:gd name="connsiteX337" fmla="*/ 457532 w 1090712"/>
              <a:gd name="connsiteY337" fmla="*/ 482310 h 895572"/>
              <a:gd name="connsiteX338" fmla="*/ 457532 w 1090712"/>
              <a:gd name="connsiteY338" fmla="*/ 493952 h 895572"/>
              <a:gd name="connsiteX339" fmla="*/ 457532 w 1090712"/>
              <a:gd name="connsiteY339" fmla="*/ 506069 h 895572"/>
              <a:gd name="connsiteX340" fmla="*/ 456582 w 1090712"/>
              <a:gd name="connsiteY340" fmla="*/ 517473 h 895572"/>
              <a:gd name="connsiteX341" fmla="*/ 455869 w 1090712"/>
              <a:gd name="connsiteY341" fmla="*/ 529116 h 895572"/>
              <a:gd name="connsiteX342" fmla="*/ 453968 w 1090712"/>
              <a:gd name="connsiteY342" fmla="*/ 540757 h 895572"/>
              <a:gd name="connsiteX343" fmla="*/ 452305 w 1090712"/>
              <a:gd name="connsiteY343" fmla="*/ 552162 h 895572"/>
              <a:gd name="connsiteX344" fmla="*/ 449454 w 1090712"/>
              <a:gd name="connsiteY344" fmla="*/ 563804 h 895572"/>
              <a:gd name="connsiteX345" fmla="*/ 446365 w 1090712"/>
              <a:gd name="connsiteY345" fmla="*/ 575446 h 895572"/>
              <a:gd name="connsiteX346" fmla="*/ 442326 w 1090712"/>
              <a:gd name="connsiteY346" fmla="*/ 586850 h 895572"/>
              <a:gd name="connsiteX347" fmla="*/ 440188 w 1090712"/>
              <a:gd name="connsiteY347" fmla="*/ 591364 h 895572"/>
              <a:gd name="connsiteX348" fmla="*/ 437574 w 1090712"/>
              <a:gd name="connsiteY348" fmla="*/ 595403 h 895572"/>
              <a:gd name="connsiteX349" fmla="*/ 434486 w 1090712"/>
              <a:gd name="connsiteY349" fmla="*/ 598967 h 895572"/>
              <a:gd name="connsiteX350" fmla="*/ 431397 w 1090712"/>
              <a:gd name="connsiteY350" fmla="*/ 602531 h 895572"/>
              <a:gd name="connsiteX351" fmla="*/ 428071 w 1090712"/>
              <a:gd name="connsiteY351" fmla="*/ 605145 h 895572"/>
              <a:gd name="connsiteX352" fmla="*/ 424982 w 1090712"/>
              <a:gd name="connsiteY352" fmla="*/ 607283 h 895572"/>
              <a:gd name="connsiteX353" fmla="*/ 422369 w 1090712"/>
              <a:gd name="connsiteY353" fmla="*/ 608708 h 895572"/>
              <a:gd name="connsiteX354" fmla="*/ 420230 w 1090712"/>
              <a:gd name="connsiteY354" fmla="*/ 609659 h 895572"/>
              <a:gd name="connsiteX355" fmla="*/ 410727 w 1090712"/>
              <a:gd name="connsiteY355" fmla="*/ 610847 h 895572"/>
              <a:gd name="connsiteX356" fmla="*/ 401461 w 1090712"/>
              <a:gd name="connsiteY356" fmla="*/ 612748 h 895572"/>
              <a:gd name="connsiteX357" fmla="*/ 392670 w 1090712"/>
              <a:gd name="connsiteY357" fmla="*/ 614886 h 895572"/>
              <a:gd name="connsiteX358" fmla="*/ 383641 w 1090712"/>
              <a:gd name="connsiteY358" fmla="*/ 617262 h 895572"/>
              <a:gd name="connsiteX359" fmla="*/ 374850 w 1090712"/>
              <a:gd name="connsiteY359" fmla="*/ 620350 h 895572"/>
              <a:gd name="connsiteX360" fmla="*/ 365822 w 1090712"/>
              <a:gd name="connsiteY360" fmla="*/ 623914 h 895572"/>
              <a:gd name="connsiteX361" fmla="*/ 348478 w 1090712"/>
              <a:gd name="connsiteY361" fmla="*/ 631042 h 895572"/>
              <a:gd name="connsiteX362" fmla="*/ 331609 w 1090712"/>
              <a:gd name="connsiteY362" fmla="*/ 639358 h 895572"/>
              <a:gd name="connsiteX363" fmla="*/ 314740 w 1090712"/>
              <a:gd name="connsiteY363" fmla="*/ 647911 h 895572"/>
              <a:gd name="connsiteX364" fmla="*/ 281240 w 1090712"/>
              <a:gd name="connsiteY364" fmla="*/ 665255 h 895572"/>
              <a:gd name="connsiteX365" fmla="*/ 274587 w 1090712"/>
              <a:gd name="connsiteY365" fmla="*/ 669294 h 895572"/>
              <a:gd name="connsiteX366" fmla="*/ 267935 w 1090712"/>
              <a:gd name="connsiteY366" fmla="*/ 672858 h 895572"/>
              <a:gd name="connsiteX367" fmla="*/ 261757 w 1090712"/>
              <a:gd name="connsiteY367" fmla="*/ 675947 h 895572"/>
              <a:gd name="connsiteX368" fmla="*/ 255105 w 1090712"/>
              <a:gd name="connsiteY368" fmla="*/ 679035 h 895572"/>
              <a:gd name="connsiteX369" fmla="*/ 248927 w 1090712"/>
              <a:gd name="connsiteY369" fmla="*/ 681174 h 895572"/>
              <a:gd name="connsiteX370" fmla="*/ 242987 w 1090712"/>
              <a:gd name="connsiteY370" fmla="*/ 683075 h 895572"/>
              <a:gd name="connsiteX371" fmla="*/ 236810 w 1090712"/>
              <a:gd name="connsiteY371" fmla="*/ 684738 h 895572"/>
              <a:gd name="connsiteX372" fmla="*/ 231108 w 1090712"/>
              <a:gd name="connsiteY372" fmla="*/ 686163 h 895572"/>
              <a:gd name="connsiteX373" fmla="*/ 225406 w 1090712"/>
              <a:gd name="connsiteY373" fmla="*/ 687114 h 895572"/>
              <a:gd name="connsiteX374" fmla="*/ 219466 w 1090712"/>
              <a:gd name="connsiteY374" fmla="*/ 687589 h 895572"/>
              <a:gd name="connsiteX375" fmla="*/ 213764 w 1090712"/>
              <a:gd name="connsiteY375" fmla="*/ 687589 h 895572"/>
              <a:gd name="connsiteX376" fmla="*/ 208299 w 1090712"/>
              <a:gd name="connsiteY376" fmla="*/ 687589 h 895572"/>
              <a:gd name="connsiteX377" fmla="*/ 203072 w 1090712"/>
              <a:gd name="connsiteY377" fmla="*/ 687114 h 895572"/>
              <a:gd name="connsiteX378" fmla="*/ 197607 w 1090712"/>
              <a:gd name="connsiteY378" fmla="*/ 686163 h 895572"/>
              <a:gd name="connsiteX379" fmla="*/ 192380 w 1090712"/>
              <a:gd name="connsiteY379" fmla="*/ 684738 h 895572"/>
              <a:gd name="connsiteX380" fmla="*/ 186916 w 1090712"/>
              <a:gd name="connsiteY380" fmla="*/ 683550 h 895572"/>
              <a:gd name="connsiteX381" fmla="*/ 181689 w 1090712"/>
              <a:gd name="connsiteY381" fmla="*/ 681649 h 895572"/>
              <a:gd name="connsiteX382" fmla="*/ 176699 w 1090712"/>
              <a:gd name="connsiteY382" fmla="*/ 679986 h 895572"/>
              <a:gd name="connsiteX383" fmla="*/ 171472 w 1090712"/>
              <a:gd name="connsiteY383" fmla="*/ 677610 h 895572"/>
              <a:gd name="connsiteX384" fmla="*/ 166483 w 1090712"/>
              <a:gd name="connsiteY384" fmla="*/ 674996 h 895572"/>
              <a:gd name="connsiteX385" fmla="*/ 156742 w 1090712"/>
              <a:gd name="connsiteY385" fmla="*/ 669294 h 895572"/>
              <a:gd name="connsiteX386" fmla="*/ 147001 w 1090712"/>
              <a:gd name="connsiteY386" fmla="*/ 662167 h 895572"/>
              <a:gd name="connsiteX387" fmla="*/ 137735 w 1090712"/>
              <a:gd name="connsiteY387" fmla="*/ 654564 h 895572"/>
              <a:gd name="connsiteX388" fmla="*/ 127756 w 1090712"/>
              <a:gd name="connsiteY388" fmla="*/ 645535 h 895572"/>
              <a:gd name="connsiteX389" fmla="*/ 118490 w 1090712"/>
              <a:gd name="connsiteY389" fmla="*/ 636269 h 895572"/>
              <a:gd name="connsiteX390" fmla="*/ 109224 w 1090712"/>
              <a:gd name="connsiteY390" fmla="*/ 626053 h 895572"/>
              <a:gd name="connsiteX391" fmla="*/ 107323 w 1090712"/>
              <a:gd name="connsiteY391" fmla="*/ 623914 h 895572"/>
              <a:gd name="connsiteX392" fmla="*/ 106135 w 1090712"/>
              <a:gd name="connsiteY392" fmla="*/ 620350 h 895572"/>
              <a:gd name="connsiteX393" fmla="*/ 105185 w 1090712"/>
              <a:gd name="connsiteY393" fmla="*/ 616311 h 895572"/>
              <a:gd name="connsiteX394" fmla="*/ 105185 w 1090712"/>
              <a:gd name="connsiteY394" fmla="*/ 612272 h 895572"/>
              <a:gd name="connsiteX395" fmla="*/ 105185 w 1090712"/>
              <a:gd name="connsiteY395" fmla="*/ 608233 h 895572"/>
              <a:gd name="connsiteX396" fmla="*/ 106135 w 1090712"/>
              <a:gd name="connsiteY396" fmla="*/ 604194 h 895572"/>
              <a:gd name="connsiteX397" fmla="*/ 107323 w 1090712"/>
              <a:gd name="connsiteY397" fmla="*/ 600630 h 895572"/>
              <a:gd name="connsiteX398" fmla="*/ 109224 w 1090712"/>
              <a:gd name="connsiteY398" fmla="*/ 598017 h 895572"/>
              <a:gd name="connsiteX399" fmla="*/ 111837 w 1090712"/>
              <a:gd name="connsiteY399" fmla="*/ 591840 h 895572"/>
              <a:gd name="connsiteX400" fmla="*/ 113975 w 1090712"/>
              <a:gd name="connsiteY400" fmla="*/ 586137 h 895572"/>
              <a:gd name="connsiteX401" fmla="*/ 115401 w 1090712"/>
              <a:gd name="connsiteY401" fmla="*/ 579722 h 895572"/>
              <a:gd name="connsiteX402" fmla="*/ 115876 w 1090712"/>
              <a:gd name="connsiteY402" fmla="*/ 574020 h 895572"/>
              <a:gd name="connsiteX403" fmla="*/ 115876 w 1090712"/>
              <a:gd name="connsiteY403" fmla="*/ 568318 h 895572"/>
              <a:gd name="connsiteX404" fmla="*/ 115401 w 1090712"/>
              <a:gd name="connsiteY404" fmla="*/ 562378 h 895572"/>
              <a:gd name="connsiteX405" fmla="*/ 114451 w 1090712"/>
              <a:gd name="connsiteY405" fmla="*/ 557151 h 895572"/>
              <a:gd name="connsiteX406" fmla="*/ 112788 w 1090712"/>
              <a:gd name="connsiteY406" fmla="*/ 551449 h 895572"/>
              <a:gd name="connsiteX407" fmla="*/ 110412 w 1090712"/>
              <a:gd name="connsiteY407" fmla="*/ 545984 h 895572"/>
              <a:gd name="connsiteX408" fmla="*/ 108273 w 1090712"/>
              <a:gd name="connsiteY408" fmla="*/ 540757 h 895572"/>
              <a:gd name="connsiteX409" fmla="*/ 105185 w 1090712"/>
              <a:gd name="connsiteY409" fmla="*/ 535293 h 895572"/>
              <a:gd name="connsiteX410" fmla="*/ 102096 w 1090712"/>
              <a:gd name="connsiteY410" fmla="*/ 530066 h 895572"/>
              <a:gd name="connsiteX411" fmla="*/ 94968 w 1090712"/>
              <a:gd name="connsiteY411" fmla="*/ 519374 h 895572"/>
              <a:gd name="connsiteX412" fmla="*/ 86890 w 1090712"/>
              <a:gd name="connsiteY412" fmla="*/ 508683 h 895572"/>
              <a:gd name="connsiteX413" fmla="*/ 78812 w 1090712"/>
              <a:gd name="connsiteY413" fmla="*/ 497991 h 895572"/>
              <a:gd name="connsiteX414" fmla="*/ 70972 w 1090712"/>
              <a:gd name="connsiteY414" fmla="*/ 486824 h 895572"/>
              <a:gd name="connsiteX415" fmla="*/ 67408 w 1090712"/>
              <a:gd name="connsiteY415" fmla="*/ 481122 h 895572"/>
              <a:gd name="connsiteX416" fmla="*/ 64319 w 1090712"/>
              <a:gd name="connsiteY416" fmla="*/ 474707 h 895572"/>
              <a:gd name="connsiteX417" fmla="*/ 61230 w 1090712"/>
              <a:gd name="connsiteY417" fmla="*/ 469005 h 895572"/>
              <a:gd name="connsiteX418" fmla="*/ 58379 w 1090712"/>
              <a:gd name="connsiteY418" fmla="*/ 462828 h 895572"/>
              <a:gd name="connsiteX419" fmla="*/ 56716 w 1090712"/>
              <a:gd name="connsiteY419" fmla="*/ 456175 h 895572"/>
              <a:gd name="connsiteX420" fmla="*/ 54815 w 1090712"/>
              <a:gd name="connsiteY420" fmla="*/ 449998 h 895572"/>
              <a:gd name="connsiteX421" fmla="*/ 54103 w 1090712"/>
              <a:gd name="connsiteY421" fmla="*/ 443345 h 895572"/>
              <a:gd name="connsiteX422" fmla="*/ 53627 w 1090712"/>
              <a:gd name="connsiteY422" fmla="*/ 436455 h 895572"/>
              <a:gd name="connsiteX423" fmla="*/ 53627 w 1090712"/>
              <a:gd name="connsiteY423" fmla="*/ 429327 h 895572"/>
              <a:gd name="connsiteX424" fmla="*/ 54815 w 1090712"/>
              <a:gd name="connsiteY424" fmla="*/ 422675 h 895572"/>
              <a:gd name="connsiteX425" fmla="*/ 56716 w 1090712"/>
              <a:gd name="connsiteY425" fmla="*/ 415547 h 895572"/>
              <a:gd name="connsiteX426" fmla="*/ 59330 w 1090712"/>
              <a:gd name="connsiteY426" fmla="*/ 408182 h 895572"/>
              <a:gd name="connsiteX427" fmla="*/ 60280 w 1090712"/>
              <a:gd name="connsiteY427" fmla="*/ 403192 h 895572"/>
              <a:gd name="connsiteX428" fmla="*/ 61943 w 1090712"/>
              <a:gd name="connsiteY428" fmla="*/ 397965 h 895572"/>
              <a:gd name="connsiteX429" fmla="*/ 65507 w 1090712"/>
              <a:gd name="connsiteY429" fmla="*/ 387986 h 895572"/>
              <a:gd name="connsiteX430" fmla="*/ 69546 w 1090712"/>
              <a:gd name="connsiteY430" fmla="*/ 378720 h 895572"/>
              <a:gd name="connsiteX431" fmla="*/ 74535 w 1090712"/>
              <a:gd name="connsiteY431" fmla="*/ 369929 h 895572"/>
              <a:gd name="connsiteX432" fmla="*/ 79762 w 1090712"/>
              <a:gd name="connsiteY432" fmla="*/ 360901 h 895572"/>
              <a:gd name="connsiteX433" fmla="*/ 85940 w 1090712"/>
              <a:gd name="connsiteY433" fmla="*/ 352585 h 895572"/>
              <a:gd name="connsiteX434" fmla="*/ 98057 w 1090712"/>
              <a:gd name="connsiteY434" fmla="*/ 335479 h 895572"/>
              <a:gd name="connsiteX435" fmla="*/ 102571 w 1090712"/>
              <a:gd name="connsiteY435" fmla="*/ 328113 h 895572"/>
              <a:gd name="connsiteX436" fmla="*/ 106848 w 1090712"/>
              <a:gd name="connsiteY436" fmla="*/ 320986 h 895572"/>
              <a:gd name="connsiteX437" fmla="*/ 116827 w 1090712"/>
              <a:gd name="connsiteY437" fmla="*/ 307205 h 895572"/>
              <a:gd name="connsiteX438" fmla="*/ 127043 w 1090712"/>
              <a:gd name="connsiteY438" fmla="*/ 293188 h 895572"/>
              <a:gd name="connsiteX439" fmla="*/ 137735 w 1090712"/>
              <a:gd name="connsiteY439" fmla="*/ 279407 h 895572"/>
              <a:gd name="connsiteX440" fmla="*/ 159831 w 1090712"/>
              <a:gd name="connsiteY440" fmla="*/ 251847 h 895572"/>
              <a:gd name="connsiteX441" fmla="*/ 170522 w 1090712"/>
              <a:gd name="connsiteY441" fmla="*/ 238066 h 895572"/>
              <a:gd name="connsiteX442" fmla="*/ 181214 w 1090712"/>
              <a:gd name="connsiteY442" fmla="*/ 223336 h 895572"/>
              <a:gd name="connsiteX443" fmla="*/ 164820 w 1090712"/>
              <a:gd name="connsiteY443" fmla="*/ 223336 h 895572"/>
              <a:gd name="connsiteX444" fmla="*/ 137972 w 1090712"/>
              <a:gd name="connsiteY444" fmla="*/ 230226 h 895572"/>
              <a:gd name="connsiteX445" fmla="*/ 125142 w 1090712"/>
              <a:gd name="connsiteY445" fmla="*/ 233790 h 895572"/>
              <a:gd name="connsiteX446" fmla="*/ 112788 w 1090712"/>
              <a:gd name="connsiteY446" fmla="*/ 237591 h 895572"/>
              <a:gd name="connsiteX447" fmla="*/ 100195 w 1090712"/>
              <a:gd name="connsiteY447" fmla="*/ 241630 h 895572"/>
              <a:gd name="connsiteX448" fmla="*/ 87840 w 1090712"/>
              <a:gd name="connsiteY448" fmla="*/ 245669 h 895572"/>
              <a:gd name="connsiteX449" fmla="*/ 75723 w 1090712"/>
              <a:gd name="connsiteY449" fmla="*/ 250183 h 895572"/>
              <a:gd name="connsiteX450" fmla="*/ 64319 w 1090712"/>
              <a:gd name="connsiteY450" fmla="*/ 254935 h 895572"/>
              <a:gd name="connsiteX451" fmla="*/ 52677 w 1090712"/>
              <a:gd name="connsiteY451" fmla="*/ 260400 h 895572"/>
              <a:gd name="connsiteX452" fmla="*/ 41035 w 1090712"/>
              <a:gd name="connsiteY452" fmla="*/ 265627 h 895572"/>
              <a:gd name="connsiteX453" fmla="*/ 29868 w 1090712"/>
              <a:gd name="connsiteY453" fmla="*/ 271567 h 895572"/>
              <a:gd name="connsiteX454" fmla="*/ 18939 w 1090712"/>
              <a:gd name="connsiteY454" fmla="*/ 277744 h 895572"/>
              <a:gd name="connsiteX455" fmla="*/ 7772 w 1090712"/>
              <a:gd name="connsiteY455" fmla="*/ 284397 h 895572"/>
              <a:gd name="connsiteX456" fmla="*/ 0 w 1090712"/>
              <a:gd name="connsiteY456" fmla="*/ 289924 h 895572"/>
              <a:gd name="connsiteX457" fmla="*/ 0 w 1090712"/>
              <a:gd name="connsiteY457" fmla="*/ 895572 h 895572"/>
              <a:gd name="connsiteX458" fmla="*/ 125653 w 1090712"/>
              <a:gd name="connsiteY458" fmla="*/ 895572 h 895572"/>
              <a:gd name="connsiteX459" fmla="*/ 127756 w 1090712"/>
              <a:gd name="connsiteY459" fmla="*/ 892155 h 895572"/>
              <a:gd name="connsiteX460" fmla="*/ 131082 w 1090712"/>
              <a:gd name="connsiteY460" fmla="*/ 885502 h 895572"/>
              <a:gd name="connsiteX461" fmla="*/ 133696 w 1090712"/>
              <a:gd name="connsiteY461" fmla="*/ 878374 h 895572"/>
              <a:gd name="connsiteX462" fmla="*/ 135834 w 1090712"/>
              <a:gd name="connsiteY462" fmla="*/ 871722 h 895572"/>
              <a:gd name="connsiteX463" fmla="*/ 137735 w 1090712"/>
              <a:gd name="connsiteY463" fmla="*/ 864594 h 895572"/>
              <a:gd name="connsiteX464" fmla="*/ 138923 w 1090712"/>
              <a:gd name="connsiteY464" fmla="*/ 857466 h 895572"/>
              <a:gd name="connsiteX465" fmla="*/ 140348 w 1090712"/>
              <a:gd name="connsiteY465" fmla="*/ 850339 h 895572"/>
              <a:gd name="connsiteX466" fmla="*/ 141298 w 1090712"/>
              <a:gd name="connsiteY466" fmla="*/ 843211 h 895572"/>
              <a:gd name="connsiteX467" fmla="*/ 142011 w 1090712"/>
              <a:gd name="connsiteY467" fmla="*/ 828955 h 895572"/>
              <a:gd name="connsiteX468" fmla="*/ 142486 w 1090712"/>
              <a:gd name="connsiteY468" fmla="*/ 814225 h 895572"/>
              <a:gd name="connsiteX469" fmla="*/ 142486 w 1090712"/>
              <a:gd name="connsiteY469" fmla="*/ 799494 h 895572"/>
              <a:gd name="connsiteX470" fmla="*/ 142486 w 1090712"/>
              <a:gd name="connsiteY470" fmla="*/ 782625 h 895572"/>
              <a:gd name="connsiteX471" fmla="*/ 142486 w 1090712"/>
              <a:gd name="connsiteY471" fmla="*/ 771458 h 895572"/>
              <a:gd name="connsiteX472" fmla="*/ 143912 w 1090712"/>
              <a:gd name="connsiteY472" fmla="*/ 778586 h 895572"/>
              <a:gd name="connsiteX473" fmla="*/ 145100 w 1090712"/>
              <a:gd name="connsiteY473" fmla="*/ 784526 h 895572"/>
              <a:gd name="connsiteX474" fmla="*/ 147476 w 1090712"/>
              <a:gd name="connsiteY474" fmla="*/ 789753 h 895572"/>
              <a:gd name="connsiteX475" fmla="*/ 149614 w 1090712"/>
              <a:gd name="connsiteY475" fmla="*/ 794267 h 895572"/>
              <a:gd name="connsiteX476" fmla="*/ 152228 w 1090712"/>
              <a:gd name="connsiteY476" fmla="*/ 797831 h 895572"/>
              <a:gd name="connsiteX477" fmla="*/ 155554 w 1090712"/>
              <a:gd name="connsiteY477" fmla="*/ 801395 h 895572"/>
              <a:gd name="connsiteX478" fmla="*/ 158643 w 1090712"/>
              <a:gd name="connsiteY478" fmla="*/ 803533 h 895572"/>
              <a:gd name="connsiteX479" fmla="*/ 162206 w 1090712"/>
              <a:gd name="connsiteY479" fmla="*/ 805909 h 895572"/>
              <a:gd name="connsiteX480" fmla="*/ 165770 w 1090712"/>
              <a:gd name="connsiteY480" fmla="*/ 807572 h 895572"/>
              <a:gd name="connsiteX481" fmla="*/ 169572 w 1090712"/>
              <a:gd name="connsiteY481" fmla="*/ 808523 h 895572"/>
              <a:gd name="connsiteX482" fmla="*/ 174086 w 1090712"/>
              <a:gd name="connsiteY482" fmla="*/ 809473 h 895572"/>
              <a:gd name="connsiteX483" fmla="*/ 178600 w 1090712"/>
              <a:gd name="connsiteY483" fmla="*/ 810186 h 895572"/>
              <a:gd name="connsiteX484" fmla="*/ 187866 w 1090712"/>
              <a:gd name="connsiteY484" fmla="*/ 810661 h 895572"/>
              <a:gd name="connsiteX485" fmla="*/ 198083 w 1090712"/>
              <a:gd name="connsiteY485" fmla="*/ 810661 h 895572"/>
              <a:gd name="connsiteX486" fmla="*/ 236810 w 1090712"/>
              <a:gd name="connsiteY486" fmla="*/ 810661 h 895572"/>
              <a:gd name="connsiteX487" fmla="*/ 249640 w 1090712"/>
              <a:gd name="connsiteY487" fmla="*/ 811136 h 895572"/>
              <a:gd name="connsiteX488" fmla="*/ 263183 w 1090712"/>
              <a:gd name="connsiteY488" fmla="*/ 811611 h 895572"/>
              <a:gd name="connsiteX489" fmla="*/ 270310 w 1090712"/>
              <a:gd name="connsiteY489" fmla="*/ 811611 h 895572"/>
              <a:gd name="connsiteX490" fmla="*/ 276963 w 1090712"/>
              <a:gd name="connsiteY490" fmla="*/ 811136 h 895572"/>
              <a:gd name="connsiteX491" fmla="*/ 283140 w 1090712"/>
              <a:gd name="connsiteY491" fmla="*/ 810186 h 895572"/>
              <a:gd name="connsiteX492" fmla="*/ 289793 w 1090712"/>
              <a:gd name="connsiteY492" fmla="*/ 808523 h 895572"/>
              <a:gd name="connsiteX493" fmla="*/ 295495 w 1090712"/>
              <a:gd name="connsiteY493" fmla="*/ 806147 h 895572"/>
              <a:gd name="connsiteX494" fmla="*/ 301435 w 1090712"/>
              <a:gd name="connsiteY494" fmla="*/ 803058 h 895572"/>
              <a:gd name="connsiteX495" fmla="*/ 304524 w 1090712"/>
              <a:gd name="connsiteY495" fmla="*/ 801395 h 895572"/>
              <a:gd name="connsiteX496" fmla="*/ 307137 w 1090712"/>
              <a:gd name="connsiteY496" fmla="*/ 799256 h 895572"/>
              <a:gd name="connsiteX497" fmla="*/ 309275 w 1090712"/>
              <a:gd name="connsiteY497" fmla="*/ 796881 h 895572"/>
              <a:gd name="connsiteX498" fmla="*/ 312126 w 1090712"/>
              <a:gd name="connsiteY498" fmla="*/ 794267 h 895572"/>
              <a:gd name="connsiteX499" fmla="*/ 314265 w 1090712"/>
              <a:gd name="connsiteY499" fmla="*/ 791178 h 895572"/>
              <a:gd name="connsiteX500" fmla="*/ 316403 w 1090712"/>
              <a:gd name="connsiteY500" fmla="*/ 788090 h 895572"/>
              <a:gd name="connsiteX501" fmla="*/ 318304 w 1090712"/>
              <a:gd name="connsiteY501" fmla="*/ 784051 h 895572"/>
              <a:gd name="connsiteX502" fmla="*/ 319967 w 1090712"/>
              <a:gd name="connsiteY502" fmla="*/ 780012 h 895572"/>
              <a:gd name="connsiteX503" fmla="*/ 321868 w 1090712"/>
              <a:gd name="connsiteY503" fmla="*/ 775973 h 895572"/>
              <a:gd name="connsiteX504" fmla="*/ 323056 w 1090712"/>
              <a:gd name="connsiteY504" fmla="*/ 771221 h 895572"/>
              <a:gd name="connsiteX505" fmla="*/ 324481 w 1090712"/>
              <a:gd name="connsiteY505" fmla="*/ 765756 h 895572"/>
              <a:gd name="connsiteX506" fmla="*/ 325907 w 1090712"/>
              <a:gd name="connsiteY506" fmla="*/ 760529 h 895572"/>
              <a:gd name="connsiteX507" fmla="*/ 325907 w 1090712"/>
              <a:gd name="connsiteY507" fmla="*/ 827530 h 895572"/>
              <a:gd name="connsiteX508" fmla="*/ 310226 w 1090712"/>
              <a:gd name="connsiteY508" fmla="*/ 835608 h 895572"/>
              <a:gd name="connsiteX509" fmla="*/ 295970 w 1090712"/>
              <a:gd name="connsiteY509" fmla="*/ 843686 h 895572"/>
              <a:gd name="connsiteX510" fmla="*/ 282665 w 1090712"/>
              <a:gd name="connsiteY510" fmla="*/ 850339 h 895572"/>
              <a:gd name="connsiteX511" fmla="*/ 276488 w 1090712"/>
              <a:gd name="connsiteY511" fmla="*/ 852952 h 895572"/>
              <a:gd name="connsiteX512" fmla="*/ 270310 w 1090712"/>
              <a:gd name="connsiteY512" fmla="*/ 855565 h 895572"/>
              <a:gd name="connsiteX513" fmla="*/ 266271 w 1090712"/>
              <a:gd name="connsiteY513" fmla="*/ 857942 h 895572"/>
              <a:gd name="connsiteX514" fmla="*/ 262708 w 1090712"/>
              <a:gd name="connsiteY514" fmla="*/ 860080 h 895572"/>
              <a:gd name="connsiteX515" fmla="*/ 259619 w 1090712"/>
              <a:gd name="connsiteY515" fmla="*/ 862693 h 895572"/>
              <a:gd name="connsiteX516" fmla="*/ 256768 w 1090712"/>
              <a:gd name="connsiteY516" fmla="*/ 865544 h 895572"/>
              <a:gd name="connsiteX517" fmla="*/ 254154 w 1090712"/>
              <a:gd name="connsiteY517" fmla="*/ 868633 h 895572"/>
              <a:gd name="connsiteX518" fmla="*/ 252491 w 1090712"/>
              <a:gd name="connsiteY518" fmla="*/ 871722 h 895572"/>
              <a:gd name="connsiteX519" fmla="*/ 250590 w 1090712"/>
              <a:gd name="connsiteY519" fmla="*/ 874810 h 895572"/>
              <a:gd name="connsiteX520" fmla="*/ 249402 w 1090712"/>
              <a:gd name="connsiteY520" fmla="*/ 877899 h 895572"/>
              <a:gd name="connsiteX521" fmla="*/ 248452 w 1090712"/>
              <a:gd name="connsiteY521" fmla="*/ 880988 h 895572"/>
              <a:gd name="connsiteX522" fmla="*/ 247977 w 1090712"/>
              <a:gd name="connsiteY522" fmla="*/ 884076 h 895572"/>
              <a:gd name="connsiteX523" fmla="*/ 247977 w 1090712"/>
              <a:gd name="connsiteY523" fmla="*/ 887165 h 895572"/>
              <a:gd name="connsiteX524" fmla="*/ 248452 w 1090712"/>
              <a:gd name="connsiteY524" fmla="*/ 890016 h 895572"/>
              <a:gd name="connsiteX525" fmla="*/ 249402 w 1090712"/>
              <a:gd name="connsiteY525" fmla="*/ 893105 h 895572"/>
              <a:gd name="connsiteX526" fmla="*/ 250075 w 1090712"/>
              <a:gd name="connsiteY526" fmla="*/ 895572 h 895572"/>
              <a:gd name="connsiteX527" fmla="*/ 474750 w 1090712"/>
              <a:gd name="connsiteY527" fmla="*/ 895572 h 895572"/>
              <a:gd name="connsiteX528" fmla="*/ 475827 w 1090712"/>
              <a:gd name="connsiteY528" fmla="*/ 894768 h 895572"/>
              <a:gd name="connsiteX529" fmla="*/ 486993 w 1090712"/>
              <a:gd name="connsiteY529" fmla="*/ 882889 h 895572"/>
              <a:gd name="connsiteX530" fmla="*/ 497210 w 1090712"/>
              <a:gd name="connsiteY530" fmla="*/ 870296 h 895572"/>
              <a:gd name="connsiteX531" fmla="*/ 506951 w 1090712"/>
              <a:gd name="connsiteY531" fmla="*/ 857942 h 895572"/>
              <a:gd name="connsiteX532" fmla="*/ 515742 w 1090712"/>
              <a:gd name="connsiteY532" fmla="*/ 844636 h 895572"/>
              <a:gd name="connsiteX533" fmla="*/ 523820 w 1090712"/>
              <a:gd name="connsiteY533" fmla="*/ 831094 h 895572"/>
              <a:gd name="connsiteX534" fmla="*/ 531898 w 1090712"/>
              <a:gd name="connsiteY534" fmla="*/ 816838 h 895572"/>
              <a:gd name="connsiteX535" fmla="*/ 539026 w 1090712"/>
              <a:gd name="connsiteY535" fmla="*/ 802583 h 895572"/>
              <a:gd name="connsiteX536" fmla="*/ 545678 w 1090712"/>
              <a:gd name="connsiteY536" fmla="*/ 788565 h 895572"/>
              <a:gd name="connsiteX537" fmla="*/ 552331 w 1090712"/>
              <a:gd name="connsiteY537" fmla="*/ 773359 h 895572"/>
              <a:gd name="connsiteX538" fmla="*/ 558033 w 1090712"/>
              <a:gd name="connsiteY538" fmla="*/ 758628 h 895572"/>
              <a:gd name="connsiteX539" fmla="*/ 563498 w 1090712"/>
              <a:gd name="connsiteY539" fmla="*/ 743185 h 895572"/>
              <a:gd name="connsiteX540" fmla="*/ 568725 w 1090712"/>
              <a:gd name="connsiteY540" fmla="*/ 727979 h 895572"/>
              <a:gd name="connsiteX541" fmla="*/ 573714 w 1090712"/>
              <a:gd name="connsiteY541" fmla="*/ 712298 h 895572"/>
              <a:gd name="connsiteX542" fmla="*/ 577991 w 1090712"/>
              <a:gd name="connsiteY542" fmla="*/ 696855 h 895572"/>
              <a:gd name="connsiteX543" fmla="*/ 586544 w 1090712"/>
              <a:gd name="connsiteY543" fmla="*/ 665255 h 895572"/>
              <a:gd name="connsiteX544" fmla="*/ 586069 w 1090712"/>
              <a:gd name="connsiteY544" fmla="*/ 663117 h 895572"/>
              <a:gd name="connsiteX545" fmla="*/ 584881 w 1090712"/>
              <a:gd name="connsiteY545" fmla="*/ 660266 h 895572"/>
              <a:gd name="connsiteX546" fmla="*/ 582980 w 1090712"/>
              <a:gd name="connsiteY546" fmla="*/ 657177 h 895572"/>
              <a:gd name="connsiteX547" fmla="*/ 580367 w 1090712"/>
              <a:gd name="connsiteY547" fmla="*/ 654088 h 895572"/>
              <a:gd name="connsiteX548" fmla="*/ 574902 w 1090712"/>
              <a:gd name="connsiteY548" fmla="*/ 647911 h 895572"/>
              <a:gd name="connsiteX549" fmla="*/ 570150 w 1090712"/>
              <a:gd name="connsiteY549" fmla="*/ 642922 h 895572"/>
              <a:gd name="connsiteX550" fmla="*/ 565636 w 1090712"/>
              <a:gd name="connsiteY550" fmla="*/ 636744 h 895572"/>
              <a:gd name="connsiteX551" fmla="*/ 560647 w 1090712"/>
              <a:gd name="connsiteY551" fmla="*/ 631517 h 895572"/>
              <a:gd name="connsiteX552" fmla="*/ 555420 w 1090712"/>
              <a:gd name="connsiteY552" fmla="*/ 626053 h 895572"/>
              <a:gd name="connsiteX553" fmla="*/ 550193 w 1090712"/>
              <a:gd name="connsiteY553" fmla="*/ 621301 h 895572"/>
              <a:gd name="connsiteX554" fmla="*/ 544253 w 1090712"/>
              <a:gd name="connsiteY554" fmla="*/ 616787 h 895572"/>
              <a:gd name="connsiteX555" fmla="*/ 538075 w 1090712"/>
              <a:gd name="connsiteY555" fmla="*/ 612272 h 895572"/>
              <a:gd name="connsiteX556" fmla="*/ 525721 w 1090712"/>
              <a:gd name="connsiteY556" fmla="*/ 603719 h 895572"/>
              <a:gd name="connsiteX557" fmla="*/ 563023 w 1090712"/>
              <a:gd name="connsiteY557" fmla="*/ 619875 h 895572"/>
              <a:gd name="connsiteX558" fmla="*/ 581317 w 1090712"/>
              <a:gd name="connsiteY558" fmla="*/ 628191 h 895572"/>
              <a:gd name="connsiteX559" fmla="*/ 599374 w 1090712"/>
              <a:gd name="connsiteY559" fmla="*/ 636744 h 895572"/>
              <a:gd name="connsiteX560" fmla="*/ 607927 w 1090712"/>
              <a:gd name="connsiteY560" fmla="*/ 641259 h 895572"/>
              <a:gd name="connsiteX561" fmla="*/ 616718 w 1090712"/>
              <a:gd name="connsiteY561" fmla="*/ 646010 h 895572"/>
              <a:gd name="connsiteX562" fmla="*/ 625271 w 1090712"/>
              <a:gd name="connsiteY562" fmla="*/ 651000 h 895572"/>
              <a:gd name="connsiteX563" fmla="*/ 633349 w 1090712"/>
              <a:gd name="connsiteY563" fmla="*/ 656227 h 895572"/>
              <a:gd name="connsiteX564" fmla="*/ 641665 w 1090712"/>
              <a:gd name="connsiteY564" fmla="*/ 662167 h 895572"/>
              <a:gd name="connsiteX565" fmla="*/ 649268 w 1090712"/>
              <a:gd name="connsiteY565" fmla="*/ 668344 h 895572"/>
              <a:gd name="connsiteX566" fmla="*/ 656871 w 1090712"/>
              <a:gd name="connsiteY566" fmla="*/ 674996 h 895572"/>
              <a:gd name="connsiteX567" fmla="*/ 664474 w 1090712"/>
              <a:gd name="connsiteY567" fmla="*/ 682124 h 895572"/>
              <a:gd name="connsiteX568" fmla="*/ 668988 w 1090712"/>
              <a:gd name="connsiteY568" fmla="*/ 686163 h 895572"/>
              <a:gd name="connsiteX569" fmla="*/ 672790 w 1090712"/>
              <a:gd name="connsiteY569" fmla="*/ 690202 h 895572"/>
              <a:gd name="connsiteX570" fmla="*/ 677304 w 1090712"/>
              <a:gd name="connsiteY570" fmla="*/ 693291 h 895572"/>
              <a:gd name="connsiteX571" fmla="*/ 682293 w 1090712"/>
              <a:gd name="connsiteY571" fmla="*/ 696855 h 895572"/>
              <a:gd name="connsiteX572" fmla="*/ 686570 w 1090712"/>
              <a:gd name="connsiteY572" fmla="*/ 699468 h 895572"/>
              <a:gd name="connsiteX573" fmla="*/ 691559 w 1090712"/>
              <a:gd name="connsiteY573" fmla="*/ 702082 h 895572"/>
              <a:gd name="connsiteX574" fmla="*/ 696549 w 1090712"/>
              <a:gd name="connsiteY574" fmla="*/ 703983 h 895572"/>
              <a:gd name="connsiteX575" fmla="*/ 701300 w 1090712"/>
              <a:gd name="connsiteY575" fmla="*/ 705646 h 895572"/>
              <a:gd name="connsiteX576" fmla="*/ 706290 w 1090712"/>
              <a:gd name="connsiteY576" fmla="*/ 707071 h 895572"/>
              <a:gd name="connsiteX577" fmla="*/ 711042 w 1090712"/>
              <a:gd name="connsiteY577" fmla="*/ 708497 h 895572"/>
              <a:gd name="connsiteX578" fmla="*/ 716506 w 1090712"/>
              <a:gd name="connsiteY578" fmla="*/ 708734 h 895572"/>
              <a:gd name="connsiteX579" fmla="*/ 721258 w 1090712"/>
              <a:gd name="connsiteY579" fmla="*/ 708734 h 895572"/>
              <a:gd name="connsiteX580" fmla="*/ 726723 w 1090712"/>
              <a:gd name="connsiteY580" fmla="*/ 708497 h 895572"/>
              <a:gd name="connsiteX581" fmla="*/ 731712 w 1090712"/>
              <a:gd name="connsiteY581" fmla="*/ 707546 h 895572"/>
              <a:gd name="connsiteX582" fmla="*/ 736939 w 1090712"/>
              <a:gd name="connsiteY582" fmla="*/ 706121 h 895572"/>
              <a:gd name="connsiteX583" fmla="*/ 742166 w 1090712"/>
              <a:gd name="connsiteY583" fmla="*/ 704458 h 895572"/>
              <a:gd name="connsiteX584" fmla="*/ 749294 w 1090712"/>
              <a:gd name="connsiteY584" fmla="*/ 702082 h 895572"/>
              <a:gd name="connsiteX585" fmla="*/ 756184 w 1090712"/>
              <a:gd name="connsiteY585" fmla="*/ 699468 h 895572"/>
              <a:gd name="connsiteX586" fmla="*/ 762361 w 1090712"/>
              <a:gd name="connsiteY586" fmla="*/ 696380 h 895572"/>
              <a:gd name="connsiteX587" fmla="*/ 768063 w 1090712"/>
              <a:gd name="connsiteY587" fmla="*/ 692816 h 895572"/>
              <a:gd name="connsiteX588" fmla="*/ 773528 w 1090712"/>
              <a:gd name="connsiteY588" fmla="*/ 689252 h 895572"/>
              <a:gd name="connsiteX589" fmla="*/ 778755 w 1090712"/>
              <a:gd name="connsiteY589" fmla="*/ 684738 h 895572"/>
              <a:gd name="connsiteX590" fmla="*/ 783269 w 1090712"/>
              <a:gd name="connsiteY590" fmla="*/ 680461 h 895572"/>
              <a:gd name="connsiteX591" fmla="*/ 787308 w 1090712"/>
              <a:gd name="connsiteY591" fmla="*/ 674996 h 895572"/>
              <a:gd name="connsiteX592" fmla="*/ 791110 w 1090712"/>
              <a:gd name="connsiteY592" fmla="*/ 669769 h 895572"/>
              <a:gd name="connsiteX593" fmla="*/ 794436 w 1090712"/>
              <a:gd name="connsiteY593" fmla="*/ 663830 h 895572"/>
              <a:gd name="connsiteX594" fmla="*/ 797050 w 1090712"/>
              <a:gd name="connsiteY594" fmla="*/ 657652 h 895572"/>
              <a:gd name="connsiteX595" fmla="*/ 799188 w 1090712"/>
              <a:gd name="connsiteY595" fmla="*/ 651000 h 895572"/>
              <a:gd name="connsiteX596" fmla="*/ 801089 w 1090712"/>
              <a:gd name="connsiteY596" fmla="*/ 643872 h 895572"/>
              <a:gd name="connsiteX597" fmla="*/ 802277 w 1090712"/>
              <a:gd name="connsiteY597" fmla="*/ 636744 h 895572"/>
              <a:gd name="connsiteX598" fmla="*/ 803227 w 1090712"/>
              <a:gd name="connsiteY598" fmla="*/ 628666 h 895572"/>
              <a:gd name="connsiteX599" fmla="*/ 803227 w 1090712"/>
              <a:gd name="connsiteY599" fmla="*/ 620826 h 895572"/>
              <a:gd name="connsiteX600" fmla="*/ 801089 w 1090712"/>
              <a:gd name="connsiteY600" fmla="*/ 622489 h 895572"/>
              <a:gd name="connsiteX601" fmla="*/ 798238 w 1090712"/>
              <a:gd name="connsiteY601" fmla="*/ 623914 h 895572"/>
              <a:gd name="connsiteX602" fmla="*/ 793011 w 1090712"/>
              <a:gd name="connsiteY602" fmla="*/ 626053 h 895572"/>
              <a:gd name="connsiteX603" fmla="*/ 790397 w 1090712"/>
              <a:gd name="connsiteY603" fmla="*/ 627478 h 895572"/>
              <a:gd name="connsiteX604" fmla="*/ 788496 w 1090712"/>
              <a:gd name="connsiteY604" fmla="*/ 628191 h 895572"/>
              <a:gd name="connsiteX605" fmla="*/ 787308 w 1090712"/>
              <a:gd name="connsiteY605" fmla="*/ 630092 h 895572"/>
              <a:gd name="connsiteX606" fmla="*/ 786833 w 1090712"/>
              <a:gd name="connsiteY606" fmla="*/ 631755 h 895572"/>
              <a:gd name="connsiteX607" fmla="*/ 785408 w 1090712"/>
              <a:gd name="connsiteY607" fmla="*/ 635794 h 895572"/>
              <a:gd name="connsiteX608" fmla="*/ 784220 w 1090712"/>
              <a:gd name="connsiteY608" fmla="*/ 639833 h 895572"/>
              <a:gd name="connsiteX609" fmla="*/ 780656 w 1090712"/>
              <a:gd name="connsiteY609" fmla="*/ 646485 h 895572"/>
              <a:gd name="connsiteX610" fmla="*/ 776617 w 1090712"/>
              <a:gd name="connsiteY610" fmla="*/ 653138 h 895572"/>
              <a:gd name="connsiteX611" fmla="*/ 772103 w 1090712"/>
              <a:gd name="connsiteY611" fmla="*/ 659078 h 895572"/>
              <a:gd name="connsiteX612" fmla="*/ 762361 w 1090712"/>
              <a:gd name="connsiteY612" fmla="*/ 670007 h 895572"/>
              <a:gd name="connsiteX613" fmla="*/ 757847 w 1090712"/>
              <a:gd name="connsiteY613" fmla="*/ 675947 h 895572"/>
              <a:gd name="connsiteX614" fmla="*/ 753333 w 1090712"/>
              <a:gd name="connsiteY614" fmla="*/ 682124 h 895572"/>
              <a:gd name="connsiteX615" fmla="*/ 750244 w 1090712"/>
              <a:gd name="connsiteY615" fmla="*/ 684738 h 895572"/>
              <a:gd name="connsiteX616" fmla="*/ 747155 w 1090712"/>
              <a:gd name="connsiteY616" fmla="*/ 687589 h 895572"/>
              <a:gd name="connsiteX617" fmla="*/ 744067 w 1090712"/>
              <a:gd name="connsiteY617" fmla="*/ 689252 h 895572"/>
              <a:gd name="connsiteX618" fmla="*/ 740978 w 1090712"/>
              <a:gd name="connsiteY618" fmla="*/ 690915 h 895572"/>
              <a:gd name="connsiteX619" fmla="*/ 737890 w 1090712"/>
              <a:gd name="connsiteY619" fmla="*/ 691865 h 895572"/>
              <a:gd name="connsiteX620" fmla="*/ 734801 w 1090712"/>
              <a:gd name="connsiteY620" fmla="*/ 692816 h 895572"/>
              <a:gd name="connsiteX621" fmla="*/ 731950 w 1090712"/>
              <a:gd name="connsiteY621" fmla="*/ 693291 h 895572"/>
              <a:gd name="connsiteX622" fmla="*/ 728861 w 1090712"/>
              <a:gd name="connsiteY622" fmla="*/ 693291 h 895572"/>
              <a:gd name="connsiteX623" fmla="*/ 723634 w 1090712"/>
              <a:gd name="connsiteY623" fmla="*/ 692816 h 895572"/>
              <a:gd name="connsiteX624" fmla="*/ 718169 w 1090712"/>
              <a:gd name="connsiteY624" fmla="*/ 691390 h 895572"/>
              <a:gd name="connsiteX625" fmla="*/ 713418 w 1090712"/>
              <a:gd name="connsiteY625" fmla="*/ 689727 h 895572"/>
              <a:gd name="connsiteX626" fmla="*/ 708903 w 1090712"/>
              <a:gd name="connsiteY626" fmla="*/ 687826 h 895572"/>
              <a:gd name="connsiteX627" fmla="*/ 706765 w 1090712"/>
              <a:gd name="connsiteY627" fmla="*/ 687589 h 895572"/>
              <a:gd name="connsiteX628" fmla="*/ 704864 w 1090712"/>
              <a:gd name="connsiteY628" fmla="*/ 687114 h 895572"/>
              <a:gd name="connsiteX629" fmla="*/ 703201 w 1090712"/>
              <a:gd name="connsiteY629" fmla="*/ 686163 h 895572"/>
              <a:gd name="connsiteX630" fmla="*/ 701776 w 1090712"/>
              <a:gd name="connsiteY630" fmla="*/ 684738 h 895572"/>
              <a:gd name="connsiteX631" fmla="*/ 698687 w 1090712"/>
              <a:gd name="connsiteY631" fmla="*/ 681649 h 895572"/>
              <a:gd name="connsiteX632" fmla="*/ 696549 w 1090712"/>
              <a:gd name="connsiteY632" fmla="*/ 678085 h 895572"/>
              <a:gd name="connsiteX633" fmla="*/ 694648 w 1090712"/>
              <a:gd name="connsiteY633" fmla="*/ 673571 h 895572"/>
              <a:gd name="connsiteX634" fmla="*/ 693460 w 1090712"/>
              <a:gd name="connsiteY634" fmla="*/ 668819 h 895572"/>
              <a:gd name="connsiteX635" fmla="*/ 692510 w 1090712"/>
              <a:gd name="connsiteY635" fmla="*/ 664305 h 895572"/>
              <a:gd name="connsiteX636" fmla="*/ 692510 w 1090712"/>
              <a:gd name="connsiteY636" fmla="*/ 659790 h 895572"/>
              <a:gd name="connsiteX637" fmla="*/ 692510 w 1090712"/>
              <a:gd name="connsiteY637" fmla="*/ 647436 h 895572"/>
              <a:gd name="connsiteX638" fmla="*/ 693460 w 1090712"/>
              <a:gd name="connsiteY638" fmla="*/ 635319 h 895572"/>
              <a:gd name="connsiteX639" fmla="*/ 694173 w 1090712"/>
              <a:gd name="connsiteY639" fmla="*/ 624389 h 895572"/>
              <a:gd name="connsiteX640" fmla="*/ 695598 w 1090712"/>
              <a:gd name="connsiteY640" fmla="*/ 612748 h 895572"/>
              <a:gd name="connsiteX641" fmla="*/ 699162 w 1090712"/>
              <a:gd name="connsiteY641" fmla="*/ 591364 h 895572"/>
              <a:gd name="connsiteX642" fmla="*/ 703676 w 1090712"/>
              <a:gd name="connsiteY642" fmla="*/ 570456 h 895572"/>
              <a:gd name="connsiteX643" fmla="*/ 720070 w 1090712"/>
              <a:gd name="connsiteY643" fmla="*/ 574971 h 895572"/>
              <a:gd name="connsiteX644" fmla="*/ 736939 w 1090712"/>
              <a:gd name="connsiteY644" fmla="*/ 579247 h 895572"/>
              <a:gd name="connsiteX645" fmla="*/ 770677 w 1090712"/>
              <a:gd name="connsiteY645" fmla="*/ 589226 h 895572"/>
              <a:gd name="connsiteX646" fmla="*/ 788021 w 1090712"/>
              <a:gd name="connsiteY646" fmla="*/ 593503 h 895572"/>
              <a:gd name="connsiteX647" fmla="*/ 805365 w 1090712"/>
              <a:gd name="connsiteY647" fmla="*/ 597542 h 895572"/>
              <a:gd name="connsiteX648" fmla="*/ 823660 w 1090712"/>
              <a:gd name="connsiteY648" fmla="*/ 601106 h 895572"/>
              <a:gd name="connsiteX649" fmla="*/ 841954 w 1090712"/>
              <a:gd name="connsiteY649" fmla="*/ 603719 h 895572"/>
              <a:gd name="connsiteX650" fmla="*/ 861437 w 1090712"/>
              <a:gd name="connsiteY650" fmla="*/ 606570 h 895572"/>
              <a:gd name="connsiteX651" fmla="*/ 880682 w 1090712"/>
              <a:gd name="connsiteY651" fmla="*/ 608233 h 895572"/>
              <a:gd name="connsiteX652" fmla="*/ 889948 w 1090712"/>
              <a:gd name="connsiteY652" fmla="*/ 608708 h 895572"/>
              <a:gd name="connsiteX653" fmla="*/ 898976 w 1090712"/>
              <a:gd name="connsiteY653" fmla="*/ 608708 h 895572"/>
              <a:gd name="connsiteX654" fmla="*/ 908242 w 1090712"/>
              <a:gd name="connsiteY654" fmla="*/ 608708 h 895572"/>
              <a:gd name="connsiteX655" fmla="*/ 916795 w 1090712"/>
              <a:gd name="connsiteY655" fmla="*/ 608233 h 895572"/>
              <a:gd name="connsiteX656" fmla="*/ 925586 w 1090712"/>
              <a:gd name="connsiteY656" fmla="*/ 607283 h 895572"/>
              <a:gd name="connsiteX657" fmla="*/ 934140 w 1090712"/>
              <a:gd name="connsiteY657" fmla="*/ 606095 h 895572"/>
              <a:gd name="connsiteX658" fmla="*/ 942455 w 1090712"/>
              <a:gd name="connsiteY658" fmla="*/ 604669 h 895572"/>
              <a:gd name="connsiteX659" fmla="*/ 950533 w 1090712"/>
              <a:gd name="connsiteY659" fmla="*/ 603006 h 895572"/>
              <a:gd name="connsiteX660" fmla="*/ 958611 w 1090712"/>
              <a:gd name="connsiteY660" fmla="*/ 600630 h 895572"/>
              <a:gd name="connsiteX661" fmla="*/ 966452 w 1090712"/>
              <a:gd name="connsiteY661" fmla="*/ 598017 h 895572"/>
              <a:gd name="connsiteX662" fmla="*/ 974055 w 1090712"/>
              <a:gd name="connsiteY662" fmla="*/ 595403 h 895572"/>
              <a:gd name="connsiteX663" fmla="*/ 981658 w 1090712"/>
              <a:gd name="connsiteY663" fmla="*/ 591840 h 895572"/>
              <a:gd name="connsiteX664" fmla="*/ 989261 w 1090712"/>
              <a:gd name="connsiteY664" fmla="*/ 588276 h 895572"/>
              <a:gd name="connsiteX665" fmla="*/ 996388 w 1090712"/>
              <a:gd name="connsiteY665" fmla="*/ 584237 h 895572"/>
              <a:gd name="connsiteX666" fmla="*/ 1003041 w 1090712"/>
              <a:gd name="connsiteY666" fmla="*/ 579247 h 895572"/>
              <a:gd name="connsiteX667" fmla="*/ 1009694 w 1090712"/>
              <a:gd name="connsiteY667" fmla="*/ 574495 h 895572"/>
              <a:gd name="connsiteX668" fmla="*/ 1016346 w 1090712"/>
              <a:gd name="connsiteY668" fmla="*/ 569031 h 895572"/>
              <a:gd name="connsiteX669" fmla="*/ 1022998 w 1090712"/>
              <a:gd name="connsiteY669" fmla="*/ 562853 h 895572"/>
              <a:gd name="connsiteX670" fmla="*/ 1029176 w 1090712"/>
              <a:gd name="connsiteY670" fmla="*/ 556676 h 895572"/>
              <a:gd name="connsiteX671" fmla="*/ 1035116 w 1090712"/>
              <a:gd name="connsiteY671" fmla="*/ 549548 h 895572"/>
              <a:gd name="connsiteX672" fmla="*/ 1040818 w 1090712"/>
              <a:gd name="connsiteY672" fmla="*/ 541945 h 895572"/>
              <a:gd name="connsiteX673" fmla="*/ 1046520 w 1090712"/>
              <a:gd name="connsiteY673" fmla="*/ 534342 h 895572"/>
              <a:gd name="connsiteX674" fmla="*/ 1051985 w 1090712"/>
              <a:gd name="connsiteY674" fmla="*/ 526027 h 895572"/>
              <a:gd name="connsiteX675" fmla="*/ 1056737 w 1090712"/>
              <a:gd name="connsiteY675" fmla="*/ 516523 h 895572"/>
              <a:gd name="connsiteX676" fmla="*/ 1061726 w 1090712"/>
              <a:gd name="connsiteY676" fmla="*/ 507257 h 895572"/>
              <a:gd name="connsiteX677" fmla="*/ 1066715 w 1090712"/>
              <a:gd name="connsiteY677" fmla="*/ 497041 h 895572"/>
              <a:gd name="connsiteX678" fmla="*/ 1070992 w 1090712"/>
              <a:gd name="connsiteY678" fmla="*/ 486349 h 895572"/>
              <a:gd name="connsiteX679" fmla="*/ 1075506 w 1090712"/>
              <a:gd name="connsiteY679" fmla="*/ 475182 h 895572"/>
              <a:gd name="connsiteX680" fmla="*/ 1079070 w 1090712"/>
              <a:gd name="connsiteY680" fmla="*/ 462828 h 895572"/>
              <a:gd name="connsiteX681" fmla="*/ 1082634 w 1090712"/>
              <a:gd name="connsiteY681" fmla="*/ 449998 h 895572"/>
              <a:gd name="connsiteX682" fmla="*/ 1084772 w 1090712"/>
              <a:gd name="connsiteY682" fmla="*/ 437405 h 895572"/>
              <a:gd name="connsiteX683" fmla="*/ 1087148 w 1090712"/>
              <a:gd name="connsiteY683" fmla="*/ 425050 h 895572"/>
              <a:gd name="connsiteX684" fmla="*/ 1088811 w 1090712"/>
              <a:gd name="connsiteY684" fmla="*/ 411983 h 895572"/>
              <a:gd name="connsiteX685" fmla="*/ 1089762 w 1090712"/>
              <a:gd name="connsiteY685" fmla="*/ 399628 h 895572"/>
              <a:gd name="connsiteX686" fmla="*/ 1090712 w 1090712"/>
              <a:gd name="connsiteY686" fmla="*/ 386798 h 895572"/>
              <a:gd name="connsiteX687" fmla="*/ 1090712 w 1090712"/>
              <a:gd name="connsiteY687" fmla="*/ 373731 h 895572"/>
              <a:gd name="connsiteX688" fmla="*/ 1090712 w 1090712"/>
              <a:gd name="connsiteY688" fmla="*/ 360901 h 895572"/>
              <a:gd name="connsiteX689" fmla="*/ 1089762 w 1090712"/>
              <a:gd name="connsiteY689" fmla="*/ 348071 h 895572"/>
              <a:gd name="connsiteX690" fmla="*/ 1088811 w 1090712"/>
              <a:gd name="connsiteY690" fmla="*/ 335004 h 895572"/>
              <a:gd name="connsiteX691" fmla="*/ 1088099 w 1090712"/>
              <a:gd name="connsiteY691" fmla="*/ 321698 h 895572"/>
              <a:gd name="connsiteX692" fmla="*/ 1084772 w 1090712"/>
              <a:gd name="connsiteY692" fmla="*/ 295563 h 895572"/>
              <a:gd name="connsiteX693" fmla="*/ 1080971 w 1090712"/>
              <a:gd name="connsiteY693" fmla="*/ 268478 h 895572"/>
              <a:gd name="connsiteX694" fmla="*/ 1078595 w 1090712"/>
              <a:gd name="connsiteY694" fmla="*/ 258262 h 895572"/>
              <a:gd name="connsiteX695" fmla="*/ 1075981 w 1090712"/>
              <a:gd name="connsiteY695" fmla="*/ 248283 h 895572"/>
              <a:gd name="connsiteX696" fmla="*/ 1072417 w 1090712"/>
              <a:gd name="connsiteY696" fmla="*/ 238542 h 895572"/>
              <a:gd name="connsiteX697" fmla="*/ 1069329 w 1090712"/>
              <a:gd name="connsiteY697" fmla="*/ 229275 h 895572"/>
              <a:gd name="connsiteX698" fmla="*/ 1061251 w 1090712"/>
              <a:gd name="connsiteY698" fmla="*/ 210031 h 895572"/>
              <a:gd name="connsiteX699" fmla="*/ 1053173 w 1090712"/>
              <a:gd name="connsiteY699" fmla="*/ 190073 h 895572"/>
              <a:gd name="connsiteX700" fmla="*/ 1051034 w 1090712"/>
              <a:gd name="connsiteY700" fmla="*/ 186034 h 895572"/>
              <a:gd name="connsiteX701" fmla="*/ 1048896 w 1090712"/>
              <a:gd name="connsiteY701" fmla="*/ 182470 h 895572"/>
              <a:gd name="connsiteX702" fmla="*/ 1046045 w 1090712"/>
              <a:gd name="connsiteY702" fmla="*/ 179381 h 895572"/>
              <a:gd name="connsiteX703" fmla="*/ 1043906 w 1090712"/>
              <a:gd name="connsiteY703" fmla="*/ 176768 h 895572"/>
              <a:gd name="connsiteX704" fmla="*/ 1041293 w 1090712"/>
              <a:gd name="connsiteY704" fmla="*/ 174630 h 895572"/>
              <a:gd name="connsiteX705" fmla="*/ 1038680 w 1090712"/>
              <a:gd name="connsiteY705" fmla="*/ 172729 h 895572"/>
              <a:gd name="connsiteX706" fmla="*/ 1035828 w 1090712"/>
              <a:gd name="connsiteY706" fmla="*/ 171303 h 895572"/>
              <a:gd name="connsiteX707" fmla="*/ 1032740 w 1090712"/>
              <a:gd name="connsiteY707" fmla="*/ 170591 h 895572"/>
              <a:gd name="connsiteX708" fmla="*/ 1030126 w 1090712"/>
              <a:gd name="connsiteY708" fmla="*/ 170591 h 895572"/>
              <a:gd name="connsiteX709" fmla="*/ 1027038 w 1090712"/>
              <a:gd name="connsiteY709" fmla="*/ 170591 h 895572"/>
              <a:gd name="connsiteX710" fmla="*/ 1024424 w 1090712"/>
              <a:gd name="connsiteY710" fmla="*/ 171303 h 895572"/>
              <a:gd name="connsiteX711" fmla="*/ 1021335 w 1090712"/>
              <a:gd name="connsiteY711" fmla="*/ 172729 h 895572"/>
              <a:gd name="connsiteX712" fmla="*/ 1018247 w 1090712"/>
              <a:gd name="connsiteY712" fmla="*/ 174867 h 895572"/>
              <a:gd name="connsiteX713" fmla="*/ 1014920 w 1090712"/>
              <a:gd name="connsiteY713" fmla="*/ 177718 h 895572"/>
              <a:gd name="connsiteX714" fmla="*/ 1011832 w 1090712"/>
              <a:gd name="connsiteY714" fmla="*/ 180807 h 895572"/>
              <a:gd name="connsiteX715" fmla="*/ 1008743 w 1090712"/>
              <a:gd name="connsiteY715" fmla="*/ 184846 h 895572"/>
              <a:gd name="connsiteX716" fmla="*/ 991874 w 1090712"/>
              <a:gd name="connsiteY716" fmla="*/ 201240 h 895572"/>
              <a:gd name="connsiteX717" fmla="*/ 983321 w 1090712"/>
              <a:gd name="connsiteY717" fmla="*/ 209318 h 895572"/>
              <a:gd name="connsiteX718" fmla="*/ 974530 w 1090712"/>
              <a:gd name="connsiteY718" fmla="*/ 216683 h 895572"/>
              <a:gd name="connsiteX719" fmla="*/ 965739 w 1090712"/>
              <a:gd name="connsiteY719" fmla="*/ 223811 h 895572"/>
              <a:gd name="connsiteX720" fmla="*/ 956236 w 1090712"/>
              <a:gd name="connsiteY720" fmla="*/ 230226 h 895572"/>
              <a:gd name="connsiteX721" fmla="*/ 946494 w 1090712"/>
              <a:gd name="connsiteY721" fmla="*/ 235928 h 895572"/>
              <a:gd name="connsiteX722" fmla="*/ 941505 w 1090712"/>
              <a:gd name="connsiteY722" fmla="*/ 238066 h 895572"/>
              <a:gd name="connsiteX723" fmla="*/ 936753 w 1090712"/>
              <a:gd name="connsiteY723" fmla="*/ 240442 h 895572"/>
              <a:gd name="connsiteX724" fmla="*/ 932239 w 1090712"/>
              <a:gd name="connsiteY724" fmla="*/ 242581 h 895572"/>
              <a:gd name="connsiteX725" fmla="*/ 928675 w 1090712"/>
              <a:gd name="connsiteY725" fmla="*/ 245669 h 895572"/>
              <a:gd name="connsiteX726" fmla="*/ 925111 w 1090712"/>
              <a:gd name="connsiteY726" fmla="*/ 249233 h 895572"/>
              <a:gd name="connsiteX727" fmla="*/ 922022 w 1090712"/>
              <a:gd name="connsiteY727" fmla="*/ 252797 h 895572"/>
              <a:gd name="connsiteX728" fmla="*/ 919884 w 1090712"/>
              <a:gd name="connsiteY728" fmla="*/ 257311 h 895572"/>
              <a:gd name="connsiteX729" fmla="*/ 918934 w 1090712"/>
              <a:gd name="connsiteY729" fmla="*/ 259925 h 895572"/>
              <a:gd name="connsiteX730" fmla="*/ 918459 w 1090712"/>
              <a:gd name="connsiteY730" fmla="*/ 262538 h 895572"/>
              <a:gd name="connsiteX731" fmla="*/ 918459 w 1090712"/>
              <a:gd name="connsiteY731" fmla="*/ 265389 h 895572"/>
              <a:gd name="connsiteX732" fmla="*/ 918459 w 1090712"/>
              <a:gd name="connsiteY732" fmla="*/ 268003 h 895572"/>
              <a:gd name="connsiteX733" fmla="*/ 918934 w 1090712"/>
              <a:gd name="connsiteY733" fmla="*/ 271091 h 895572"/>
              <a:gd name="connsiteX734" fmla="*/ 919884 w 1090712"/>
              <a:gd name="connsiteY734" fmla="*/ 274180 h 895572"/>
              <a:gd name="connsiteX735" fmla="*/ 921547 w 1090712"/>
              <a:gd name="connsiteY735" fmla="*/ 282258 h 895572"/>
              <a:gd name="connsiteX736" fmla="*/ 922973 w 1090712"/>
              <a:gd name="connsiteY736" fmla="*/ 290574 h 895572"/>
              <a:gd name="connsiteX737" fmla="*/ 923923 w 1090712"/>
              <a:gd name="connsiteY737" fmla="*/ 299127 h 895572"/>
              <a:gd name="connsiteX738" fmla="*/ 924161 w 1090712"/>
              <a:gd name="connsiteY738" fmla="*/ 307443 h 895572"/>
              <a:gd name="connsiteX739" fmla="*/ 924161 w 1090712"/>
              <a:gd name="connsiteY739" fmla="*/ 315996 h 895572"/>
              <a:gd name="connsiteX740" fmla="*/ 923923 w 1090712"/>
              <a:gd name="connsiteY740" fmla="*/ 324550 h 895572"/>
              <a:gd name="connsiteX741" fmla="*/ 922973 w 1090712"/>
              <a:gd name="connsiteY741" fmla="*/ 332865 h 895572"/>
              <a:gd name="connsiteX742" fmla="*/ 922022 w 1090712"/>
              <a:gd name="connsiteY742" fmla="*/ 340943 h 895572"/>
              <a:gd name="connsiteX743" fmla="*/ 920597 w 1090712"/>
              <a:gd name="connsiteY743" fmla="*/ 349259 h 895572"/>
              <a:gd name="connsiteX744" fmla="*/ 918934 w 1090712"/>
              <a:gd name="connsiteY744" fmla="*/ 357812 h 895572"/>
              <a:gd name="connsiteX745" fmla="*/ 914420 w 1090712"/>
              <a:gd name="connsiteY745" fmla="*/ 374681 h 895572"/>
              <a:gd name="connsiteX746" fmla="*/ 909192 w 1090712"/>
              <a:gd name="connsiteY746" fmla="*/ 391075 h 895572"/>
              <a:gd name="connsiteX747" fmla="*/ 903253 w 1090712"/>
              <a:gd name="connsiteY747" fmla="*/ 408182 h 895572"/>
              <a:gd name="connsiteX748" fmla="*/ 903253 w 1090712"/>
              <a:gd name="connsiteY748" fmla="*/ 397965 h 895572"/>
              <a:gd name="connsiteX749" fmla="*/ 904203 w 1090712"/>
              <a:gd name="connsiteY749" fmla="*/ 387274 h 895572"/>
              <a:gd name="connsiteX750" fmla="*/ 906104 w 1090712"/>
              <a:gd name="connsiteY750" fmla="*/ 367078 h 895572"/>
              <a:gd name="connsiteX751" fmla="*/ 907767 w 1090712"/>
              <a:gd name="connsiteY751" fmla="*/ 347596 h 895572"/>
              <a:gd name="connsiteX752" fmla="*/ 908717 w 1090712"/>
              <a:gd name="connsiteY752" fmla="*/ 338567 h 895572"/>
              <a:gd name="connsiteX753" fmla="*/ 908717 w 1090712"/>
              <a:gd name="connsiteY753" fmla="*/ 329777 h 895572"/>
              <a:gd name="connsiteX754" fmla="*/ 908717 w 1090712"/>
              <a:gd name="connsiteY754" fmla="*/ 325738 h 895572"/>
              <a:gd name="connsiteX755" fmla="*/ 907767 w 1090712"/>
              <a:gd name="connsiteY755" fmla="*/ 322649 h 895572"/>
              <a:gd name="connsiteX756" fmla="*/ 906817 w 1090712"/>
              <a:gd name="connsiteY756" fmla="*/ 319560 h 895572"/>
              <a:gd name="connsiteX757" fmla="*/ 905154 w 1090712"/>
              <a:gd name="connsiteY757" fmla="*/ 316471 h 895572"/>
              <a:gd name="connsiteX758" fmla="*/ 903728 w 1090712"/>
              <a:gd name="connsiteY758" fmla="*/ 314096 h 895572"/>
              <a:gd name="connsiteX759" fmla="*/ 901590 w 1090712"/>
              <a:gd name="connsiteY759" fmla="*/ 311957 h 895572"/>
              <a:gd name="connsiteX760" fmla="*/ 897551 w 1090712"/>
              <a:gd name="connsiteY760" fmla="*/ 307443 h 895572"/>
              <a:gd name="connsiteX761" fmla="*/ 895412 w 1090712"/>
              <a:gd name="connsiteY761" fmla="*/ 309344 h 895572"/>
              <a:gd name="connsiteX762" fmla="*/ 892561 w 1090712"/>
              <a:gd name="connsiteY762" fmla="*/ 310769 h 895572"/>
              <a:gd name="connsiteX763" fmla="*/ 887334 w 1090712"/>
              <a:gd name="connsiteY763" fmla="*/ 313383 h 895572"/>
              <a:gd name="connsiteX764" fmla="*/ 884721 w 1090712"/>
              <a:gd name="connsiteY764" fmla="*/ 314096 h 895572"/>
              <a:gd name="connsiteX765" fmla="*/ 882820 w 1090712"/>
              <a:gd name="connsiteY765" fmla="*/ 315521 h 895572"/>
              <a:gd name="connsiteX766" fmla="*/ 881632 w 1090712"/>
              <a:gd name="connsiteY766" fmla="*/ 316947 h 895572"/>
              <a:gd name="connsiteX767" fmla="*/ 881157 w 1090712"/>
              <a:gd name="connsiteY767" fmla="*/ 318610 h 895572"/>
              <a:gd name="connsiteX768" fmla="*/ 872604 w 1090712"/>
              <a:gd name="connsiteY768" fmla="*/ 331915 h 895572"/>
              <a:gd name="connsiteX769" fmla="*/ 864288 w 1090712"/>
              <a:gd name="connsiteY769" fmla="*/ 346646 h 895572"/>
              <a:gd name="connsiteX770" fmla="*/ 856210 w 1090712"/>
              <a:gd name="connsiteY770" fmla="*/ 361376 h 895572"/>
              <a:gd name="connsiteX771" fmla="*/ 847656 w 1090712"/>
              <a:gd name="connsiteY771" fmla="*/ 374681 h 895572"/>
              <a:gd name="connsiteX772" fmla="*/ 841954 w 1090712"/>
              <a:gd name="connsiteY772" fmla="*/ 374681 h 895572"/>
              <a:gd name="connsiteX773" fmla="*/ 846468 w 1090712"/>
              <a:gd name="connsiteY773" fmla="*/ 357812 h 895572"/>
              <a:gd name="connsiteX774" fmla="*/ 850508 w 1090712"/>
              <a:gd name="connsiteY774" fmla="*/ 339518 h 895572"/>
              <a:gd name="connsiteX775" fmla="*/ 854784 w 1090712"/>
              <a:gd name="connsiteY775" fmla="*/ 319560 h 895572"/>
              <a:gd name="connsiteX776" fmla="*/ 858823 w 1090712"/>
              <a:gd name="connsiteY776" fmla="*/ 296514 h 895572"/>
              <a:gd name="connsiteX777" fmla="*/ 848132 w 1090712"/>
              <a:gd name="connsiteY777" fmla="*/ 303879 h 895572"/>
              <a:gd name="connsiteX778" fmla="*/ 840054 w 1090712"/>
              <a:gd name="connsiteY778" fmla="*/ 310294 h 895572"/>
              <a:gd name="connsiteX779" fmla="*/ 833163 w 1090712"/>
              <a:gd name="connsiteY779" fmla="*/ 316947 h 895572"/>
              <a:gd name="connsiteX780" fmla="*/ 825560 w 1090712"/>
              <a:gd name="connsiteY780" fmla="*/ 324550 h 895572"/>
              <a:gd name="connsiteX781" fmla="*/ 823185 w 1090712"/>
              <a:gd name="connsiteY781" fmla="*/ 326688 h 895572"/>
              <a:gd name="connsiteX782" fmla="*/ 821522 w 1090712"/>
              <a:gd name="connsiteY782" fmla="*/ 329301 h 895572"/>
              <a:gd name="connsiteX783" fmla="*/ 817007 w 1090712"/>
              <a:gd name="connsiteY783" fmla="*/ 335954 h 895572"/>
              <a:gd name="connsiteX784" fmla="*/ 812968 w 1090712"/>
              <a:gd name="connsiteY784" fmla="*/ 344032 h 895572"/>
              <a:gd name="connsiteX785" fmla="*/ 808929 w 1090712"/>
              <a:gd name="connsiteY785" fmla="*/ 352585 h 895572"/>
              <a:gd name="connsiteX786" fmla="*/ 809880 w 1090712"/>
              <a:gd name="connsiteY786" fmla="*/ 343557 h 895572"/>
              <a:gd name="connsiteX787" fmla="*/ 811305 w 1090712"/>
              <a:gd name="connsiteY787" fmla="*/ 335479 h 895572"/>
              <a:gd name="connsiteX788" fmla="*/ 812493 w 1090712"/>
              <a:gd name="connsiteY788" fmla="*/ 328826 h 895572"/>
              <a:gd name="connsiteX789" fmla="*/ 814394 w 1090712"/>
              <a:gd name="connsiteY789" fmla="*/ 323124 h 895572"/>
              <a:gd name="connsiteX790" fmla="*/ 816532 w 1090712"/>
              <a:gd name="connsiteY790" fmla="*/ 317659 h 895572"/>
              <a:gd name="connsiteX791" fmla="*/ 819146 w 1090712"/>
              <a:gd name="connsiteY791" fmla="*/ 313383 h 895572"/>
              <a:gd name="connsiteX792" fmla="*/ 822709 w 1090712"/>
              <a:gd name="connsiteY792" fmla="*/ 309344 h 895572"/>
              <a:gd name="connsiteX793" fmla="*/ 826748 w 1090712"/>
              <a:gd name="connsiteY793" fmla="*/ 306255 h 895572"/>
              <a:gd name="connsiteX794" fmla="*/ 832213 w 1090712"/>
              <a:gd name="connsiteY794" fmla="*/ 303166 h 895572"/>
              <a:gd name="connsiteX795" fmla="*/ 838390 w 1090712"/>
              <a:gd name="connsiteY795" fmla="*/ 300315 h 895572"/>
              <a:gd name="connsiteX796" fmla="*/ 845518 w 1090712"/>
              <a:gd name="connsiteY796" fmla="*/ 298177 h 895572"/>
              <a:gd name="connsiteX797" fmla="*/ 854071 w 1090712"/>
              <a:gd name="connsiteY797" fmla="*/ 295563 h 895572"/>
              <a:gd name="connsiteX798" fmla="*/ 875217 w 1090712"/>
              <a:gd name="connsiteY798" fmla="*/ 290574 h 895572"/>
              <a:gd name="connsiteX799" fmla="*/ 903253 w 1090712"/>
              <a:gd name="connsiteY799" fmla="*/ 285347 h 895572"/>
              <a:gd name="connsiteX800" fmla="*/ 886384 w 1090712"/>
              <a:gd name="connsiteY800" fmla="*/ 268478 h 895572"/>
              <a:gd name="connsiteX801" fmla="*/ 879731 w 1090712"/>
              <a:gd name="connsiteY801" fmla="*/ 270141 h 895572"/>
              <a:gd name="connsiteX802" fmla="*/ 873079 w 1090712"/>
              <a:gd name="connsiteY802" fmla="*/ 271091 h 895572"/>
              <a:gd name="connsiteX803" fmla="*/ 867376 w 1090712"/>
              <a:gd name="connsiteY803" fmla="*/ 271567 h 895572"/>
              <a:gd name="connsiteX804" fmla="*/ 862387 w 1090712"/>
              <a:gd name="connsiteY804" fmla="*/ 271091 h 895572"/>
              <a:gd name="connsiteX805" fmla="*/ 857398 w 1090712"/>
              <a:gd name="connsiteY805" fmla="*/ 269666 h 895572"/>
              <a:gd name="connsiteX806" fmla="*/ 853596 w 1090712"/>
              <a:gd name="connsiteY806" fmla="*/ 268003 h 895572"/>
              <a:gd name="connsiteX807" fmla="*/ 849557 w 1090712"/>
              <a:gd name="connsiteY807" fmla="*/ 265627 h 895572"/>
              <a:gd name="connsiteX808" fmla="*/ 846468 w 1090712"/>
              <a:gd name="connsiteY808" fmla="*/ 262538 h 895572"/>
              <a:gd name="connsiteX809" fmla="*/ 843380 w 1090712"/>
              <a:gd name="connsiteY809" fmla="*/ 259450 h 895572"/>
              <a:gd name="connsiteX810" fmla="*/ 840529 w 1090712"/>
              <a:gd name="connsiteY810" fmla="*/ 255411 h 895572"/>
              <a:gd name="connsiteX811" fmla="*/ 838390 w 1090712"/>
              <a:gd name="connsiteY811" fmla="*/ 251134 h 895572"/>
              <a:gd name="connsiteX812" fmla="*/ 836490 w 1090712"/>
              <a:gd name="connsiteY812" fmla="*/ 246620 h 895572"/>
              <a:gd name="connsiteX813" fmla="*/ 834827 w 1090712"/>
              <a:gd name="connsiteY813" fmla="*/ 241155 h 895572"/>
              <a:gd name="connsiteX814" fmla="*/ 833401 w 1090712"/>
              <a:gd name="connsiteY814" fmla="*/ 235453 h 895572"/>
              <a:gd name="connsiteX815" fmla="*/ 831263 w 1090712"/>
              <a:gd name="connsiteY815" fmla="*/ 223336 h 895572"/>
              <a:gd name="connsiteX816" fmla="*/ 897551 w 1090712"/>
              <a:gd name="connsiteY816" fmla="*/ 206942 h 895572"/>
              <a:gd name="connsiteX817" fmla="*/ 888997 w 1090712"/>
              <a:gd name="connsiteY817" fmla="*/ 194112 h 895572"/>
              <a:gd name="connsiteX818" fmla="*/ 880682 w 1090712"/>
              <a:gd name="connsiteY818" fmla="*/ 181282 h 895572"/>
              <a:gd name="connsiteX819" fmla="*/ 871416 w 1090712"/>
              <a:gd name="connsiteY819" fmla="*/ 168690 h 895572"/>
              <a:gd name="connsiteX820" fmla="*/ 866901 w 1090712"/>
              <a:gd name="connsiteY820" fmla="*/ 162988 h 895572"/>
              <a:gd name="connsiteX821" fmla="*/ 861437 w 1090712"/>
              <a:gd name="connsiteY821" fmla="*/ 157048 h 895572"/>
              <a:gd name="connsiteX822" fmla="*/ 856210 w 1090712"/>
              <a:gd name="connsiteY822" fmla="*/ 151821 h 895572"/>
              <a:gd name="connsiteX823" fmla="*/ 850745 w 1090712"/>
              <a:gd name="connsiteY823" fmla="*/ 146831 h 895572"/>
              <a:gd name="connsiteX824" fmla="*/ 844568 w 1090712"/>
              <a:gd name="connsiteY824" fmla="*/ 142555 h 895572"/>
              <a:gd name="connsiteX825" fmla="*/ 838390 w 1090712"/>
              <a:gd name="connsiteY825" fmla="*/ 138516 h 895572"/>
              <a:gd name="connsiteX826" fmla="*/ 831738 w 1090712"/>
              <a:gd name="connsiteY826" fmla="*/ 134952 h 895572"/>
              <a:gd name="connsiteX827" fmla="*/ 824610 w 1090712"/>
              <a:gd name="connsiteY827" fmla="*/ 132338 h 895572"/>
              <a:gd name="connsiteX828" fmla="*/ 817007 w 1090712"/>
              <a:gd name="connsiteY828" fmla="*/ 129963 h 895572"/>
              <a:gd name="connsiteX829" fmla="*/ 808929 w 1090712"/>
              <a:gd name="connsiteY829" fmla="*/ 128774 h 895572"/>
              <a:gd name="connsiteX830" fmla="*/ 806791 w 1090712"/>
              <a:gd name="connsiteY830" fmla="*/ 128299 h 895572"/>
              <a:gd name="connsiteX831" fmla="*/ 804652 w 1090712"/>
              <a:gd name="connsiteY831" fmla="*/ 127824 h 895572"/>
              <a:gd name="connsiteX832" fmla="*/ 802752 w 1090712"/>
              <a:gd name="connsiteY832" fmla="*/ 126399 h 895572"/>
              <a:gd name="connsiteX833" fmla="*/ 801089 w 1090712"/>
              <a:gd name="connsiteY833" fmla="*/ 125211 h 895572"/>
              <a:gd name="connsiteX834" fmla="*/ 799663 w 1090712"/>
              <a:gd name="connsiteY834" fmla="*/ 123310 h 895572"/>
              <a:gd name="connsiteX835" fmla="*/ 798713 w 1090712"/>
              <a:gd name="connsiteY835" fmla="*/ 121647 h 895572"/>
              <a:gd name="connsiteX836" fmla="*/ 798000 w 1090712"/>
              <a:gd name="connsiteY836" fmla="*/ 119271 h 895572"/>
              <a:gd name="connsiteX837" fmla="*/ 798000 w 1090712"/>
              <a:gd name="connsiteY837" fmla="*/ 117608 h 895572"/>
              <a:gd name="connsiteX838" fmla="*/ 785408 w 1090712"/>
              <a:gd name="connsiteY838" fmla="*/ 106916 h 895572"/>
              <a:gd name="connsiteX839" fmla="*/ 772578 w 1090712"/>
              <a:gd name="connsiteY839" fmla="*/ 95749 h 895572"/>
              <a:gd name="connsiteX840" fmla="*/ 747155 w 1090712"/>
              <a:gd name="connsiteY840" fmla="*/ 72703 h 895572"/>
              <a:gd name="connsiteX841" fmla="*/ 733850 w 1090712"/>
              <a:gd name="connsiteY841" fmla="*/ 61061 h 895572"/>
              <a:gd name="connsiteX842" fmla="*/ 720545 w 1090712"/>
              <a:gd name="connsiteY842" fmla="*/ 49894 h 895572"/>
              <a:gd name="connsiteX843" fmla="*/ 706765 w 1090712"/>
              <a:gd name="connsiteY843" fmla="*/ 38728 h 895572"/>
              <a:gd name="connsiteX844" fmla="*/ 692510 w 1090712"/>
              <a:gd name="connsiteY844" fmla="*/ 28036 h 895572"/>
              <a:gd name="connsiteX845" fmla="*/ 679442 w 1090712"/>
              <a:gd name="connsiteY845" fmla="*/ 21859 h 895572"/>
              <a:gd name="connsiteX846" fmla="*/ 666137 w 1090712"/>
              <a:gd name="connsiteY846" fmla="*/ 16632 h 895572"/>
              <a:gd name="connsiteX847" fmla="*/ 652832 w 1090712"/>
              <a:gd name="connsiteY847" fmla="*/ 11642 h 895572"/>
              <a:gd name="connsiteX848" fmla="*/ 639527 w 1090712"/>
              <a:gd name="connsiteY848" fmla="*/ 7603 h 895572"/>
              <a:gd name="connsiteX849" fmla="*/ 626222 w 1090712"/>
              <a:gd name="connsiteY849" fmla="*/ 4514 h 895572"/>
              <a:gd name="connsiteX850" fmla="*/ 612917 w 1090712"/>
              <a:gd name="connsiteY850" fmla="*/ 1901 h 895572"/>
              <a:gd name="connsiteX851" fmla="*/ 599374 w 1090712"/>
              <a:gd name="connsiteY851" fmla="*/ 475 h 8955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Lst>
            <a:rect l="l" t="t" r="r" b="b"/>
            <a:pathLst>
              <a:path w="1090712" h="895572">
                <a:moveTo>
                  <a:pt x="603413" y="721327"/>
                </a:moveTo>
                <a:lnTo>
                  <a:pt x="578466" y="770746"/>
                </a:lnTo>
                <a:lnTo>
                  <a:pt x="553519" y="818264"/>
                </a:lnTo>
                <a:lnTo>
                  <a:pt x="528334" y="865069"/>
                </a:lnTo>
                <a:lnTo>
                  <a:pt x="511825" y="895572"/>
                </a:lnTo>
                <a:lnTo>
                  <a:pt x="624528" y="895572"/>
                </a:lnTo>
                <a:lnTo>
                  <a:pt x="624796" y="894768"/>
                </a:lnTo>
                <a:lnTo>
                  <a:pt x="625271" y="891679"/>
                </a:lnTo>
                <a:lnTo>
                  <a:pt x="625747" y="889066"/>
                </a:lnTo>
                <a:lnTo>
                  <a:pt x="625747" y="860555"/>
                </a:lnTo>
                <a:lnTo>
                  <a:pt x="624796" y="833945"/>
                </a:lnTo>
                <a:lnTo>
                  <a:pt x="624321" y="820877"/>
                </a:lnTo>
                <a:lnTo>
                  <a:pt x="623608" y="808047"/>
                </a:lnTo>
                <a:lnTo>
                  <a:pt x="621708" y="795218"/>
                </a:lnTo>
                <a:lnTo>
                  <a:pt x="620044" y="782625"/>
                </a:lnTo>
                <a:lnTo>
                  <a:pt x="616005" y="766707"/>
                </a:lnTo>
                <a:lnTo>
                  <a:pt x="611966" y="751976"/>
                </a:lnTo>
                <a:lnTo>
                  <a:pt x="607452" y="737245"/>
                </a:lnTo>
                <a:close/>
                <a:moveTo>
                  <a:pt x="698212" y="530778"/>
                </a:moveTo>
                <a:lnTo>
                  <a:pt x="693460" y="534818"/>
                </a:lnTo>
                <a:lnTo>
                  <a:pt x="688471" y="538857"/>
                </a:lnTo>
                <a:lnTo>
                  <a:pt x="678254" y="546935"/>
                </a:lnTo>
                <a:lnTo>
                  <a:pt x="669226" y="553587"/>
                </a:lnTo>
                <a:lnTo>
                  <a:pt x="663048" y="558814"/>
                </a:lnTo>
                <a:lnTo>
                  <a:pt x="663048" y="556676"/>
                </a:lnTo>
                <a:lnTo>
                  <a:pt x="663523" y="554538"/>
                </a:lnTo>
                <a:lnTo>
                  <a:pt x="665424" y="550498"/>
                </a:lnTo>
                <a:lnTo>
                  <a:pt x="668038" y="546459"/>
                </a:lnTo>
                <a:lnTo>
                  <a:pt x="671602" y="542420"/>
                </a:lnTo>
                <a:lnTo>
                  <a:pt x="676829" y="538857"/>
                </a:lnTo>
                <a:lnTo>
                  <a:pt x="682768" y="535768"/>
                </a:lnTo>
                <a:lnTo>
                  <a:pt x="689896" y="533154"/>
                </a:lnTo>
                <a:close/>
                <a:moveTo>
                  <a:pt x="654257" y="302216"/>
                </a:moveTo>
                <a:lnTo>
                  <a:pt x="651882" y="302691"/>
                </a:lnTo>
                <a:lnTo>
                  <a:pt x="649268" y="303166"/>
                </a:lnTo>
                <a:lnTo>
                  <a:pt x="647130" y="304354"/>
                </a:lnTo>
                <a:lnTo>
                  <a:pt x="644516" y="306255"/>
                </a:lnTo>
                <a:lnTo>
                  <a:pt x="642140" y="307918"/>
                </a:lnTo>
                <a:lnTo>
                  <a:pt x="640002" y="310294"/>
                </a:lnTo>
                <a:lnTo>
                  <a:pt x="638101" y="312432"/>
                </a:lnTo>
                <a:lnTo>
                  <a:pt x="636913" y="314571"/>
                </a:lnTo>
                <a:lnTo>
                  <a:pt x="635963" y="316946"/>
                </a:lnTo>
                <a:lnTo>
                  <a:pt x="635963" y="319085"/>
                </a:lnTo>
                <a:lnTo>
                  <a:pt x="636913" y="321223"/>
                </a:lnTo>
                <a:lnTo>
                  <a:pt x="637626" y="324074"/>
                </a:lnTo>
                <a:lnTo>
                  <a:pt x="639527" y="326688"/>
                </a:lnTo>
                <a:lnTo>
                  <a:pt x="643091" y="331677"/>
                </a:lnTo>
                <a:lnTo>
                  <a:pt x="647130" y="335954"/>
                </a:lnTo>
                <a:lnTo>
                  <a:pt x="655920" y="330727"/>
                </a:lnTo>
                <a:lnTo>
                  <a:pt x="663999" y="324787"/>
                </a:lnTo>
                <a:lnTo>
                  <a:pt x="679917" y="313383"/>
                </a:lnTo>
                <a:lnTo>
                  <a:pt x="676354" y="311007"/>
                </a:lnTo>
                <a:lnTo>
                  <a:pt x="672790" y="308393"/>
                </a:lnTo>
                <a:lnTo>
                  <a:pt x="668988" y="306730"/>
                </a:lnTo>
                <a:lnTo>
                  <a:pt x="664949" y="304829"/>
                </a:lnTo>
                <a:lnTo>
                  <a:pt x="660910" y="303641"/>
                </a:lnTo>
                <a:lnTo>
                  <a:pt x="657346" y="302691"/>
                </a:lnTo>
                <a:close/>
                <a:moveTo>
                  <a:pt x="696549" y="252322"/>
                </a:moveTo>
                <a:lnTo>
                  <a:pt x="696786" y="259925"/>
                </a:lnTo>
                <a:lnTo>
                  <a:pt x="698212" y="266102"/>
                </a:lnTo>
                <a:lnTo>
                  <a:pt x="700113" y="272042"/>
                </a:lnTo>
                <a:lnTo>
                  <a:pt x="701776" y="276794"/>
                </a:lnTo>
                <a:lnTo>
                  <a:pt x="704389" y="280833"/>
                </a:lnTo>
                <a:lnTo>
                  <a:pt x="707240" y="284397"/>
                </a:lnTo>
                <a:lnTo>
                  <a:pt x="710329" y="287010"/>
                </a:lnTo>
                <a:lnTo>
                  <a:pt x="713418" y="289624"/>
                </a:lnTo>
                <a:lnTo>
                  <a:pt x="716506" y="291524"/>
                </a:lnTo>
                <a:lnTo>
                  <a:pt x="719595" y="293187"/>
                </a:lnTo>
                <a:lnTo>
                  <a:pt x="725772" y="295088"/>
                </a:lnTo>
                <a:lnTo>
                  <a:pt x="731237" y="296514"/>
                </a:lnTo>
                <a:lnTo>
                  <a:pt x="734801" y="296751"/>
                </a:lnTo>
                <a:lnTo>
                  <a:pt x="722209" y="303879"/>
                </a:lnTo>
                <a:lnTo>
                  <a:pt x="710804" y="311007"/>
                </a:lnTo>
                <a:lnTo>
                  <a:pt x="688471" y="324787"/>
                </a:lnTo>
                <a:lnTo>
                  <a:pt x="667563" y="339043"/>
                </a:lnTo>
                <a:lnTo>
                  <a:pt x="646179" y="352823"/>
                </a:lnTo>
                <a:lnTo>
                  <a:pt x="620044" y="313383"/>
                </a:lnTo>
                <a:lnTo>
                  <a:pt x="617668" y="312432"/>
                </a:lnTo>
                <a:lnTo>
                  <a:pt x="615055" y="312432"/>
                </a:lnTo>
                <a:lnTo>
                  <a:pt x="612441" y="313383"/>
                </a:lnTo>
                <a:lnTo>
                  <a:pt x="609353" y="314095"/>
                </a:lnTo>
                <a:lnTo>
                  <a:pt x="602938" y="316946"/>
                </a:lnTo>
                <a:lnTo>
                  <a:pt x="599849" y="317659"/>
                </a:lnTo>
                <a:lnTo>
                  <a:pt x="596760" y="318610"/>
                </a:lnTo>
                <a:lnTo>
                  <a:pt x="607927" y="307205"/>
                </a:lnTo>
                <a:lnTo>
                  <a:pt x="618619" y="295088"/>
                </a:lnTo>
                <a:lnTo>
                  <a:pt x="623846" y="289386"/>
                </a:lnTo>
                <a:lnTo>
                  <a:pt x="629786" y="283921"/>
                </a:lnTo>
                <a:lnTo>
                  <a:pt x="635963" y="278694"/>
                </a:lnTo>
                <a:lnTo>
                  <a:pt x="642140" y="273705"/>
                </a:lnTo>
                <a:lnTo>
                  <a:pt x="648793" y="269191"/>
                </a:lnTo>
                <a:lnTo>
                  <a:pt x="655446" y="265627"/>
                </a:lnTo>
                <a:lnTo>
                  <a:pt x="662098" y="263013"/>
                </a:lnTo>
                <a:lnTo>
                  <a:pt x="668988" y="260400"/>
                </a:lnTo>
                <a:lnTo>
                  <a:pt x="682768" y="256361"/>
                </a:lnTo>
                <a:close/>
                <a:moveTo>
                  <a:pt x="1030602" y="200289"/>
                </a:moveTo>
                <a:lnTo>
                  <a:pt x="1027513" y="207892"/>
                </a:lnTo>
                <a:lnTo>
                  <a:pt x="1023949" y="214545"/>
                </a:lnTo>
                <a:lnTo>
                  <a:pt x="1019910" y="221197"/>
                </a:lnTo>
                <a:lnTo>
                  <a:pt x="1015396" y="226899"/>
                </a:lnTo>
                <a:lnTo>
                  <a:pt x="1011119" y="232839"/>
                </a:lnTo>
                <a:lnTo>
                  <a:pt x="1006130" y="237591"/>
                </a:lnTo>
                <a:lnTo>
                  <a:pt x="1001140" y="242105"/>
                </a:lnTo>
                <a:lnTo>
                  <a:pt x="996388" y="246144"/>
                </a:lnTo>
                <a:lnTo>
                  <a:pt x="990924" y="249708"/>
                </a:lnTo>
                <a:lnTo>
                  <a:pt x="985697" y="252797"/>
                </a:lnTo>
                <a:lnTo>
                  <a:pt x="980232" y="254935"/>
                </a:lnTo>
                <a:lnTo>
                  <a:pt x="975005" y="256836"/>
                </a:lnTo>
                <a:lnTo>
                  <a:pt x="969541" y="258262"/>
                </a:lnTo>
                <a:lnTo>
                  <a:pt x="963839" y="258499"/>
                </a:lnTo>
                <a:lnTo>
                  <a:pt x="958612" y="258499"/>
                </a:lnTo>
                <a:lnTo>
                  <a:pt x="953622" y="257786"/>
                </a:lnTo>
                <a:lnTo>
                  <a:pt x="970966" y="244006"/>
                </a:lnTo>
                <a:lnTo>
                  <a:pt x="990211" y="229275"/>
                </a:lnTo>
                <a:lnTo>
                  <a:pt x="1010169" y="214069"/>
                </a:lnTo>
                <a:lnTo>
                  <a:pt x="1020385" y="206942"/>
                </a:lnTo>
                <a:close/>
                <a:moveTo>
                  <a:pt x="389581" y="176768"/>
                </a:moveTo>
                <a:lnTo>
                  <a:pt x="397422" y="177243"/>
                </a:lnTo>
                <a:lnTo>
                  <a:pt x="414766" y="178906"/>
                </a:lnTo>
                <a:lnTo>
                  <a:pt x="405500" y="179856"/>
                </a:lnTo>
                <a:lnTo>
                  <a:pt x="396946" y="181995"/>
                </a:lnTo>
                <a:lnTo>
                  <a:pt x="389581" y="184371"/>
                </a:lnTo>
                <a:lnTo>
                  <a:pt x="381978" y="186984"/>
                </a:lnTo>
                <a:lnTo>
                  <a:pt x="375326" y="190548"/>
                </a:lnTo>
                <a:lnTo>
                  <a:pt x="368911" y="194112"/>
                </a:lnTo>
                <a:lnTo>
                  <a:pt x="363208" y="198626"/>
                </a:lnTo>
                <a:lnTo>
                  <a:pt x="357981" y="202903"/>
                </a:lnTo>
                <a:lnTo>
                  <a:pt x="352517" y="208367"/>
                </a:lnTo>
                <a:lnTo>
                  <a:pt x="348003" y="214070"/>
                </a:lnTo>
                <a:lnTo>
                  <a:pt x="343726" y="220247"/>
                </a:lnTo>
                <a:lnTo>
                  <a:pt x="339687" y="226662"/>
                </a:lnTo>
                <a:lnTo>
                  <a:pt x="335648" y="233790"/>
                </a:lnTo>
                <a:lnTo>
                  <a:pt x="332559" y="240917"/>
                </a:lnTo>
                <a:lnTo>
                  <a:pt x="328995" y="248758"/>
                </a:lnTo>
                <a:lnTo>
                  <a:pt x="325907" y="256836"/>
                </a:lnTo>
                <a:lnTo>
                  <a:pt x="325432" y="252797"/>
                </a:lnTo>
                <a:lnTo>
                  <a:pt x="324956" y="248283"/>
                </a:lnTo>
                <a:lnTo>
                  <a:pt x="323056" y="239492"/>
                </a:lnTo>
                <a:lnTo>
                  <a:pt x="320917" y="229275"/>
                </a:lnTo>
                <a:lnTo>
                  <a:pt x="320442" y="223811"/>
                </a:lnTo>
                <a:lnTo>
                  <a:pt x="319967" y="217633"/>
                </a:lnTo>
                <a:lnTo>
                  <a:pt x="314740" y="217633"/>
                </a:lnTo>
                <a:lnTo>
                  <a:pt x="302148" y="243056"/>
                </a:lnTo>
                <a:lnTo>
                  <a:pt x="289793" y="267528"/>
                </a:lnTo>
                <a:lnTo>
                  <a:pt x="277438" y="291049"/>
                </a:lnTo>
                <a:lnTo>
                  <a:pt x="264371" y="312907"/>
                </a:lnTo>
                <a:lnTo>
                  <a:pt x="267459" y="295088"/>
                </a:lnTo>
                <a:lnTo>
                  <a:pt x="271023" y="279170"/>
                </a:lnTo>
                <a:lnTo>
                  <a:pt x="274587" y="263964"/>
                </a:lnTo>
                <a:lnTo>
                  <a:pt x="279101" y="250183"/>
                </a:lnTo>
                <a:lnTo>
                  <a:pt x="284091" y="238066"/>
                </a:lnTo>
                <a:lnTo>
                  <a:pt x="289318" y="226900"/>
                </a:lnTo>
                <a:lnTo>
                  <a:pt x="292406" y="221673"/>
                </a:lnTo>
                <a:lnTo>
                  <a:pt x="295495" y="217158"/>
                </a:lnTo>
                <a:lnTo>
                  <a:pt x="298584" y="212406"/>
                </a:lnTo>
                <a:lnTo>
                  <a:pt x="302148" y="208367"/>
                </a:lnTo>
                <a:lnTo>
                  <a:pt x="305711" y="204328"/>
                </a:lnTo>
                <a:lnTo>
                  <a:pt x="309275" y="200765"/>
                </a:lnTo>
                <a:lnTo>
                  <a:pt x="313314" y="197201"/>
                </a:lnTo>
                <a:lnTo>
                  <a:pt x="317354" y="194112"/>
                </a:lnTo>
                <a:lnTo>
                  <a:pt x="321868" y="191498"/>
                </a:lnTo>
                <a:lnTo>
                  <a:pt x="326382" y="188647"/>
                </a:lnTo>
                <a:lnTo>
                  <a:pt x="330659" y="186509"/>
                </a:lnTo>
                <a:lnTo>
                  <a:pt x="335648" y="184371"/>
                </a:lnTo>
                <a:lnTo>
                  <a:pt x="340637" y="182470"/>
                </a:lnTo>
                <a:lnTo>
                  <a:pt x="345864" y="181282"/>
                </a:lnTo>
                <a:lnTo>
                  <a:pt x="351091" y="179856"/>
                </a:lnTo>
                <a:lnTo>
                  <a:pt x="357031" y="178431"/>
                </a:lnTo>
                <a:lnTo>
                  <a:pt x="368911" y="177243"/>
                </a:lnTo>
                <a:lnTo>
                  <a:pt x="381978" y="176768"/>
                </a:lnTo>
                <a:close/>
                <a:moveTo>
                  <a:pt x="609353" y="174629"/>
                </a:moveTo>
                <a:lnTo>
                  <a:pt x="602463" y="180807"/>
                </a:lnTo>
                <a:lnTo>
                  <a:pt x="596285" y="187459"/>
                </a:lnTo>
                <a:lnTo>
                  <a:pt x="583931" y="201715"/>
                </a:lnTo>
                <a:lnTo>
                  <a:pt x="571101" y="215495"/>
                </a:lnTo>
                <a:lnTo>
                  <a:pt x="564686" y="222148"/>
                </a:lnTo>
                <a:lnTo>
                  <a:pt x="558508" y="228325"/>
                </a:lnTo>
                <a:lnTo>
                  <a:pt x="557558" y="223335"/>
                </a:lnTo>
                <a:lnTo>
                  <a:pt x="557083" y="219059"/>
                </a:lnTo>
                <a:lnTo>
                  <a:pt x="557083" y="215020"/>
                </a:lnTo>
                <a:lnTo>
                  <a:pt x="557558" y="210981"/>
                </a:lnTo>
                <a:lnTo>
                  <a:pt x="558508" y="207417"/>
                </a:lnTo>
                <a:lnTo>
                  <a:pt x="560409" y="203853"/>
                </a:lnTo>
                <a:lnTo>
                  <a:pt x="562072" y="200764"/>
                </a:lnTo>
                <a:lnTo>
                  <a:pt x="564686" y="197676"/>
                </a:lnTo>
                <a:lnTo>
                  <a:pt x="567774" y="194587"/>
                </a:lnTo>
                <a:lnTo>
                  <a:pt x="571813" y="191973"/>
                </a:lnTo>
                <a:lnTo>
                  <a:pt x="576328" y="188647"/>
                </a:lnTo>
                <a:lnTo>
                  <a:pt x="581317" y="186034"/>
                </a:lnTo>
                <a:lnTo>
                  <a:pt x="587019" y="183420"/>
                </a:lnTo>
                <a:lnTo>
                  <a:pt x="593672" y="180332"/>
                </a:lnTo>
                <a:close/>
                <a:moveTo>
                  <a:pt x="586544" y="0"/>
                </a:moveTo>
                <a:lnTo>
                  <a:pt x="570150" y="2851"/>
                </a:lnTo>
                <a:lnTo>
                  <a:pt x="553519" y="5940"/>
                </a:lnTo>
                <a:lnTo>
                  <a:pt x="536650" y="10454"/>
                </a:lnTo>
                <a:lnTo>
                  <a:pt x="520256" y="14731"/>
                </a:lnTo>
                <a:lnTo>
                  <a:pt x="486993" y="24472"/>
                </a:lnTo>
                <a:lnTo>
                  <a:pt x="469887" y="28986"/>
                </a:lnTo>
                <a:lnTo>
                  <a:pt x="453493" y="33500"/>
                </a:lnTo>
                <a:lnTo>
                  <a:pt x="438762" y="40153"/>
                </a:lnTo>
                <a:lnTo>
                  <a:pt x="424507" y="47281"/>
                </a:lnTo>
                <a:lnTo>
                  <a:pt x="417379" y="51320"/>
                </a:lnTo>
                <a:lnTo>
                  <a:pt x="410727" y="55834"/>
                </a:lnTo>
                <a:lnTo>
                  <a:pt x="403599" y="60111"/>
                </a:lnTo>
                <a:lnTo>
                  <a:pt x="397422" y="65100"/>
                </a:lnTo>
                <a:lnTo>
                  <a:pt x="390769" y="69852"/>
                </a:lnTo>
                <a:lnTo>
                  <a:pt x="384592" y="75792"/>
                </a:lnTo>
                <a:lnTo>
                  <a:pt x="378889" y="81494"/>
                </a:lnTo>
                <a:lnTo>
                  <a:pt x="372950" y="87671"/>
                </a:lnTo>
                <a:lnTo>
                  <a:pt x="367723" y="94324"/>
                </a:lnTo>
                <a:lnTo>
                  <a:pt x="362733" y="101452"/>
                </a:lnTo>
                <a:lnTo>
                  <a:pt x="357981" y="109055"/>
                </a:lnTo>
                <a:lnTo>
                  <a:pt x="353467" y="117608"/>
                </a:lnTo>
                <a:lnTo>
                  <a:pt x="409064" y="117608"/>
                </a:lnTo>
                <a:lnTo>
                  <a:pt x="406925" y="119271"/>
                </a:lnTo>
                <a:lnTo>
                  <a:pt x="404074" y="121647"/>
                </a:lnTo>
                <a:lnTo>
                  <a:pt x="400510" y="123310"/>
                </a:lnTo>
                <a:lnTo>
                  <a:pt x="397422" y="125211"/>
                </a:lnTo>
                <a:lnTo>
                  <a:pt x="393383" y="126399"/>
                </a:lnTo>
                <a:lnTo>
                  <a:pt x="389581" y="127824"/>
                </a:lnTo>
                <a:lnTo>
                  <a:pt x="385542" y="128299"/>
                </a:lnTo>
                <a:lnTo>
                  <a:pt x="381503" y="128774"/>
                </a:lnTo>
                <a:lnTo>
                  <a:pt x="375326" y="130438"/>
                </a:lnTo>
                <a:lnTo>
                  <a:pt x="368435" y="131863"/>
                </a:lnTo>
                <a:lnTo>
                  <a:pt x="361783" y="133051"/>
                </a:lnTo>
                <a:lnTo>
                  <a:pt x="355606" y="134001"/>
                </a:lnTo>
                <a:lnTo>
                  <a:pt x="342300" y="135427"/>
                </a:lnTo>
                <a:lnTo>
                  <a:pt x="329471" y="137090"/>
                </a:lnTo>
                <a:lnTo>
                  <a:pt x="322818" y="138040"/>
                </a:lnTo>
                <a:lnTo>
                  <a:pt x="316403" y="139704"/>
                </a:lnTo>
                <a:lnTo>
                  <a:pt x="310226" y="141604"/>
                </a:lnTo>
                <a:lnTo>
                  <a:pt x="304048" y="144218"/>
                </a:lnTo>
                <a:lnTo>
                  <a:pt x="298346" y="147307"/>
                </a:lnTo>
                <a:lnTo>
                  <a:pt x="292406" y="151346"/>
                </a:lnTo>
                <a:lnTo>
                  <a:pt x="286704" y="156335"/>
                </a:lnTo>
                <a:lnTo>
                  <a:pt x="281240" y="162037"/>
                </a:lnTo>
                <a:lnTo>
                  <a:pt x="262232" y="182945"/>
                </a:lnTo>
                <a:lnTo>
                  <a:pt x="242987" y="203378"/>
                </a:lnTo>
                <a:lnTo>
                  <a:pt x="203547" y="244006"/>
                </a:lnTo>
                <a:lnTo>
                  <a:pt x="183827" y="264439"/>
                </a:lnTo>
                <a:lnTo>
                  <a:pt x="164345" y="285822"/>
                </a:lnTo>
                <a:lnTo>
                  <a:pt x="144862" y="307443"/>
                </a:lnTo>
                <a:lnTo>
                  <a:pt x="126093" y="329777"/>
                </a:lnTo>
                <a:lnTo>
                  <a:pt x="122054" y="335004"/>
                </a:lnTo>
                <a:lnTo>
                  <a:pt x="118015" y="340468"/>
                </a:lnTo>
                <a:lnTo>
                  <a:pt x="110887" y="352110"/>
                </a:lnTo>
                <a:lnTo>
                  <a:pt x="104709" y="363514"/>
                </a:lnTo>
                <a:lnTo>
                  <a:pt x="99007" y="375156"/>
                </a:lnTo>
                <a:lnTo>
                  <a:pt x="87840" y="400103"/>
                </a:lnTo>
                <a:lnTo>
                  <a:pt x="82138" y="412458"/>
                </a:lnTo>
                <a:lnTo>
                  <a:pt x="75723" y="425050"/>
                </a:lnTo>
                <a:lnTo>
                  <a:pt x="75723" y="429802"/>
                </a:lnTo>
                <a:lnTo>
                  <a:pt x="76674" y="436217"/>
                </a:lnTo>
                <a:lnTo>
                  <a:pt x="77149" y="439306"/>
                </a:lnTo>
                <a:lnTo>
                  <a:pt x="78574" y="442395"/>
                </a:lnTo>
                <a:lnTo>
                  <a:pt x="79762" y="445008"/>
                </a:lnTo>
                <a:lnTo>
                  <a:pt x="81663" y="447147"/>
                </a:lnTo>
                <a:lnTo>
                  <a:pt x="94018" y="468055"/>
                </a:lnTo>
                <a:lnTo>
                  <a:pt x="106848" y="488963"/>
                </a:lnTo>
                <a:lnTo>
                  <a:pt x="113975" y="499654"/>
                </a:lnTo>
                <a:lnTo>
                  <a:pt x="121103" y="510346"/>
                </a:lnTo>
                <a:lnTo>
                  <a:pt x="128706" y="520562"/>
                </a:lnTo>
                <a:lnTo>
                  <a:pt x="137259" y="531254"/>
                </a:lnTo>
                <a:lnTo>
                  <a:pt x="149614" y="514385"/>
                </a:lnTo>
                <a:lnTo>
                  <a:pt x="162206" y="498466"/>
                </a:lnTo>
                <a:lnTo>
                  <a:pt x="174561" y="483260"/>
                </a:lnTo>
                <a:lnTo>
                  <a:pt x="180739" y="476133"/>
                </a:lnTo>
                <a:lnTo>
                  <a:pt x="186916" y="469480"/>
                </a:lnTo>
                <a:lnTo>
                  <a:pt x="182639" y="482310"/>
                </a:lnTo>
                <a:lnTo>
                  <a:pt x="178125" y="495615"/>
                </a:lnTo>
                <a:lnTo>
                  <a:pt x="172423" y="509871"/>
                </a:lnTo>
                <a:lnTo>
                  <a:pt x="164820" y="525552"/>
                </a:lnTo>
                <a:lnTo>
                  <a:pt x="156267" y="538381"/>
                </a:lnTo>
                <a:lnTo>
                  <a:pt x="152703" y="544559"/>
                </a:lnTo>
                <a:lnTo>
                  <a:pt x="148664" y="551449"/>
                </a:lnTo>
                <a:lnTo>
                  <a:pt x="145100" y="558339"/>
                </a:lnTo>
                <a:lnTo>
                  <a:pt x="142011" y="565467"/>
                </a:lnTo>
                <a:lnTo>
                  <a:pt x="139398" y="573070"/>
                </a:lnTo>
                <a:lnTo>
                  <a:pt x="137259" y="581623"/>
                </a:lnTo>
                <a:lnTo>
                  <a:pt x="136309" y="583761"/>
                </a:lnTo>
                <a:lnTo>
                  <a:pt x="135359" y="586137"/>
                </a:lnTo>
                <a:lnTo>
                  <a:pt x="134883" y="590889"/>
                </a:lnTo>
                <a:lnTo>
                  <a:pt x="134883" y="595879"/>
                </a:lnTo>
                <a:lnTo>
                  <a:pt x="135359" y="601106"/>
                </a:lnTo>
                <a:lnTo>
                  <a:pt x="136784" y="606095"/>
                </a:lnTo>
                <a:lnTo>
                  <a:pt x="138447" y="611322"/>
                </a:lnTo>
                <a:lnTo>
                  <a:pt x="140348" y="616311"/>
                </a:lnTo>
                <a:lnTo>
                  <a:pt x="142486" y="620826"/>
                </a:lnTo>
                <a:lnTo>
                  <a:pt x="148664" y="629616"/>
                </a:lnTo>
                <a:lnTo>
                  <a:pt x="155554" y="637219"/>
                </a:lnTo>
                <a:lnTo>
                  <a:pt x="162444" y="643872"/>
                </a:lnTo>
                <a:lnTo>
                  <a:pt x="169572" y="649099"/>
                </a:lnTo>
                <a:lnTo>
                  <a:pt x="177175" y="653613"/>
                </a:lnTo>
                <a:lnTo>
                  <a:pt x="184778" y="657177"/>
                </a:lnTo>
                <a:lnTo>
                  <a:pt x="192856" y="659553"/>
                </a:lnTo>
                <a:lnTo>
                  <a:pt x="200934" y="661216"/>
                </a:lnTo>
                <a:lnTo>
                  <a:pt x="209250" y="661691"/>
                </a:lnTo>
                <a:lnTo>
                  <a:pt x="218278" y="661691"/>
                </a:lnTo>
                <a:lnTo>
                  <a:pt x="227069" y="660266"/>
                </a:lnTo>
                <a:lnTo>
                  <a:pt x="236335" y="658603"/>
                </a:lnTo>
                <a:lnTo>
                  <a:pt x="245838" y="655514"/>
                </a:lnTo>
                <a:lnTo>
                  <a:pt x="255580" y="652425"/>
                </a:lnTo>
                <a:lnTo>
                  <a:pt x="265321" y="647911"/>
                </a:lnTo>
                <a:lnTo>
                  <a:pt x="276013" y="642922"/>
                </a:lnTo>
                <a:lnTo>
                  <a:pt x="288367" y="635081"/>
                </a:lnTo>
                <a:lnTo>
                  <a:pt x="301910" y="627478"/>
                </a:lnTo>
                <a:lnTo>
                  <a:pt x="315215" y="620350"/>
                </a:lnTo>
                <a:lnTo>
                  <a:pt x="329471" y="613698"/>
                </a:lnTo>
                <a:lnTo>
                  <a:pt x="343726" y="607283"/>
                </a:lnTo>
                <a:lnTo>
                  <a:pt x="357981" y="602056"/>
                </a:lnTo>
                <a:lnTo>
                  <a:pt x="371999" y="597066"/>
                </a:lnTo>
                <a:lnTo>
                  <a:pt x="386730" y="592790"/>
                </a:lnTo>
                <a:lnTo>
                  <a:pt x="394808" y="590414"/>
                </a:lnTo>
                <a:lnTo>
                  <a:pt x="402411" y="587325"/>
                </a:lnTo>
                <a:lnTo>
                  <a:pt x="409064" y="583761"/>
                </a:lnTo>
                <a:lnTo>
                  <a:pt x="411677" y="581623"/>
                </a:lnTo>
                <a:lnTo>
                  <a:pt x="414766" y="579247"/>
                </a:lnTo>
                <a:lnTo>
                  <a:pt x="417142" y="577109"/>
                </a:lnTo>
                <a:lnTo>
                  <a:pt x="419280" y="574495"/>
                </a:lnTo>
                <a:lnTo>
                  <a:pt x="420943" y="571407"/>
                </a:lnTo>
                <a:lnTo>
                  <a:pt x="422844" y="568318"/>
                </a:lnTo>
                <a:lnTo>
                  <a:pt x="424269" y="565229"/>
                </a:lnTo>
                <a:lnTo>
                  <a:pt x="424982" y="561665"/>
                </a:lnTo>
                <a:lnTo>
                  <a:pt x="425457" y="557626"/>
                </a:lnTo>
                <a:lnTo>
                  <a:pt x="425932" y="553587"/>
                </a:lnTo>
                <a:lnTo>
                  <a:pt x="425932" y="413884"/>
                </a:lnTo>
                <a:lnTo>
                  <a:pt x="425932" y="285347"/>
                </a:lnTo>
                <a:lnTo>
                  <a:pt x="429496" y="300078"/>
                </a:lnTo>
                <a:lnTo>
                  <a:pt x="433060" y="314096"/>
                </a:lnTo>
                <a:lnTo>
                  <a:pt x="436149" y="328826"/>
                </a:lnTo>
                <a:lnTo>
                  <a:pt x="438762" y="343082"/>
                </a:lnTo>
                <a:lnTo>
                  <a:pt x="443752" y="370642"/>
                </a:lnTo>
                <a:lnTo>
                  <a:pt x="447791" y="397015"/>
                </a:lnTo>
                <a:lnTo>
                  <a:pt x="451830" y="421962"/>
                </a:lnTo>
                <a:lnTo>
                  <a:pt x="454919" y="446434"/>
                </a:lnTo>
                <a:lnTo>
                  <a:pt x="456106" y="458313"/>
                </a:lnTo>
                <a:lnTo>
                  <a:pt x="457057" y="470430"/>
                </a:lnTo>
                <a:lnTo>
                  <a:pt x="457532" y="482310"/>
                </a:lnTo>
                <a:lnTo>
                  <a:pt x="457532" y="493952"/>
                </a:lnTo>
                <a:lnTo>
                  <a:pt x="457532" y="506069"/>
                </a:lnTo>
                <a:lnTo>
                  <a:pt x="456582" y="517473"/>
                </a:lnTo>
                <a:lnTo>
                  <a:pt x="455869" y="529116"/>
                </a:lnTo>
                <a:lnTo>
                  <a:pt x="453968" y="540757"/>
                </a:lnTo>
                <a:lnTo>
                  <a:pt x="452305" y="552162"/>
                </a:lnTo>
                <a:lnTo>
                  <a:pt x="449454" y="563804"/>
                </a:lnTo>
                <a:lnTo>
                  <a:pt x="446365" y="575446"/>
                </a:lnTo>
                <a:lnTo>
                  <a:pt x="442326" y="586850"/>
                </a:lnTo>
                <a:lnTo>
                  <a:pt x="440188" y="591364"/>
                </a:lnTo>
                <a:lnTo>
                  <a:pt x="437574" y="595403"/>
                </a:lnTo>
                <a:lnTo>
                  <a:pt x="434486" y="598967"/>
                </a:lnTo>
                <a:lnTo>
                  <a:pt x="431397" y="602531"/>
                </a:lnTo>
                <a:lnTo>
                  <a:pt x="428071" y="605145"/>
                </a:lnTo>
                <a:lnTo>
                  <a:pt x="424982" y="607283"/>
                </a:lnTo>
                <a:lnTo>
                  <a:pt x="422369" y="608708"/>
                </a:lnTo>
                <a:lnTo>
                  <a:pt x="420230" y="609659"/>
                </a:lnTo>
                <a:lnTo>
                  <a:pt x="410727" y="610847"/>
                </a:lnTo>
                <a:lnTo>
                  <a:pt x="401461" y="612748"/>
                </a:lnTo>
                <a:lnTo>
                  <a:pt x="392670" y="614886"/>
                </a:lnTo>
                <a:lnTo>
                  <a:pt x="383641" y="617262"/>
                </a:lnTo>
                <a:lnTo>
                  <a:pt x="374850" y="620350"/>
                </a:lnTo>
                <a:lnTo>
                  <a:pt x="365822" y="623914"/>
                </a:lnTo>
                <a:lnTo>
                  <a:pt x="348478" y="631042"/>
                </a:lnTo>
                <a:lnTo>
                  <a:pt x="331609" y="639358"/>
                </a:lnTo>
                <a:lnTo>
                  <a:pt x="314740" y="647911"/>
                </a:lnTo>
                <a:lnTo>
                  <a:pt x="281240" y="665255"/>
                </a:lnTo>
                <a:lnTo>
                  <a:pt x="274587" y="669294"/>
                </a:lnTo>
                <a:lnTo>
                  <a:pt x="267935" y="672858"/>
                </a:lnTo>
                <a:lnTo>
                  <a:pt x="261757" y="675947"/>
                </a:lnTo>
                <a:lnTo>
                  <a:pt x="255105" y="679035"/>
                </a:lnTo>
                <a:lnTo>
                  <a:pt x="248927" y="681174"/>
                </a:lnTo>
                <a:lnTo>
                  <a:pt x="242987" y="683075"/>
                </a:lnTo>
                <a:lnTo>
                  <a:pt x="236810" y="684738"/>
                </a:lnTo>
                <a:lnTo>
                  <a:pt x="231108" y="686163"/>
                </a:lnTo>
                <a:lnTo>
                  <a:pt x="225406" y="687114"/>
                </a:lnTo>
                <a:lnTo>
                  <a:pt x="219466" y="687589"/>
                </a:lnTo>
                <a:lnTo>
                  <a:pt x="213764" y="687589"/>
                </a:lnTo>
                <a:lnTo>
                  <a:pt x="208299" y="687589"/>
                </a:lnTo>
                <a:lnTo>
                  <a:pt x="203072" y="687114"/>
                </a:lnTo>
                <a:lnTo>
                  <a:pt x="197607" y="686163"/>
                </a:lnTo>
                <a:lnTo>
                  <a:pt x="192380" y="684738"/>
                </a:lnTo>
                <a:lnTo>
                  <a:pt x="186916" y="683550"/>
                </a:lnTo>
                <a:lnTo>
                  <a:pt x="181689" y="681649"/>
                </a:lnTo>
                <a:lnTo>
                  <a:pt x="176699" y="679986"/>
                </a:lnTo>
                <a:lnTo>
                  <a:pt x="171472" y="677610"/>
                </a:lnTo>
                <a:lnTo>
                  <a:pt x="166483" y="674996"/>
                </a:lnTo>
                <a:lnTo>
                  <a:pt x="156742" y="669294"/>
                </a:lnTo>
                <a:lnTo>
                  <a:pt x="147001" y="662167"/>
                </a:lnTo>
                <a:lnTo>
                  <a:pt x="137735" y="654564"/>
                </a:lnTo>
                <a:lnTo>
                  <a:pt x="127756" y="645535"/>
                </a:lnTo>
                <a:lnTo>
                  <a:pt x="118490" y="636269"/>
                </a:lnTo>
                <a:lnTo>
                  <a:pt x="109224" y="626053"/>
                </a:lnTo>
                <a:lnTo>
                  <a:pt x="107323" y="623914"/>
                </a:lnTo>
                <a:lnTo>
                  <a:pt x="106135" y="620350"/>
                </a:lnTo>
                <a:lnTo>
                  <a:pt x="105185" y="616311"/>
                </a:lnTo>
                <a:lnTo>
                  <a:pt x="105185" y="612272"/>
                </a:lnTo>
                <a:lnTo>
                  <a:pt x="105185" y="608233"/>
                </a:lnTo>
                <a:lnTo>
                  <a:pt x="106135" y="604194"/>
                </a:lnTo>
                <a:lnTo>
                  <a:pt x="107323" y="600630"/>
                </a:lnTo>
                <a:lnTo>
                  <a:pt x="109224" y="598017"/>
                </a:lnTo>
                <a:lnTo>
                  <a:pt x="111837" y="591840"/>
                </a:lnTo>
                <a:lnTo>
                  <a:pt x="113975" y="586137"/>
                </a:lnTo>
                <a:lnTo>
                  <a:pt x="115401" y="579722"/>
                </a:lnTo>
                <a:lnTo>
                  <a:pt x="115876" y="574020"/>
                </a:lnTo>
                <a:lnTo>
                  <a:pt x="115876" y="568318"/>
                </a:lnTo>
                <a:lnTo>
                  <a:pt x="115401" y="562378"/>
                </a:lnTo>
                <a:lnTo>
                  <a:pt x="114451" y="557151"/>
                </a:lnTo>
                <a:lnTo>
                  <a:pt x="112788" y="551449"/>
                </a:lnTo>
                <a:lnTo>
                  <a:pt x="110412" y="545984"/>
                </a:lnTo>
                <a:lnTo>
                  <a:pt x="108273" y="540757"/>
                </a:lnTo>
                <a:lnTo>
                  <a:pt x="105185" y="535293"/>
                </a:lnTo>
                <a:lnTo>
                  <a:pt x="102096" y="530066"/>
                </a:lnTo>
                <a:lnTo>
                  <a:pt x="94968" y="519374"/>
                </a:lnTo>
                <a:lnTo>
                  <a:pt x="86890" y="508683"/>
                </a:lnTo>
                <a:lnTo>
                  <a:pt x="78812" y="497991"/>
                </a:lnTo>
                <a:lnTo>
                  <a:pt x="70972" y="486824"/>
                </a:lnTo>
                <a:lnTo>
                  <a:pt x="67408" y="481122"/>
                </a:lnTo>
                <a:lnTo>
                  <a:pt x="64319" y="474707"/>
                </a:lnTo>
                <a:lnTo>
                  <a:pt x="61230" y="469005"/>
                </a:lnTo>
                <a:lnTo>
                  <a:pt x="58379" y="462828"/>
                </a:lnTo>
                <a:lnTo>
                  <a:pt x="56716" y="456175"/>
                </a:lnTo>
                <a:lnTo>
                  <a:pt x="54815" y="449998"/>
                </a:lnTo>
                <a:lnTo>
                  <a:pt x="54103" y="443345"/>
                </a:lnTo>
                <a:lnTo>
                  <a:pt x="53627" y="436455"/>
                </a:lnTo>
                <a:lnTo>
                  <a:pt x="53627" y="429327"/>
                </a:lnTo>
                <a:lnTo>
                  <a:pt x="54815" y="422675"/>
                </a:lnTo>
                <a:lnTo>
                  <a:pt x="56716" y="415547"/>
                </a:lnTo>
                <a:lnTo>
                  <a:pt x="59330" y="408182"/>
                </a:lnTo>
                <a:lnTo>
                  <a:pt x="60280" y="403192"/>
                </a:lnTo>
                <a:lnTo>
                  <a:pt x="61943" y="397965"/>
                </a:lnTo>
                <a:lnTo>
                  <a:pt x="65507" y="387986"/>
                </a:lnTo>
                <a:lnTo>
                  <a:pt x="69546" y="378720"/>
                </a:lnTo>
                <a:lnTo>
                  <a:pt x="74535" y="369929"/>
                </a:lnTo>
                <a:lnTo>
                  <a:pt x="79762" y="360901"/>
                </a:lnTo>
                <a:lnTo>
                  <a:pt x="85940" y="352585"/>
                </a:lnTo>
                <a:lnTo>
                  <a:pt x="98057" y="335479"/>
                </a:lnTo>
                <a:lnTo>
                  <a:pt x="102571" y="328113"/>
                </a:lnTo>
                <a:lnTo>
                  <a:pt x="106848" y="320986"/>
                </a:lnTo>
                <a:lnTo>
                  <a:pt x="116827" y="307205"/>
                </a:lnTo>
                <a:lnTo>
                  <a:pt x="127043" y="293188"/>
                </a:lnTo>
                <a:lnTo>
                  <a:pt x="137735" y="279407"/>
                </a:lnTo>
                <a:lnTo>
                  <a:pt x="159831" y="251847"/>
                </a:lnTo>
                <a:lnTo>
                  <a:pt x="170522" y="238066"/>
                </a:lnTo>
                <a:lnTo>
                  <a:pt x="181214" y="223336"/>
                </a:lnTo>
                <a:lnTo>
                  <a:pt x="164820" y="223336"/>
                </a:lnTo>
                <a:lnTo>
                  <a:pt x="137972" y="230226"/>
                </a:lnTo>
                <a:lnTo>
                  <a:pt x="125142" y="233790"/>
                </a:lnTo>
                <a:lnTo>
                  <a:pt x="112788" y="237591"/>
                </a:lnTo>
                <a:lnTo>
                  <a:pt x="100195" y="241630"/>
                </a:lnTo>
                <a:lnTo>
                  <a:pt x="87840" y="245669"/>
                </a:lnTo>
                <a:lnTo>
                  <a:pt x="75723" y="250183"/>
                </a:lnTo>
                <a:lnTo>
                  <a:pt x="64319" y="254935"/>
                </a:lnTo>
                <a:lnTo>
                  <a:pt x="52677" y="260400"/>
                </a:lnTo>
                <a:lnTo>
                  <a:pt x="41035" y="265627"/>
                </a:lnTo>
                <a:lnTo>
                  <a:pt x="29868" y="271567"/>
                </a:lnTo>
                <a:lnTo>
                  <a:pt x="18939" y="277744"/>
                </a:lnTo>
                <a:lnTo>
                  <a:pt x="7772" y="284397"/>
                </a:lnTo>
                <a:lnTo>
                  <a:pt x="0" y="289924"/>
                </a:lnTo>
                <a:lnTo>
                  <a:pt x="0" y="895572"/>
                </a:lnTo>
                <a:lnTo>
                  <a:pt x="125653" y="895572"/>
                </a:lnTo>
                <a:lnTo>
                  <a:pt x="127756" y="892155"/>
                </a:lnTo>
                <a:lnTo>
                  <a:pt x="131082" y="885502"/>
                </a:lnTo>
                <a:lnTo>
                  <a:pt x="133696" y="878374"/>
                </a:lnTo>
                <a:lnTo>
                  <a:pt x="135834" y="871722"/>
                </a:lnTo>
                <a:lnTo>
                  <a:pt x="137735" y="864594"/>
                </a:lnTo>
                <a:lnTo>
                  <a:pt x="138923" y="857466"/>
                </a:lnTo>
                <a:lnTo>
                  <a:pt x="140348" y="850339"/>
                </a:lnTo>
                <a:lnTo>
                  <a:pt x="141298" y="843211"/>
                </a:lnTo>
                <a:lnTo>
                  <a:pt x="142011" y="828955"/>
                </a:lnTo>
                <a:lnTo>
                  <a:pt x="142486" y="814225"/>
                </a:lnTo>
                <a:lnTo>
                  <a:pt x="142486" y="799494"/>
                </a:lnTo>
                <a:lnTo>
                  <a:pt x="142486" y="782625"/>
                </a:lnTo>
                <a:lnTo>
                  <a:pt x="142486" y="771458"/>
                </a:lnTo>
                <a:lnTo>
                  <a:pt x="143912" y="778586"/>
                </a:lnTo>
                <a:lnTo>
                  <a:pt x="145100" y="784526"/>
                </a:lnTo>
                <a:lnTo>
                  <a:pt x="147476" y="789753"/>
                </a:lnTo>
                <a:lnTo>
                  <a:pt x="149614" y="794267"/>
                </a:lnTo>
                <a:lnTo>
                  <a:pt x="152228" y="797831"/>
                </a:lnTo>
                <a:lnTo>
                  <a:pt x="155554" y="801395"/>
                </a:lnTo>
                <a:lnTo>
                  <a:pt x="158643" y="803533"/>
                </a:lnTo>
                <a:lnTo>
                  <a:pt x="162206" y="805909"/>
                </a:lnTo>
                <a:lnTo>
                  <a:pt x="165770" y="807572"/>
                </a:lnTo>
                <a:lnTo>
                  <a:pt x="169572" y="808523"/>
                </a:lnTo>
                <a:lnTo>
                  <a:pt x="174086" y="809473"/>
                </a:lnTo>
                <a:lnTo>
                  <a:pt x="178600" y="810186"/>
                </a:lnTo>
                <a:lnTo>
                  <a:pt x="187866" y="810661"/>
                </a:lnTo>
                <a:lnTo>
                  <a:pt x="198083" y="810661"/>
                </a:lnTo>
                <a:lnTo>
                  <a:pt x="236810" y="810661"/>
                </a:lnTo>
                <a:lnTo>
                  <a:pt x="249640" y="811136"/>
                </a:lnTo>
                <a:lnTo>
                  <a:pt x="263183" y="811611"/>
                </a:lnTo>
                <a:lnTo>
                  <a:pt x="270310" y="811611"/>
                </a:lnTo>
                <a:lnTo>
                  <a:pt x="276963" y="811136"/>
                </a:lnTo>
                <a:lnTo>
                  <a:pt x="283140" y="810186"/>
                </a:lnTo>
                <a:lnTo>
                  <a:pt x="289793" y="808523"/>
                </a:lnTo>
                <a:lnTo>
                  <a:pt x="295495" y="806147"/>
                </a:lnTo>
                <a:lnTo>
                  <a:pt x="301435" y="803058"/>
                </a:lnTo>
                <a:lnTo>
                  <a:pt x="304524" y="801395"/>
                </a:lnTo>
                <a:lnTo>
                  <a:pt x="307137" y="799256"/>
                </a:lnTo>
                <a:lnTo>
                  <a:pt x="309275" y="796881"/>
                </a:lnTo>
                <a:lnTo>
                  <a:pt x="312126" y="794267"/>
                </a:lnTo>
                <a:lnTo>
                  <a:pt x="314265" y="791178"/>
                </a:lnTo>
                <a:lnTo>
                  <a:pt x="316403" y="788090"/>
                </a:lnTo>
                <a:lnTo>
                  <a:pt x="318304" y="784051"/>
                </a:lnTo>
                <a:lnTo>
                  <a:pt x="319967" y="780012"/>
                </a:lnTo>
                <a:lnTo>
                  <a:pt x="321868" y="775973"/>
                </a:lnTo>
                <a:lnTo>
                  <a:pt x="323056" y="771221"/>
                </a:lnTo>
                <a:lnTo>
                  <a:pt x="324481" y="765756"/>
                </a:lnTo>
                <a:lnTo>
                  <a:pt x="325907" y="760529"/>
                </a:lnTo>
                <a:lnTo>
                  <a:pt x="325907" y="827530"/>
                </a:lnTo>
                <a:lnTo>
                  <a:pt x="310226" y="835608"/>
                </a:lnTo>
                <a:lnTo>
                  <a:pt x="295970" y="843686"/>
                </a:lnTo>
                <a:lnTo>
                  <a:pt x="282665" y="850339"/>
                </a:lnTo>
                <a:lnTo>
                  <a:pt x="276488" y="852952"/>
                </a:lnTo>
                <a:lnTo>
                  <a:pt x="270310" y="855565"/>
                </a:lnTo>
                <a:lnTo>
                  <a:pt x="266271" y="857942"/>
                </a:lnTo>
                <a:lnTo>
                  <a:pt x="262708" y="860080"/>
                </a:lnTo>
                <a:lnTo>
                  <a:pt x="259619" y="862693"/>
                </a:lnTo>
                <a:lnTo>
                  <a:pt x="256768" y="865544"/>
                </a:lnTo>
                <a:lnTo>
                  <a:pt x="254154" y="868633"/>
                </a:lnTo>
                <a:lnTo>
                  <a:pt x="252491" y="871722"/>
                </a:lnTo>
                <a:lnTo>
                  <a:pt x="250590" y="874810"/>
                </a:lnTo>
                <a:lnTo>
                  <a:pt x="249402" y="877899"/>
                </a:lnTo>
                <a:lnTo>
                  <a:pt x="248452" y="880988"/>
                </a:lnTo>
                <a:lnTo>
                  <a:pt x="247977" y="884076"/>
                </a:lnTo>
                <a:lnTo>
                  <a:pt x="247977" y="887165"/>
                </a:lnTo>
                <a:lnTo>
                  <a:pt x="248452" y="890016"/>
                </a:lnTo>
                <a:lnTo>
                  <a:pt x="249402" y="893105"/>
                </a:lnTo>
                <a:lnTo>
                  <a:pt x="250075" y="895572"/>
                </a:lnTo>
                <a:lnTo>
                  <a:pt x="474750" y="895572"/>
                </a:lnTo>
                <a:lnTo>
                  <a:pt x="475827" y="894768"/>
                </a:lnTo>
                <a:lnTo>
                  <a:pt x="486993" y="882889"/>
                </a:lnTo>
                <a:lnTo>
                  <a:pt x="497210" y="870296"/>
                </a:lnTo>
                <a:lnTo>
                  <a:pt x="506951" y="857942"/>
                </a:lnTo>
                <a:lnTo>
                  <a:pt x="515742" y="844636"/>
                </a:lnTo>
                <a:lnTo>
                  <a:pt x="523820" y="831094"/>
                </a:lnTo>
                <a:lnTo>
                  <a:pt x="531898" y="816838"/>
                </a:lnTo>
                <a:lnTo>
                  <a:pt x="539026" y="802583"/>
                </a:lnTo>
                <a:lnTo>
                  <a:pt x="545678" y="788565"/>
                </a:lnTo>
                <a:lnTo>
                  <a:pt x="552331" y="773359"/>
                </a:lnTo>
                <a:lnTo>
                  <a:pt x="558033" y="758628"/>
                </a:lnTo>
                <a:lnTo>
                  <a:pt x="563498" y="743185"/>
                </a:lnTo>
                <a:lnTo>
                  <a:pt x="568725" y="727979"/>
                </a:lnTo>
                <a:lnTo>
                  <a:pt x="573714" y="712298"/>
                </a:lnTo>
                <a:lnTo>
                  <a:pt x="577991" y="696855"/>
                </a:lnTo>
                <a:lnTo>
                  <a:pt x="586544" y="665255"/>
                </a:lnTo>
                <a:lnTo>
                  <a:pt x="586069" y="663117"/>
                </a:lnTo>
                <a:lnTo>
                  <a:pt x="584881" y="660266"/>
                </a:lnTo>
                <a:lnTo>
                  <a:pt x="582980" y="657177"/>
                </a:lnTo>
                <a:lnTo>
                  <a:pt x="580367" y="654088"/>
                </a:lnTo>
                <a:lnTo>
                  <a:pt x="574902" y="647911"/>
                </a:lnTo>
                <a:lnTo>
                  <a:pt x="570150" y="642922"/>
                </a:lnTo>
                <a:lnTo>
                  <a:pt x="565636" y="636744"/>
                </a:lnTo>
                <a:lnTo>
                  <a:pt x="560647" y="631517"/>
                </a:lnTo>
                <a:lnTo>
                  <a:pt x="555420" y="626053"/>
                </a:lnTo>
                <a:lnTo>
                  <a:pt x="550193" y="621301"/>
                </a:lnTo>
                <a:lnTo>
                  <a:pt x="544253" y="616787"/>
                </a:lnTo>
                <a:lnTo>
                  <a:pt x="538075" y="612272"/>
                </a:lnTo>
                <a:lnTo>
                  <a:pt x="525721" y="603719"/>
                </a:lnTo>
                <a:lnTo>
                  <a:pt x="563023" y="619875"/>
                </a:lnTo>
                <a:lnTo>
                  <a:pt x="581317" y="628191"/>
                </a:lnTo>
                <a:lnTo>
                  <a:pt x="599374" y="636744"/>
                </a:lnTo>
                <a:lnTo>
                  <a:pt x="607927" y="641259"/>
                </a:lnTo>
                <a:lnTo>
                  <a:pt x="616718" y="646010"/>
                </a:lnTo>
                <a:lnTo>
                  <a:pt x="625271" y="651000"/>
                </a:lnTo>
                <a:lnTo>
                  <a:pt x="633349" y="656227"/>
                </a:lnTo>
                <a:lnTo>
                  <a:pt x="641665" y="662167"/>
                </a:lnTo>
                <a:lnTo>
                  <a:pt x="649268" y="668344"/>
                </a:lnTo>
                <a:lnTo>
                  <a:pt x="656871" y="674996"/>
                </a:lnTo>
                <a:lnTo>
                  <a:pt x="664474" y="682124"/>
                </a:lnTo>
                <a:lnTo>
                  <a:pt x="668988" y="686163"/>
                </a:lnTo>
                <a:lnTo>
                  <a:pt x="672790" y="690202"/>
                </a:lnTo>
                <a:lnTo>
                  <a:pt x="677304" y="693291"/>
                </a:lnTo>
                <a:lnTo>
                  <a:pt x="682293" y="696855"/>
                </a:lnTo>
                <a:lnTo>
                  <a:pt x="686570" y="699468"/>
                </a:lnTo>
                <a:lnTo>
                  <a:pt x="691559" y="702082"/>
                </a:lnTo>
                <a:lnTo>
                  <a:pt x="696549" y="703983"/>
                </a:lnTo>
                <a:lnTo>
                  <a:pt x="701300" y="705646"/>
                </a:lnTo>
                <a:lnTo>
                  <a:pt x="706290" y="707071"/>
                </a:lnTo>
                <a:lnTo>
                  <a:pt x="711042" y="708497"/>
                </a:lnTo>
                <a:lnTo>
                  <a:pt x="716506" y="708734"/>
                </a:lnTo>
                <a:lnTo>
                  <a:pt x="721258" y="708734"/>
                </a:lnTo>
                <a:lnTo>
                  <a:pt x="726723" y="708497"/>
                </a:lnTo>
                <a:lnTo>
                  <a:pt x="731712" y="707546"/>
                </a:lnTo>
                <a:lnTo>
                  <a:pt x="736939" y="706121"/>
                </a:lnTo>
                <a:lnTo>
                  <a:pt x="742166" y="704458"/>
                </a:lnTo>
                <a:lnTo>
                  <a:pt x="749294" y="702082"/>
                </a:lnTo>
                <a:lnTo>
                  <a:pt x="756184" y="699468"/>
                </a:lnTo>
                <a:lnTo>
                  <a:pt x="762361" y="696380"/>
                </a:lnTo>
                <a:lnTo>
                  <a:pt x="768063" y="692816"/>
                </a:lnTo>
                <a:lnTo>
                  <a:pt x="773528" y="689252"/>
                </a:lnTo>
                <a:lnTo>
                  <a:pt x="778755" y="684738"/>
                </a:lnTo>
                <a:lnTo>
                  <a:pt x="783269" y="680461"/>
                </a:lnTo>
                <a:lnTo>
                  <a:pt x="787308" y="674996"/>
                </a:lnTo>
                <a:lnTo>
                  <a:pt x="791110" y="669769"/>
                </a:lnTo>
                <a:lnTo>
                  <a:pt x="794436" y="663830"/>
                </a:lnTo>
                <a:lnTo>
                  <a:pt x="797050" y="657652"/>
                </a:lnTo>
                <a:lnTo>
                  <a:pt x="799188" y="651000"/>
                </a:lnTo>
                <a:lnTo>
                  <a:pt x="801089" y="643872"/>
                </a:lnTo>
                <a:lnTo>
                  <a:pt x="802277" y="636744"/>
                </a:lnTo>
                <a:lnTo>
                  <a:pt x="803227" y="628666"/>
                </a:lnTo>
                <a:lnTo>
                  <a:pt x="803227" y="620826"/>
                </a:lnTo>
                <a:lnTo>
                  <a:pt x="801089" y="622489"/>
                </a:lnTo>
                <a:lnTo>
                  <a:pt x="798238" y="623914"/>
                </a:lnTo>
                <a:lnTo>
                  <a:pt x="793011" y="626053"/>
                </a:lnTo>
                <a:lnTo>
                  <a:pt x="790397" y="627478"/>
                </a:lnTo>
                <a:lnTo>
                  <a:pt x="788496" y="628191"/>
                </a:lnTo>
                <a:lnTo>
                  <a:pt x="787308" y="630092"/>
                </a:lnTo>
                <a:lnTo>
                  <a:pt x="786833" y="631755"/>
                </a:lnTo>
                <a:lnTo>
                  <a:pt x="785408" y="635794"/>
                </a:lnTo>
                <a:lnTo>
                  <a:pt x="784220" y="639833"/>
                </a:lnTo>
                <a:lnTo>
                  <a:pt x="780656" y="646485"/>
                </a:lnTo>
                <a:lnTo>
                  <a:pt x="776617" y="653138"/>
                </a:lnTo>
                <a:lnTo>
                  <a:pt x="772103" y="659078"/>
                </a:lnTo>
                <a:lnTo>
                  <a:pt x="762361" y="670007"/>
                </a:lnTo>
                <a:lnTo>
                  <a:pt x="757847" y="675947"/>
                </a:lnTo>
                <a:lnTo>
                  <a:pt x="753333" y="682124"/>
                </a:lnTo>
                <a:lnTo>
                  <a:pt x="750244" y="684738"/>
                </a:lnTo>
                <a:lnTo>
                  <a:pt x="747155" y="687589"/>
                </a:lnTo>
                <a:lnTo>
                  <a:pt x="744067" y="689252"/>
                </a:lnTo>
                <a:lnTo>
                  <a:pt x="740978" y="690915"/>
                </a:lnTo>
                <a:lnTo>
                  <a:pt x="737890" y="691865"/>
                </a:lnTo>
                <a:lnTo>
                  <a:pt x="734801" y="692816"/>
                </a:lnTo>
                <a:lnTo>
                  <a:pt x="731950" y="693291"/>
                </a:lnTo>
                <a:lnTo>
                  <a:pt x="728861" y="693291"/>
                </a:lnTo>
                <a:lnTo>
                  <a:pt x="723634" y="692816"/>
                </a:lnTo>
                <a:lnTo>
                  <a:pt x="718169" y="691390"/>
                </a:lnTo>
                <a:lnTo>
                  <a:pt x="713418" y="689727"/>
                </a:lnTo>
                <a:lnTo>
                  <a:pt x="708903" y="687826"/>
                </a:lnTo>
                <a:lnTo>
                  <a:pt x="706765" y="687589"/>
                </a:lnTo>
                <a:lnTo>
                  <a:pt x="704864" y="687114"/>
                </a:lnTo>
                <a:lnTo>
                  <a:pt x="703201" y="686163"/>
                </a:lnTo>
                <a:lnTo>
                  <a:pt x="701776" y="684738"/>
                </a:lnTo>
                <a:lnTo>
                  <a:pt x="698687" y="681649"/>
                </a:lnTo>
                <a:lnTo>
                  <a:pt x="696549" y="678085"/>
                </a:lnTo>
                <a:lnTo>
                  <a:pt x="694648" y="673571"/>
                </a:lnTo>
                <a:lnTo>
                  <a:pt x="693460" y="668819"/>
                </a:lnTo>
                <a:lnTo>
                  <a:pt x="692510" y="664305"/>
                </a:lnTo>
                <a:lnTo>
                  <a:pt x="692510" y="659790"/>
                </a:lnTo>
                <a:lnTo>
                  <a:pt x="692510" y="647436"/>
                </a:lnTo>
                <a:lnTo>
                  <a:pt x="693460" y="635319"/>
                </a:lnTo>
                <a:lnTo>
                  <a:pt x="694173" y="624389"/>
                </a:lnTo>
                <a:lnTo>
                  <a:pt x="695598" y="612748"/>
                </a:lnTo>
                <a:lnTo>
                  <a:pt x="699162" y="591364"/>
                </a:lnTo>
                <a:lnTo>
                  <a:pt x="703676" y="570456"/>
                </a:lnTo>
                <a:lnTo>
                  <a:pt x="720070" y="574971"/>
                </a:lnTo>
                <a:lnTo>
                  <a:pt x="736939" y="579247"/>
                </a:lnTo>
                <a:lnTo>
                  <a:pt x="770677" y="589226"/>
                </a:lnTo>
                <a:lnTo>
                  <a:pt x="788021" y="593503"/>
                </a:lnTo>
                <a:lnTo>
                  <a:pt x="805365" y="597542"/>
                </a:lnTo>
                <a:lnTo>
                  <a:pt x="823660" y="601106"/>
                </a:lnTo>
                <a:lnTo>
                  <a:pt x="841954" y="603719"/>
                </a:lnTo>
                <a:lnTo>
                  <a:pt x="861437" y="606570"/>
                </a:lnTo>
                <a:lnTo>
                  <a:pt x="880682" y="608233"/>
                </a:lnTo>
                <a:lnTo>
                  <a:pt x="889948" y="608708"/>
                </a:lnTo>
                <a:lnTo>
                  <a:pt x="898976" y="608708"/>
                </a:lnTo>
                <a:lnTo>
                  <a:pt x="908242" y="608708"/>
                </a:lnTo>
                <a:lnTo>
                  <a:pt x="916795" y="608233"/>
                </a:lnTo>
                <a:lnTo>
                  <a:pt x="925586" y="607283"/>
                </a:lnTo>
                <a:lnTo>
                  <a:pt x="934140" y="606095"/>
                </a:lnTo>
                <a:lnTo>
                  <a:pt x="942455" y="604669"/>
                </a:lnTo>
                <a:lnTo>
                  <a:pt x="950533" y="603006"/>
                </a:lnTo>
                <a:lnTo>
                  <a:pt x="958611" y="600630"/>
                </a:lnTo>
                <a:lnTo>
                  <a:pt x="966452" y="598017"/>
                </a:lnTo>
                <a:lnTo>
                  <a:pt x="974055" y="595403"/>
                </a:lnTo>
                <a:lnTo>
                  <a:pt x="981658" y="591840"/>
                </a:lnTo>
                <a:lnTo>
                  <a:pt x="989261" y="588276"/>
                </a:lnTo>
                <a:lnTo>
                  <a:pt x="996388" y="584237"/>
                </a:lnTo>
                <a:lnTo>
                  <a:pt x="1003041" y="579247"/>
                </a:lnTo>
                <a:lnTo>
                  <a:pt x="1009694" y="574495"/>
                </a:lnTo>
                <a:lnTo>
                  <a:pt x="1016346" y="569031"/>
                </a:lnTo>
                <a:lnTo>
                  <a:pt x="1022998" y="562853"/>
                </a:lnTo>
                <a:lnTo>
                  <a:pt x="1029176" y="556676"/>
                </a:lnTo>
                <a:lnTo>
                  <a:pt x="1035116" y="549548"/>
                </a:lnTo>
                <a:lnTo>
                  <a:pt x="1040818" y="541945"/>
                </a:lnTo>
                <a:lnTo>
                  <a:pt x="1046520" y="534342"/>
                </a:lnTo>
                <a:lnTo>
                  <a:pt x="1051985" y="526027"/>
                </a:lnTo>
                <a:lnTo>
                  <a:pt x="1056737" y="516523"/>
                </a:lnTo>
                <a:lnTo>
                  <a:pt x="1061726" y="507257"/>
                </a:lnTo>
                <a:lnTo>
                  <a:pt x="1066715" y="497041"/>
                </a:lnTo>
                <a:lnTo>
                  <a:pt x="1070992" y="486349"/>
                </a:lnTo>
                <a:lnTo>
                  <a:pt x="1075506" y="475182"/>
                </a:lnTo>
                <a:lnTo>
                  <a:pt x="1079070" y="462828"/>
                </a:lnTo>
                <a:lnTo>
                  <a:pt x="1082634" y="449998"/>
                </a:lnTo>
                <a:lnTo>
                  <a:pt x="1084772" y="437405"/>
                </a:lnTo>
                <a:lnTo>
                  <a:pt x="1087148" y="425050"/>
                </a:lnTo>
                <a:lnTo>
                  <a:pt x="1088811" y="411983"/>
                </a:lnTo>
                <a:lnTo>
                  <a:pt x="1089762" y="399628"/>
                </a:lnTo>
                <a:lnTo>
                  <a:pt x="1090712" y="386798"/>
                </a:lnTo>
                <a:lnTo>
                  <a:pt x="1090712" y="373731"/>
                </a:lnTo>
                <a:lnTo>
                  <a:pt x="1090712" y="360901"/>
                </a:lnTo>
                <a:lnTo>
                  <a:pt x="1089762" y="348071"/>
                </a:lnTo>
                <a:lnTo>
                  <a:pt x="1088811" y="335004"/>
                </a:lnTo>
                <a:lnTo>
                  <a:pt x="1088099" y="321698"/>
                </a:lnTo>
                <a:lnTo>
                  <a:pt x="1084772" y="295563"/>
                </a:lnTo>
                <a:lnTo>
                  <a:pt x="1080971" y="268478"/>
                </a:lnTo>
                <a:lnTo>
                  <a:pt x="1078595" y="258262"/>
                </a:lnTo>
                <a:lnTo>
                  <a:pt x="1075981" y="248283"/>
                </a:lnTo>
                <a:lnTo>
                  <a:pt x="1072417" y="238542"/>
                </a:lnTo>
                <a:lnTo>
                  <a:pt x="1069329" y="229275"/>
                </a:lnTo>
                <a:lnTo>
                  <a:pt x="1061251" y="210031"/>
                </a:lnTo>
                <a:lnTo>
                  <a:pt x="1053173" y="190073"/>
                </a:lnTo>
                <a:lnTo>
                  <a:pt x="1051034" y="186034"/>
                </a:lnTo>
                <a:lnTo>
                  <a:pt x="1048896" y="182470"/>
                </a:lnTo>
                <a:lnTo>
                  <a:pt x="1046045" y="179381"/>
                </a:lnTo>
                <a:lnTo>
                  <a:pt x="1043906" y="176768"/>
                </a:lnTo>
                <a:lnTo>
                  <a:pt x="1041293" y="174630"/>
                </a:lnTo>
                <a:lnTo>
                  <a:pt x="1038680" y="172729"/>
                </a:lnTo>
                <a:lnTo>
                  <a:pt x="1035828" y="171303"/>
                </a:lnTo>
                <a:lnTo>
                  <a:pt x="1032740" y="170591"/>
                </a:lnTo>
                <a:lnTo>
                  <a:pt x="1030126" y="170591"/>
                </a:lnTo>
                <a:lnTo>
                  <a:pt x="1027038" y="170591"/>
                </a:lnTo>
                <a:lnTo>
                  <a:pt x="1024424" y="171303"/>
                </a:lnTo>
                <a:lnTo>
                  <a:pt x="1021335" y="172729"/>
                </a:lnTo>
                <a:lnTo>
                  <a:pt x="1018247" y="174867"/>
                </a:lnTo>
                <a:lnTo>
                  <a:pt x="1014920" y="177718"/>
                </a:lnTo>
                <a:lnTo>
                  <a:pt x="1011832" y="180807"/>
                </a:lnTo>
                <a:lnTo>
                  <a:pt x="1008743" y="184846"/>
                </a:lnTo>
                <a:lnTo>
                  <a:pt x="991874" y="201240"/>
                </a:lnTo>
                <a:lnTo>
                  <a:pt x="983321" y="209318"/>
                </a:lnTo>
                <a:lnTo>
                  <a:pt x="974530" y="216683"/>
                </a:lnTo>
                <a:lnTo>
                  <a:pt x="965739" y="223811"/>
                </a:lnTo>
                <a:lnTo>
                  <a:pt x="956236" y="230226"/>
                </a:lnTo>
                <a:lnTo>
                  <a:pt x="946494" y="235928"/>
                </a:lnTo>
                <a:lnTo>
                  <a:pt x="941505" y="238066"/>
                </a:lnTo>
                <a:lnTo>
                  <a:pt x="936753" y="240442"/>
                </a:lnTo>
                <a:lnTo>
                  <a:pt x="932239" y="242581"/>
                </a:lnTo>
                <a:lnTo>
                  <a:pt x="928675" y="245669"/>
                </a:lnTo>
                <a:lnTo>
                  <a:pt x="925111" y="249233"/>
                </a:lnTo>
                <a:lnTo>
                  <a:pt x="922022" y="252797"/>
                </a:lnTo>
                <a:lnTo>
                  <a:pt x="919884" y="257311"/>
                </a:lnTo>
                <a:lnTo>
                  <a:pt x="918934" y="259925"/>
                </a:lnTo>
                <a:lnTo>
                  <a:pt x="918459" y="262538"/>
                </a:lnTo>
                <a:lnTo>
                  <a:pt x="918459" y="265389"/>
                </a:lnTo>
                <a:lnTo>
                  <a:pt x="918459" y="268003"/>
                </a:lnTo>
                <a:lnTo>
                  <a:pt x="918934" y="271091"/>
                </a:lnTo>
                <a:lnTo>
                  <a:pt x="919884" y="274180"/>
                </a:lnTo>
                <a:lnTo>
                  <a:pt x="921547" y="282258"/>
                </a:lnTo>
                <a:lnTo>
                  <a:pt x="922973" y="290574"/>
                </a:lnTo>
                <a:lnTo>
                  <a:pt x="923923" y="299127"/>
                </a:lnTo>
                <a:lnTo>
                  <a:pt x="924161" y="307443"/>
                </a:lnTo>
                <a:lnTo>
                  <a:pt x="924161" y="315996"/>
                </a:lnTo>
                <a:lnTo>
                  <a:pt x="923923" y="324550"/>
                </a:lnTo>
                <a:lnTo>
                  <a:pt x="922973" y="332865"/>
                </a:lnTo>
                <a:lnTo>
                  <a:pt x="922022" y="340943"/>
                </a:lnTo>
                <a:lnTo>
                  <a:pt x="920597" y="349259"/>
                </a:lnTo>
                <a:lnTo>
                  <a:pt x="918934" y="357812"/>
                </a:lnTo>
                <a:lnTo>
                  <a:pt x="914420" y="374681"/>
                </a:lnTo>
                <a:lnTo>
                  <a:pt x="909192" y="391075"/>
                </a:lnTo>
                <a:lnTo>
                  <a:pt x="903253" y="408182"/>
                </a:lnTo>
                <a:lnTo>
                  <a:pt x="903253" y="397965"/>
                </a:lnTo>
                <a:lnTo>
                  <a:pt x="904203" y="387274"/>
                </a:lnTo>
                <a:lnTo>
                  <a:pt x="906104" y="367078"/>
                </a:lnTo>
                <a:lnTo>
                  <a:pt x="907767" y="347596"/>
                </a:lnTo>
                <a:lnTo>
                  <a:pt x="908717" y="338567"/>
                </a:lnTo>
                <a:lnTo>
                  <a:pt x="908717" y="329777"/>
                </a:lnTo>
                <a:lnTo>
                  <a:pt x="908717" y="325738"/>
                </a:lnTo>
                <a:lnTo>
                  <a:pt x="907767" y="322649"/>
                </a:lnTo>
                <a:lnTo>
                  <a:pt x="906817" y="319560"/>
                </a:lnTo>
                <a:lnTo>
                  <a:pt x="905154" y="316471"/>
                </a:lnTo>
                <a:lnTo>
                  <a:pt x="903728" y="314096"/>
                </a:lnTo>
                <a:lnTo>
                  <a:pt x="901590" y="311957"/>
                </a:lnTo>
                <a:lnTo>
                  <a:pt x="897551" y="307443"/>
                </a:lnTo>
                <a:lnTo>
                  <a:pt x="895412" y="309344"/>
                </a:lnTo>
                <a:lnTo>
                  <a:pt x="892561" y="310769"/>
                </a:lnTo>
                <a:lnTo>
                  <a:pt x="887334" y="313383"/>
                </a:lnTo>
                <a:lnTo>
                  <a:pt x="884721" y="314096"/>
                </a:lnTo>
                <a:lnTo>
                  <a:pt x="882820" y="315521"/>
                </a:lnTo>
                <a:lnTo>
                  <a:pt x="881632" y="316947"/>
                </a:lnTo>
                <a:lnTo>
                  <a:pt x="881157" y="318610"/>
                </a:lnTo>
                <a:lnTo>
                  <a:pt x="872604" y="331915"/>
                </a:lnTo>
                <a:lnTo>
                  <a:pt x="864288" y="346646"/>
                </a:lnTo>
                <a:lnTo>
                  <a:pt x="856210" y="361376"/>
                </a:lnTo>
                <a:lnTo>
                  <a:pt x="847656" y="374681"/>
                </a:lnTo>
                <a:lnTo>
                  <a:pt x="841954" y="374681"/>
                </a:lnTo>
                <a:lnTo>
                  <a:pt x="846468" y="357812"/>
                </a:lnTo>
                <a:lnTo>
                  <a:pt x="850508" y="339518"/>
                </a:lnTo>
                <a:lnTo>
                  <a:pt x="854784" y="319560"/>
                </a:lnTo>
                <a:lnTo>
                  <a:pt x="858823" y="296514"/>
                </a:lnTo>
                <a:lnTo>
                  <a:pt x="848132" y="303879"/>
                </a:lnTo>
                <a:lnTo>
                  <a:pt x="840054" y="310294"/>
                </a:lnTo>
                <a:lnTo>
                  <a:pt x="833163" y="316947"/>
                </a:lnTo>
                <a:lnTo>
                  <a:pt x="825560" y="324550"/>
                </a:lnTo>
                <a:lnTo>
                  <a:pt x="823185" y="326688"/>
                </a:lnTo>
                <a:lnTo>
                  <a:pt x="821522" y="329301"/>
                </a:lnTo>
                <a:lnTo>
                  <a:pt x="817007" y="335954"/>
                </a:lnTo>
                <a:lnTo>
                  <a:pt x="812968" y="344032"/>
                </a:lnTo>
                <a:lnTo>
                  <a:pt x="808929" y="352585"/>
                </a:lnTo>
                <a:lnTo>
                  <a:pt x="809880" y="343557"/>
                </a:lnTo>
                <a:lnTo>
                  <a:pt x="811305" y="335479"/>
                </a:lnTo>
                <a:lnTo>
                  <a:pt x="812493" y="328826"/>
                </a:lnTo>
                <a:lnTo>
                  <a:pt x="814394" y="323124"/>
                </a:lnTo>
                <a:lnTo>
                  <a:pt x="816532" y="317659"/>
                </a:lnTo>
                <a:lnTo>
                  <a:pt x="819146" y="313383"/>
                </a:lnTo>
                <a:lnTo>
                  <a:pt x="822709" y="309344"/>
                </a:lnTo>
                <a:lnTo>
                  <a:pt x="826748" y="306255"/>
                </a:lnTo>
                <a:lnTo>
                  <a:pt x="832213" y="303166"/>
                </a:lnTo>
                <a:lnTo>
                  <a:pt x="838390" y="300315"/>
                </a:lnTo>
                <a:lnTo>
                  <a:pt x="845518" y="298177"/>
                </a:lnTo>
                <a:lnTo>
                  <a:pt x="854071" y="295563"/>
                </a:lnTo>
                <a:lnTo>
                  <a:pt x="875217" y="290574"/>
                </a:lnTo>
                <a:lnTo>
                  <a:pt x="903253" y="285347"/>
                </a:lnTo>
                <a:lnTo>
                  <a:pt x="886384" y="268478"/>
                </a:lnTo>
                <a:lnTo>
                  <a:pt x="879731" y="270141"/>
                </a:lnTo>
                <a:lnTo>
                  <a:pt x="873079" y="271091"/>
                </a:lnTo>
                <a:lnTo>
                  <a:pt x="867376" y="271567"/>
                </a:lnTo>
                <a:lnTo>
                  <a:pt x="862387" y="271091"/>
                </a:lnTo>
                <a:lnTo>
                  <a:pt x="857398" y="269666"/>
                </a:lnTo>
                <a:lnTo>
                  <a:pt x="853596" y="268003"/>
                </a:lnTo>
                <a:lnTo>
                  <a:pt x="849557" y="265627"/>
                </a:lnTo>
                <a:lnTo>
                  <a:pt x="846468" y="262538"/>
                </a:lnTo>
                <a:lnTo>
                  <a:pt x="843380" y="259450"/>
                </a:lnTo>
                <a:lnTo>
                  <a:pt x="840529" y="255411"/>
                </a:lnTo>
                <a:lnTo>
                  <a:pt x="838390" y="251134"/>
                </a:lnTo>
                <a:lnTo>
                  <a:pt x="836490" y="246620"/>
                </a:lnTo>
                <a:lnTo>
                  <a:pt x="834827" y="241155"/>
                </a:lnTo>
                <a:lnTo>
                  <a:pt x="833401" y="235453"/>
                </a:lnTo>
                <a:lnTo>
                  <a:pt x="831263" y="223336"/>
                </a:lnTo>
                <a:lnTo>
                  <a:pt x="897551" y="206942"/>
                </a:lnTo>
                <a:lnTo>
                  <a:pt x="888997" y="194112"/>
                </a:lnTo>
                <a:lnTo>
                  <a:pt x="880682" y="181282"/>
                </a:lnTo>
                <a:lnTo>
                  <a:pt x="871416" y="168690"/>
                </a:lnTo>
                <a:lnTo>
                  <a:pt x="866901" y="162988"/>
                </a:lnTo>
                <a:lnTo>
                  <a:pt x="861437" y="157048"/>
                </a:lnTo>
                <a:lnTo>
                  <a:pt x="856210" y="151821"/>
                </a:lnTo>
                <a:lnTo>
                  <a:pt x="850745" y="146831"/>
                </a:lnTo>
                <a:lnTo>
                  <a:pt x="844568" y="142555"/>
                </a:lnTo>
                <a:lnTo>
                  <a:pt x="838390" y="138516"/>
                </a:lnTo>
                <a:lnTo>
                  <a:pt x="831738" y="134952"/>
                </a:lnTo>
                <a:lnTo>
                  <a:pt x="824610" y="132338"/>
                </a:lnTo>
                <a:lnTo>
                  <a:pt x="817007" y="129963"/>
                </a:lnTo>
                <a:lnTo>
                  <a:pt x="808929" y="128774"/>
                </a:lnTo>
                <a:lnTo>
                  <a:pt x="806791" y="128299"/>
                </a:lnTo>
                <a:lnTo>
                  <a:pt x="804652" y="127824"/>
                </a:lnTo>
                <a:lnTo>
                  <a:pt x="802752" y="126399"/>
                </a:lnTo>
                <a:lnTo>
                  <a:pt x="801089" y="125211"/>
                </a:lnTo>
                <a:lnTo>
                  <a:pt x="799663" y="123310"/>
                </a:lnTo>
                <a:lnTo>
                  <a:pt x="798713" y="121647"/>
                </a:lnTo>
                <a:lnTo>
                  <a:pt x="798000" y="119271"/>
                </a:lnTo>
                <a:lnTo>
                  <a:pt x="798000" y="117608"/>
                </a:lnTo>
                <a:lnTo>
                  <a:pt x="785408" y="106916"/>
                </a:lnTo>
                <a:lnTo>
                  <a:pt x="772578" y="95749"/>
                </a:lnTo>
                <a:lnTo>
                  <a:pt x="747155" y="72703"/>
                </a:lnTo>
                <a:lnTo>
                  <a:pt x="733850" y="61061"/>
                </a:lnTo>
                <a:lnTo>
                  <a:pt x="720545" y="49894"/>
                </a:lnTo>
                <a:lnTo>
                  <a:pt x="706765" y="38728"/>
                </a:lnTo>
                <a:lnTo>
                  <a:pt x="692510" y="28036"/>
                </a:lnTo>
                <a:lnTo>
                  <a:pt x="679442" y="21859"/>
                </a:lnTo>
                <a:lnTo>
                  <a:pt x="666137" y="16632"/>
                </a:lnTo>
                <a:lnTo>
                  <a:pt x="652832" y="11642"/>
                </a:lnTo>
                <a:lnTo>
                  <a:pt x="639527" y="7603"/>
                </a:lnTo>
                <a:lnTo>
                  <a:pt x="626222" y="4514"/>
                </a:lnTo>
                <a:lnTo>
                  <a:pt x="612917" y="1901"/>
                </a:lnTo>
                <a:lnTo>
                  <a:pt x="599374" y="475"/>
                </a:lnTo>
                <a:close/>
              </a:path>
            </a:pathLst>
          </a:custGeom>
          <a:solidFill>
            <a:schemeClr val="bg1">
              <a:alpha val="25000"/>
            </a:schemeClr>
          </a:solidFill>
          <a:ln>
            <a:noFill/>
          </a:ln>
        </p:spPr>
        <p:txBody>
          <a:bodyPr vert="horz" wrap="square" lIns="89642" tIns="44821" rIns="89642" bIns="44821" numCol="1" anchor="t" anchorCtr="0" compatLnSpc="1">
            <a:prstTxWarp prst="textNoShape">
              <a:avLst/>
            </a:prstTxWarp>
            <a:noAutofit/>
          </a:bodyPr>
          <a:lstStyle/>
          <a:p>
            <a:pPr defTabSz="914367"/>
            <a:endParaRPr lang="en-IN" sz="1765" dirty="0">
              <a:solidFill>
                <a:srgbClr val="000000"/>
              </a:solidFill>
            </a:endParaRPr>
          </a:p>
        </p:txBody>
      </p:sp>
      <p:sp>
        <p:nvSpPr>
          <p:cNvPr id="7" name="Rectangle 6"/>
          <p:cNvSpPr/>
          <p:nvPr/>
        </p:nvSpPr>
        <p:spPr>
          <a:xfrm>
            <a:off x="8929" y="1213304"/>
            <a:ext cx="5220355" cy="825547"/>
          </a:xfrm>
          <a:prstGeom prst="rect">
            <a:avLst/>
          </a:prstGeom>
        </p:spPr>
        <p:txBody>
          <a:bodyPr wrap="square" lIns="268927">
            <a:spAutoFit/>
          </a:bodyPr>
          <a:lstStyle/>
          <a:p>
            <a:pPr defTabSz="914102" fontAlgn="base">
              <a:lnSpc>
                <a:spcPct val="90000"/>
              </a:lnSpc>
              <a:spcBef>
                <a:spcPct val="0"/>
              </a:spcBef>
              <a:spcAft>
                <a:spcPct val="0"/>
              </a:spcAft>
            </a:pPr>
            <a:r>
              <a:rPr lang="en-US" sz="5294" dirty="0" smtClean="0">
                <a:solidFill>
                  <a:srgbClr val="FFFFFF"/>
                </a:solidFill>
                <a:latin typeface="Segoe UI Light"/>
                <a:ea typeface="Segoe UI" pitchFamily="34" charset="0"/>
                <a:cs typeface="Segoe UI" pitchFamily="34" charset="0"/>
              </a:rPr>
              <a:t>Spark Streaming</a:t>
            </a:r>
            <a:endParaRPr lang="en-US" sz="5294" dirty="0">
              <a:solidFill>
                <a:srgbClr val="FFFFFF"/>
              </a:solidFill>
              <a:latin typeface="Segoe UI Light"/>
              <a:ea typeface="Segoe UI" pitchFamily="34" charset="0"/>
              <a:cs typeface="Segoe UI" pitchFamily="34" charset="0"/>
            </a:endParaRPr>
          </a:p>
        </p:txBody>
      </p:sp>
      <p:sp>
        <p:nvSpPr>
          <p:cNvPr id="2" name="Slide Number Placeholder 1"/>
          <p:cNvSpPr>
            <a:spLocks noGrp="1"/>
          </p:cNvSpPr>
          <p:nvPr>
            <p:ph type="sldNum" sz="quarter" idx="11"/>
          </p:nvPr>
        </p:nvSpPr>
        <p:spPr/>
        <p:txBody>
          <a:bodyPr/>
          <a:lstStyle/>
          <a:p>
            <a:pPr>
              <a:defRPr/>
            </a:pPr>
            <a:fld id="{F8A0AC42-AA1D-4944-8D96-660DE70C7E1B}" type="slidenum">
              <a:rPr lang="en-IN"/>
              <a:pPr>
                <a:defRPr/>
              </a:pPr>
              <a:t>29</a:t>
            </a:fld>
            <a:endParaRPr lang="en-IN" dirty="0"/>
          </a:p>
        </p:txBody>
      </p:sp>
      <p:sp>
        <p:nvSpPr>
          <p:cNvPr id="8" name="TextBox 7"/>
          <p:cNvSpPr txBox="1"/>
          <p:nvPr/>
        </p:nvSpPr>
        <p:spPr>
          <a:xfrm>
            <a:off x="5220356" y="2145069"/>
            <a:ext cx="6553002" cy="2855194"/>
          </a:xfrm>
          <a:prstGeom prst="rect">
            <a:avLst/>
          </a:prstGeom>
          <a:noFill/>
        </p:spPr>
        <p:txBody>
          <a:bodyPr wrap="square" lIns="268927" tIns="143428" rIns="179285" bIns="143428" rtlCol="0">
            <a:noAutofit/>
          </a:bodyPr>
          <a:lstStyle/>
          <a:p>
            <a:pPr marL="52912" lvl="1" defTabSz="913770" fontAlgn="base">
              <a:spcBef>
                <a:spcPts val="1176"/>
              </a:spcBef>
              <a:buClr>
                <a:srgbClr val="68217A">
                  <a:lumMod val="50000"/>
                </a:srgbClr>
              </a:buClr>
            </a:pPr>
            <a:r>
              <a:rPr lang="en-US" sz="3137" dirty="0" smtClean="0">
                <a:ln>
                  <a:solidFill>
                    <a:srgbClr val="FFFFFF">
                      <a:alpha val="0"/>
                    </a:srgbClr>
                  </a:solidFill>
                </a:ln>
                <a:solidFill>
                  <a:srgbClr val="68217A"/>
                </a:solidFill>
                <a:latin typeface="Segoe UI Light"/>
                <a:ea typeface="Segoe UI" pitchFamily="34" charset="0"/>
                <a:cs typeface="Segoe UI" pitchFamily="34" charset="0"/>
              </a:rPr>
              <a:t>Agenda</a:t>
            </a:r>
            <a:endParaRPr lang="en-US" sz="3137" dirty="0">
              <a:ln>
                <a:solidFill>
                  <a:srgbClr val="FFFFFF">
                    <a:alpha val="0"/>
                  </a:srgbClr>
                </a:solidFill>
              </a:ln>
              <a:solidFill>
                <a:srgbClr val="68217A"/>
              </a:solidFill>
              <a:latin typeface="Segoe UI Light"/>
              <a:ea typeface="Segoe UI" pitchFamily="34" charset="0"/>
              <a:cs typeface="Segoe UI" pitchFamily="34" charset="0"/>
            </a:endParaRPr>
          </a:p>
          <a:p>
            <a:pPr marL="558686" lvl="1" indent="-448193" defTabSz="913770" fontAlgn="base">
              <a:buClr>
                <a:srgbClr val="68217A">
                  <a:lumMod val="50000"/>
                </a:srgbClr>
              </a:buClr>
              <a:buBlip>
                <a:blip r:embed="rId2"/>
              </a:buBlip>
            </a:pPr>
            <a:r>
              <a:rPr lang="en-US" sz="2353" dirty="0" smtClean="0">
                <a:ln>
                  <a:solidFill>
                    <a:srgbClr val="FFFFFF">
                      <a:alpha val="0"/>
                    </a:srgbClr>
                  </a:solidFill>
                </a:ln>
                <a:gradFill>
                  <a:gsLst>
                    <a:gs pos="85321">
                      <a:srgbClr val="505050"/>
                    </a:gs>
                    <a:gs pos="57000">
                      <a:srgbClr val="505050"/>
                    </a:gs>
                  </a:gsLst>
                </a:gradFill>
                <a:ea typeface="Segoe UI" pitchFamily="34" charset="0"/>
                <a:cs typeface="Segoe UI" pitchFamily="34" charset="0"/>
              </a:rPr>
              <a:t>Use Cases</a:t>
            </a:r>
          </a:p>
          <a:p>
            <a:pPr marL="558686" lvl="1" indent="-448193" defTabSz="913770" fontAlgn="base">
              <a:buClr>
                <a:srgbClr val="68217A">
                  <a:lumMod val="50000"/>
                </a:srgbClr>
              </a:buClr>
              <a:buBlip>
                <a:blip r:embed="rId2"/>
              </a:buBlip>
            </a:pPr>
            <a:r>
              <a:rPr lang="en-US" sz="2353" dirty="0" smtClean="0">
                <a:ln>
                  <a:solidFill>
                    <a:srgbClr val="FFFFFF">
                      <a:alpha val="0"/>
                    </a:srgbClr>
                  </a:solidFill>
                </a:ln>
                <a:gradFill>
                  <a:gsLst>
                    <a:gs pos="85321">
                      <a:srgbClr val="505050"/>
                    </a:gs>
                    <a:gs pos="57000">
                      <a:srgbClr val="505050"/>
                    </a:gs>
                  </a:gsLst>
                </a:gradFill>
                <a:ea typeface="Segoe UI" pitchFamily="34" charset="0"/>
                <a:cs typeface="Segoe UI" pitchFamily="34" charset="0"/>
              </a:rPr>
              <a:t>How Spark Streaming Works</a:t>
            </a:r>
          </a:p>
          <a:p>
            <a:pPr marL="558686" lvl="1" indent="-448193" defTabSz="913770" fontAlgn="base">
              <a:buClr>
                <a:srgbClr val="68217A">
                  <a:lumMod val="50000"/>
                </a:srgbClr>
              </a:buClr>
              <a:buBlip>
                <a:blip r:embed="rId2"/>
              </a:buBlip>
            </a:pPr>
            <a:r>
              <a:rPr lang="en-US" sz="2353" dirty="0" smtClean="0">
                <a:ln>
                  <a:solidFill>
                    <a:srgbClr val="FFFFFF">
                      <a:alpha val="0"/>
                    </a:srgbClr>
                  </a:solidFill>
                </a:ln>
                <a:gradFill>
                  <a:gsLst>
                    <a:gs pos="85321">
                      <a:srgbClr val="505050"/>
                    </a:gs>
                    <a:gs pos="57000">
                      <a:srgbClr val="505050"/>
                    </a:gs>
                  </a:gsLst>
                </a:gradFill>
                <a:ea typeface="Segoe UI" pitchFamily="34" charset="0"/>
                <a:cs typeface="Segoe UI" pitchFamily="34" charset="0"/>
              </a:rPr>
              <a:t>DStream Abstraction</a:t>
            </a:r>
          </a:p>
          <a:p>
            <a:pPr marL="558686" lvl="1" indent="-448193" defTabSz="913770" fontAlgn="base">
              <a:buClr>
                <a:srgbClr val="68217A">
                  <a:lumMod val="50000"/>
                </a:srgbClr>
              </a:buClr>
              <a:buBlip>
                <a:blip r:embed="rId2"/>
              </a:buBlip>
            </a:pPr>
            <a:r>
              <a:rPr lang="en-US" sz="2353" dirty="0" smtClean="0">
                <a:ln>
                  <a:solidFill>
                    <a:srgbClr val="FFFFFF">
                      <a:alpha val="0"/>
                    </a:srgbClr>
                  </a:solidFill>
                </a:ln>
                <a:gradFill>
                  <a:gsLst>
                    <a:gs pos="85321">
                      <a:srgbClr val="505050"/>
                    </a:gs>
                    <a:gs pos="57000">
                      <a:srgbClr val="505050"/>
                    </a:gs>
                  </a:gsLst>
                </a:gradFill>
                <a:ea typeface="Segoe UI" pitchFamily="34" charset="0"/>
                <a:cs typeface="Segoe UI" pitchFamily="34" charset="0"/>
              </a:rPr>
              <a:t>DStream Operations</a:t>
            </a:r>
          </a:p>
          <a:p>
            <a:pPr marL="558686" lvl="1" indent="-448193" defTabSz="913770" fontAlgn="base">
              <a:buClr>
                <a:srgbClr val="68217A">
                  <a:lumMod val="50000"/>
                </a:srgbClr>
              </a:buClr>
              <a:buBlip>
                <a:blip r:embed="rId2"/>
              </a:buBlip>
            </a:pPr>
            <a:r>
              <a:rPr lang="en-US" sz="2353" dirty="0" smtClean="0">
                <a:ln>
                  <a:solidFill>
                    <a:srgbClr val="FFFFFF">
                      <a:alpha val="0"/>
                    </a:srgbClr>
                  </a:solidFill>
                </a:ln>
                <a:gradFill>
                  <a:gsLst>
                    <a:gs pos="85321">
                      <a:srgbClr val="505050"/>
                    </a:gs>
                    <a:gs pos="57000">
                      <a:srgbClr val="505050"/>
                    </a:gs>
                  </a:gsLst>
                </a:gradFill>
                <a:ea typeface="Segoe UI" pitchFamily="34" charset="0"/>
                <a:cs typeface="Segoe UI" pitchFamily="34" charset="0"/>
              </a:rPr>
              <a:t>Windowing </a:t>
            </a:r>
          </a:p>
          <a:p>
            <a:pPr marL="558686" lvl="1" indent="-448193" defTabSz="913770" fontAlgn="base">
              <a:buClr>
                <a:srgbClr val="68217A">
                  <a:lumMod val="50000"/>
                </a:srgbClr>
              </a:buClr>
              <a:buBlip>
                <a:blip r:embed="rId2"/>
              </a:buBlip>
            </a:pPr>
            <a:r>
              <a:rPr lang="en-US" sz="2353" dirty="0" smtClean="0">
                <a:ln>
                  <a:solidFill>
                    <a:srgbClr val="FFFFFF">
                      <a:alpha val="0"/>
                    </a:srgbClr>
                  </a:solidFill>
                </a:ln>
                <a:gradFill>
                  <a:gsLst>
                    <a:gs pos="85321">
                      <a:srgbClr val="505050"/>
                    </a:gs>
                    <a:gs pos="57000">
                      <a:srgbClr val="505050"/>
                    </a:gs>
                  </a:gsLst>
                </a:gradFill>
                <a:ea typeface="Segoe UI" pitchFamily="34" charset="0"/>
                <a:cs typeface="Segoe UI" pitchFamily="34" charset="0"/>
              </a:rPr>
              <a:t>Guarantees</a:t>
            </a:r>
          </a:p>
          <a:p>
            <a:pPr marL="558686" lvl="1" indent="-448193" defTabSz="913770" fontAlgn="base">
              <a:buClr>
                <a:srgbClr val="68217A">
                  <a:lumMod val="50000"/>
                </a:srgbClr>
              </a:buClr>
              <a:buBlip>
                <a:blip r:embed="rId2"/>
              </a:buBlip>
            </a:pPr>
            <a:endParaRPr lang="en-US" sz="2353" dirty="0" smtClean="0">
              <a:ln>
                <a:solidFill>
                  <a:srgbClr val="FFFFFF">
                    <a:alpha val="0"/>
                  </a:srgbClr>
                </a:solidFill>
              </a:ln>
              <a:gradFill>
                <a:gsLst>
                  <a:gs pos="85321">
                    <a:srgbClr val="505050"/>
                  </a:gs>
                  <a:gs pos="57000">
                    <a:srgbClr val="505050"/>
                  </a:gs>
                </a:gsLst>
              </a:gradFill>
              <a:ea typeface="Segoe UI" pitchFamily="34" charset="0"/>
              <a:cs typeface="Segoe UI" pitchFamily="34" charset="0"/>
            </a:endParaRPr>
          </a:p>
        </p:txBody>
      </p:sp>
    </p:spTree>
    <p:extLst>
      <p:ext uri="{BB962C8B-B14F-4D97-AF65-F5344CB8AC3E}">
        <p14:creationId xmlns:p14="http://schemas.microsoft.com/office/powerpoint/2010/main" val="2700932386"/>
      </p:ext>
    </p:extLst>
  </p:cSld>
  <p:clrMapOvr>
    <a:masterClrMapping/>
  </p:clrMapOvr>
  <p:transition spd="med">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bwMode="auto">
          <a:xfrm>
            <a:off x="1" y="487"/>
            <a:ext cx="5220356" cy="6857027"/>
          </a:xfrm>
          <a:prstGeom prst="rect">
            <a:avLst/>
          </a:prstGeom>
          <a:solidFill>
            <a:srgbClr val="68217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8927" tIns="143428"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endParaRPr lang="en-US" sz="5294" dirty="0">
              <a:solidFill>
                <a:srgbClr val="FFFFFF"/>
              </a:solidFill>
              <a:latin typeface="Segoe UI Light"/>
              <a:ea typeface="Segoe UI" pitchFamily="34" charset="0"/>
              <a:cs typeface="Segoe UI" pitchFamily="34" charset="0"/>
            </a:endParaRPr>
          </a:p>
          <a:p>
            <a:pPr defTabSz="914102" fontAlgn="base">
              <a:lnSpc>
                <a:spcPct val="90000"/>
              </a:lnSpc>
              <a:spcBef>
                <a:spcPct val="0"/>
              </a:spcBef>
              <a:spcAft>
                <a:spcPct val="0"/>
              </a:spcAft>
            </a:pPr>
            <a:endParaRPr lang="en-US" sz="5294" dirty="0">
              <a:solidFill>
                <a:srgbClr val="FFFFFF"/>
              </a:solidFill>
              <a:latin typeface="Segoe UI Light"/>
              <a:ea typeface="Segoe UI" pitchFamily="34" charset="0"/>
              <a:cs typeface="Segoe UI" pitchFamily="34" charset="0"/>
            </a:endParaRPr>
          </a:p>
        </p:txBody>
      </p:sp>
      <p:sp>
        <p:nvSpPr>
          <p:cNvPr id="5" name="Rectangle 4"/>
          <p:cNvSpPr/>
          <p:nvPr/>
        </p:nvSpPr>
        <p:spPr bwMode="auto">
          <a:xfrm>
            <a:off x="1" y="6319659"/>
            <a:ext cx="5220356" cy="537855"/>
          </a:xfrm>
          <a:prstGeom prst="rect">
            <a:avLst/>
          </a:prstGeom>
          <a:solidFill>
            <a:schemeClr val="accent3">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endParaRPr lang="en-US" sz="2353" kern="0" dirty="0">
              <a:ln>
                <a:solidFill>
                  <a:srgbClr val="FFFFFF">
                    <a:alpha val="0"/>
                  </a:srgbClr>
                </a:solidFill>
              </a:ln>
              <a:solidFill>
                <a:srgbClr val="FFFFFF"/>
              </a:solidFill>
              <a:latin typeface="Segoe UI Semibold" panose="020B0702040204020203" pitchFamily="34" charset="0"/>
              <a:ea typeface="MS PGothic" charset="0"/>
              <a:cs typeface="Segoe UI Semibold" panose="020B0702040204020203" pitchFamily="34" charset="0"/>
            </a:endParaRPr>
          </a:p>
        </p:txBody>
      </p:sp>
      <p:sp>
        <p:nvSpPr>
          <p:cNvPr id="6" name="Freeform 5"/>
          <p:cNvSpPr>
            <a:spLocks/>
          </p:cNvSpPr>
          <p:nvPr/>
        </p:nvSpPr>
        <p:spPr bwMode="auto">
          <a:xfrm flipH="1">
            <a:off x="2619107" y="4183803"/>
            <a:ext cx="2601249" cy="2135857"/>
          </a:xfrm>
          <a:custGeom>
            <a:avLst/>
            <a:gdLst>
              <a:gd name="connsiteX0" fmla="*/ 603413 w 1090712"/>
              <a:gd name="connsiteY0" fmla="*/ 721327 h 895572"/>
              <a:gd name="connsiteX1" fmla="*/ 578466 w 1090712"/>
              <a:gd name="connsiteY1" fmla="*/ 770746 h 895572"/>
              <a:gd name="connsiteX2" fmla="*/ 553519 w 1090712"/>
              <a:gd name="connsiteY2" fmla="*/ 818264 h 895572"/>
              <a:gd name="connsiteX3" fmla="*/ 528334 w 1090712"/>
              <a:gd name="connsiteY3" fmla="*/ 865069 h 895572"/>
              <a:gd name="connsiteX4" fmla="*/ 511825 w 1090712"/>
              <a:gd name="connsiteY4" fmla="*/ 895572 h 895572"/>
              <a:gd name="connsiteX5" fmla="*/ 624528 w 1090712"/>
              <a:gd name="connsiteY5" fmla="*/ 895572 h 895572"/>
              <a:gd name="connsiteX6" fmla="*/ 624796 w 1090712"/>
              <a:gd name="connsiteY6" fmla="*/ 894768 h 895572"/>
              <a:gd name="connsiteX7" fmla="*/ 625271 w 1090712"/>
              <a:gd name="connsiteY7" fmla="*/ 891679 h 895572"/>
              <a:gd name="connsiteX8" fmla="*/ 625747 w 1090712"/>
              <a:gd name="connsiteY8" fmla="*/ 889066 h 895572"/>
              <a:gd name="connsiteX9" fmla="*/ 625747 w 1090712"/>
              <a:gd name="connsiteY9" fmla="*/ 860555 h 895572"/>
              <a:gd name="connsiteX10" fmla="*/ 624796 w 1090712"/>
              <a:gd name="connsiteY10" fmla="*/ 833945 h 895572"/>
              <a:gd name="connsiteX11" fmla="*/ 624321 w 1090712"/>
              <a:gd name="connsiteY11" fmla="*/ 820877 h 895572"/>
              <a:gd name="connsiteX12" fmla="*/ 623608 w 1090712"/>
              <a:gd name="connsiteY12" fmla="*/ 808047 h 895572"/>
              <a:gd name="connsiteX13" fmla="*/ 621708 w 1090712"/>
              <a:gd name="connsiteY13" fmla="*/ 795218 h 895572"/>
              <a:gd name="connsiteX14" fmla="*/ 620044 w 1090712"/>
              <a:gd name="connsiteY14" fmla="*/ 782625 h 895572"/>
              <a:gd name="connsiteX15" fmla="*/ 616005 w 1090712"/>
              <a:gd name="connsiteY15" fmla="*/ 766707 h 895572"/>
              <a:gd name="connsiteX16" fmla="*/ 611966 w 1090712"/>
              <a:gd name="connsiteY16" fmla="*/ 751976 h 895572"/>
              <a:gd name="connsiteX17" fmla="*/ 607452 w 1090712"/>
              <a:gd name="connsiteY17" fmla="*/ 737245 h 895572"/>
              <a:gd name="connsiteX18" fmla="*/ 698212 w 1090712"/>
              <a:gd name="connsiteY18" fmla="*/ 530778 h 895572"/>
              <a:gd name="connsiteX19" fmla="*/ 693460 w 1090712"/>
              <a:gd name="connsiteY19" fmla="*/ 534818 h 895572"/>
              <a:gd name="connsiteX20" fmla="*/ 688471 w 1090712"/>
              <a:gd name="connsiteY20" fmla="*/ 538857 h 895572"/>
              <a:gd name="connsiteX21" fmla="*/ 678254 w 1090712"/>
              <a:gd name="connsiteY21" fmla="*/ 546935 h 895572"/>
              <a:gd name="connsiteX22" fmla="*/ 669226 w 1090712"/>
              <a:gd name="connsiteY22" fmla="*/ 553587 h 895572"/>
              <a:gd name="connsiteX23" fmla="*/ 663048 w 1090712"/>
              <a:gd name="connsiteY23" fmla="*/ 558814 h 895572"/>
              <a:gd name="connsiteX24" fmla="*/ 663048 w 1090712"/>
              <a:gd name="connsiteY24" fmla="*/ 556676 h 895572"/>
              <a:gd name="connsiteX25" fmla="*/ 663523 w 1090712"/>
              <a:gd name="connsiteY25" fmla="*/ 554538 h 895572"/>
              <a:gd name="connsiteX26" fmla="*/ 665424 w 1090712"/>
              <a:gd name="connsiteY26" fmla="*/ 550498 h 895572"/>
              <a:gd name="connsiteX27" fmla="*/ 668038 w 1090712"/>
              <a:gd name="connsiteY27" fmla="*/ 546459 h 895572"/>
              <a:gd name="connsiteX28" fmla="*/ 671602 w 1090712"/>
              <a:gd name="connsiteY28" fmla="*/ 542420 h 895572"/>
              <a:gd name="connsiteX29" fmla="*/ 676829 w 1090712"/>
              <a:gd name="connsiteY29" fmla="*/ 538857 h 895572"/>
              <a:gd name="connsiteX30" fmla="*/ 682768 w 1090712"/>
              <a:gd name="connsiteY30" fmla="*/ 535768 h 895572"/>
              <a:gd name="connsiteX31" fmla="*/ 689896 w 1090712"/>
              <a:gd name="connsiteY31" fmla="*/ 533154 h 895572"/>
              <a:gd name="connsiteX32" fmla="*/ 654257 w 1090712"/>
              <a:gd name="connsiteY32" fmla="*/ 302216 h 895572"/>
              <a:gd name="connsiteX33" fmla="*/ 651882 w 1090712"/>
              <a:gd name="connsiteY33" fmla="*/ 302691 h 895572"/>
              <a:gd name="connsiteX34" fmla="*/ 649268 w 1090712"/>
              <a:gd name="connsiteY34" fmla="*/ 303166 h 895572"/>
              <a:gd name="connsiteX35" fmla="*/ 647130 w 1090712"/>
              <a:gd name="connsiteY35" fmla="*/ 304354 h 895572"/>
              <a:gd name="connsiteX36" fmla="*/ 644516 w 1090712"/>
              <a:gd name="connsiteY36" fmla="*/ 306255 h 895572"/>
              <a:gd name="connsiteX37" fmla="*/ 642140 w 1090712"/>
              <a:gd name="connsiteY37" fmla="*/ 307918 h 895572"/>
              <a:gd name="connsiteX38" fmla="*/ 640002 w 1090712"/>
              <a:gd name="connsiteY38" fmla="*/ 310294 h 895572"/>
              <a:gd name="connsiteX39" fmla="*/ 638101 w 1090712"/>
              <a:gd name="connsiteY39" fmla="*/ 312432 h 895572"/>
              <a:gd name="connsiteX40" fmla="*/ 636913 w 1090712"/>
              <a:gd name="connsiteY40" fmla="*/ 314571 h 895572"/>
              <a:gd name="connsiteX41" fmla="*/ 635963 w 1090712"/>
              <a:gd name="connsiteY41" fmla="*/ 316946 h 895572"/>
              <a:gd name="connsiteX42" fmla="*/ 635963 w 1090712"/>
              <a:gd name="connsiteY42" fmla="*/ 319085 h 895572"/>
              <a:gd name="connsiteX43" fmla="*/ 636913 w 1090712"/>
              <a:gd name="connsiteY43" fmla="*/ 321223 h 895572"/>
              <a:gd name="connsiteX44" fmla="*/ 637626 w 1090712"/>
              <a:gd name="connsiteY44" fmla="*/ 324074 h 895572"/>
              <a:gd name="connsiteX45" fmla="*/ 639527 w 1090712"/>
              <a:gd name="connsiteY45" fmla="*/ 326688 h 895572"/>
              <a:gd name="connsiteX46" fmla="*/ 643091 w 1090712"/>
              <a:gd name="connsiteY46" fmla="*/ 331677 h 895572"/>
              <a:gd name="connsiteX47" fmla="*/ 647130 w 1090712"/>
              <a:gd name="connsiteY47" fmla="*/ 335954 h 895572"/>
              <a:gd name="connsiteX48" fmla="*/ 655920 w 1090712"/>
              <a:gd name="connsiteY48" fmla="*/ 330727 h 895572"/>
              <a:gd name="connsiteX49" fmla="*/ 663999 w 1090712"/>
              <a:gd name="connsiteY49" fmla="*/ 324787 h 895572"/>
              <a:gd name="connsiteX50" fmla="*/ 679917 w 1090712"/>
              <a:gd name="connsiteY50" fmla="*/ 313383 h 895572"/>
              <a:gd name="connsiteX51" fmla="*/ 676354 w 1090712"/>
              <a:gd name="connsiteY51" fmla="*/ 311007 h 895572"/>
              <a:gd name="connsiteX52" fmla="*/ 672790 w 1090712"/>
              <a:gd name="connsiteY52" fmla="*/ 308393 h 895572"/>
              <a:gd name="connsiteX53" fmla="*/ 668988 w 1090712"/>
              <a:gd name="connsiteY53" fmla="*/ 306730 h 895572"/>
              <a:gd name="connsiteX54" fmla="*/ 664949 w 1090712"/>
              <a:gd name="connsiteY54" fmla="*/ 304829 h 895572"/>
              <a:gd name="connsiteX55" fmla="*/ 660910 w 1090712"/>
              <a:gd name="connsiteY55" fmla="*/ 303641 h 895572"/>
              <a:gd name="connsiteX56" fmla="*/ 657346 w 1090712"/>
              <a:gd name="connsiteY56" fmla="*/ 302691 h 895572"/>
              <a:gd name="connsiteX57" fmla="*/ 696549 w 1090712"/>
              <a:gd name="connsiteY57" fmla="*/ 252322 h 895572"/>
              <a:gd name="connsiteX58" fmla="*/ 696786 w 1090712"/>
              <a:gd name="connsiteY58" fmla="*/ 259925 h 895572"/>
              <a:gd name="connsiteX59" fmla="*/ 698212 w 1090712"/>
              <a:gd name="connsiteY59" fmla="*/ 266102 h 895572"/>
              <a:gd name="connsiteX60" fmla="*/ 700113 w 1090712"/>
              <a:gd name="connsiteY60" fmla="*/ 272042 h 895572"/>
              <a:gd name="connsiteX61" fmla="*/ 701776 w 1090712"/>
              <a:gd name="connsiteY61" fmla="*/ 276794 h 895572"/>
              <a:gd name="connsiteX62" fmla="*/ 704389 w 1090712"/>
              <a:gd name="connsiteY62" fmla="*/ 280833 h 895572"/>
              <a:gd name="connsiteX63" fmla="*/ 707240 w 1090712"/>
              <a:gd name="connsiteY63" fmla="*/ 284397 h 895572"/>
              <a:gd name="connsiteX64" fmla="*/ 710329 w 1090712"/>
              <a:gd name="connsiteY64" fmla="*/ 287010 h 895572"/>
              <a:gd name="connsiteX65" fmla="*/ 713418 w 1090712"/>
              <a:gd name="connsiteY65" fmla="*/ 289624 h 895572"/>
              <a:gd name="connsiteX66" fmla="*/ 716506 w 1090712"/>
              <a:gd name="connsiteY66" fmla="*/ 291524 h 895572"/>
              <a:gd name="connsiteX67" fmla="*/ 719595 w 1090712"/>
              <a:gd name="connsiteY67" fmla="*/ 293187 h 895572"/>
              <a:gd name="connsiteX68" fmla="*/ 725772 w 1090712"/>
              <a:gd name="connsiteY68" fmla="*/ 295088 h 895572"/>
              <a:gd name="connsiteX69" fmla="*/ 731237 w 1090712"/>
              <a:gd name="connsiteY69" fmla="*/ 296514 h 895572"/>
              <a:gd name="connsiteX70" fmla="*/ 734801 w 1090712"/>
              <a:gd name="connsiteY70" fmla="*/ 296751 h 895572"/>
              <a:gd name="connsiteX71" fmla="*/ 722209 w 1090712"/>
              <a:gd name="connsiteY71" fmla="*/ 303879 h 895572"/>
              <a:gd name="connsiteX72" fmla="*/ 710804 w 1090712"/>
              <a:gd name="connsiteY72" fmla="*/ 311007 h 895572"/>
              <a:gd name="connsiteX73" fmla="*/ 688471 w 1090712"/>
              <a:gd name="connsiteY73" fmla="*/ 324787 h 895572"/>
              <a:gd name="connsiteX74" fmla="*/ 667563 w 1090712"/>
              <a:gd name="connsiteY74" fmla="*/ 339043 h 895572"/>
              <a:gd name="connsiteX75" fmla="*/ 646179 w 1090712"/>
              <a:gd name="connsiteY75" fmla="*/ 352823 h 895572"/>
              <a:gd name="connsiteX76" fmla="*/ 620044 w 1090712"/>
              <a:gd name="connsiteY76" fmla="*/ 313383 h 895572"/>
              <a:gd name="connsiteX77" fmla="*/ 617668 w 1090712"/>
              <a:gd name="connsiteY77" fmla="*/ 312432 h 895572"/>
              <a:gd name="connsiteX78" fmla="*/ 615055 w 1090712"/>
              <a:gd name="connsiteY78" fmla="*/ 312432 h 895572"/>
              <a:gd name="connsiteX79" fmla="*/ 612441 w 1090712"/>
              <a:gd name="connsiteY79" fmla="*/ 313383 h 895572"/>
              <a:gd name="connsiteX80" fmla="*/ 609353 w 1090712"/>
              <a:gd name="connsiteY80" fmla="*/ 314095 h 895572"/>
              <a:gd name="connsiteX81" fmla="*/ 602938 w 1090712"/>
              <a:gd name="connsiteY81" fmla="*/ 316946 h 895572"/>
              <a:gd name="connsiteX82" fmla="*/ 599849 w 1090712"/>
              <a:gd name="connsiteY82" fmla="*/ 317659 h 895572"/>
              <a:gd name="connsiteX83" fmla="*/ 596760 w 1090712"/>
              <a:gd name="connsiteY83" fmla="*/ 318610 h 895572"/>
              <a:gd name="connsiteX84" fmla="*/ 607927 w 1090712"/>
              <a:gd name="connsiteY84" fmla="*/ 307205 h 895572"/>
              <a:gd name="connsiteX85" fmla="*/ 618619 w 1090712"/>
              <a:gd name="connsiteY85" fmla="*/ 295088 h 895572"/>
              <a:gd name="connsiteX86" fmla="*/ 623846 w 1090712"/>
              <a:gd name="connsiteY86" fmla="*/ 289386 h 895572"/>
              <a:gd name="connsiteX87" fmla="*/ 629786 w 1090712"/>
              <a:gd name="connsiteY87" fmla="*/ 283921 h 895572"/>
              <a:gd name="connsiteX88" fmla="*/ 635963 w 1090712"/>
              <a:gd name="connsiteY88" fmla="*/ 278694 h 895572"/>
              <a:gd name="connsiteX89" fmla="*/ 642140 w 1090712"/>
              <a:gd name="connsiteY89" fmla="*/ 273705 h 895572"/>
              <a:gd name="connsiteX90" fmla="*/ 648793 w 1090712"/>
              <a:gd name="connsiteY90" fmla="*/ 269191 h 895572"/>
              <a:gd name="connsiteX91" fmla="*/ 655446 w 1090712"/>
              <a:gd name="connsiteY91" fmla="*/ 265627 h 895572"/>
              <a:gd name="connsiteX92" fmla="*/ 662098 w 1090712"/>
              <a:gd name="connsiteY92" fmla="*/ 263013 h 895572"/>
              <a:gd name="connsiteX93" fmla="*/ 668988 w 1090712"/>
              <a:gd name="connsiteY93" fmla="*/ 260400 h 895572"/>
              <a:gd name="connsiteX94" fmla="*/ 682768 w 1090712"/>
              <a:gd name="connsiteY94" fmla="*/ 256361 h 895572"/>
              <a:gd name="connsiteX95" fmla="*/ 1030602 w 1090712"/>
              <a:gd name="connsiteY95" fmla="*/ 200289 h 895572"/>
              <a:gd name="connsiteX96" fmla="*/ 1027513 w 1090712"/>
              <a:gd name="connsiteY96" fmla="*/ 207892 h 895572"/>
              <a:gd name="connsiteX97" fmla="*/ 1023949 w 1090712"/>
              <a:gd name="connsiteY97" fmla="*/ 214545 h 895572"/>
              <a:gd name="connsiteX98" fmla="*/ 1019910 w 1090712"/>
              <a:gd name="connsiteY98" fmla="*/ 221197 h 895572"/>
              <a:gd name="connsiteX99" fmla="*/ 1015396 w 1090712"/>
              <a:gd name="connsiteY99" fmla="*/ 226899 h 895572"/>
              <a:gd name="connsiteX100" fmla="*/ 1011119 w 1090712"/>
              <a:gd name="connsiteY100" fmla="*/ 232839 h 895572"/>
              <a:gd name="connsiteX101" fmla="*/ 1006130 w 1090712"/>
              <a:gd name="connsiteY101" fmla="*/ 237591 h 895572"/>
              <a:gd name="connsiteX102" fmla="*/ 1001140 w 1090712"/>
              <a:gd name="connsiteY102" fmla="*/ 242105 h 895572"/>
              <a:gd name="connsiteX103" fmla="*/ 996388 w 1090712"/>
              <a:gd name="connsiteY103" fmla="*/ 246144 h 895572"/>
              <a:gd name="connsiteX104" fmla="*/ 990924 w 1090712"/>
              <a:gd name="connsiteY104" fmla="*/ 249708 h 895572"/>
              <a:gd name="connsiteX105" fmla="*/ 985697 w 1090712"/>
              <a:gd name="connsiteY105" fmla="*/ 252797 h 895572"/>
              <a:gd name="connsiteX106" fmla="*/ 980232 w 1090712"/>
              <a:gd name="connsiteY106" fmla="*/ 254935 h 895572"/>
              <a:gd name="connsiteX107" fmla="*/ 975005 w 1090712"/>
              <a:gd name="connsiteY107" fmla="*/ 256836 h 895572"/>
              <a:gd name="connsiteX108" fmla="*/ 969541 w 1090712"/>
              <a:gd name="connsiteY108" fmla="*/ 258262 h 895572"/>
              <a:gd name="connsiteX109" fmla="*/ 963839 w 1090712"/>
              <a:gd name="connsiteY109" fmla="*/ 258499 h 895572"/>
              <a:gd name="connsiteX110" fmla="*/ 958612 w 1090712"/>
              <a:gd name="connsiteY110" fmla="*/ 258499 h 895572"/>
              <a:gd name="connsiteX111" fmla="*/ 953622 w 1090712"/>
              <a:gd name="connsiteY111" fmla="*/ 257786 h 895572"/>
              <a:gd name="connsiteX112" fmla="*/ 970966 w 1090712"/>
              <a:gd name="connsiteY112" fmla="*/ 244006 h 895572"/>
              <a:gd name="connsiteX113" fmla="*/ 990211 w 1090712"/>
              <a:gd name="connsiteY113" fmla="*/ 229275 h 895572"/>
              <a:gd name="connsiteX114" fmla="*/ 1010169 w 1090712"/>
              <a:gd name="connsiteY114" fmla="*/ 214069 h 895572"/>
              <a:gd name="connsiteX115" fmla="*/ 1020385 w 1090712"/>
              <a:gd name="connsiteY115" fmla="*/ 206942 h 895572"/>
              <a:gd name="connsiteX116" fmla="*/ 389581 w 1090712"/>
              <a:gd name="connsiteY116" fmla="*/ 176768 h 895572"/>
              <a:gd name="connsiteX117" fmla="*/ 397422 w 1090712"/>
              <a:gd name="connsiteY117" fmla="*/ 177243 h 895572"/>
              <a:gd name="connsiteX118" fmla="*/ 414766 w 1090712"/>
              <a:gd name="connsiteY118" fmla="*/ 178906 h 895572"/>
              <a:gd name="connsiteX119" fmla="*/ 405500 w 1090712"/>
              <a:gd name="connsiteY119" fmla="*/ 179856 h 895572"/>
              <a:gd name="connsiteX120" fmla="*/ 396946 w 1090712"/>
              <a:gd name="connsiteY120" fmla="*/ 181995 h 895572"/>
              <a:gd name="connsiteX121" fmla="*/ 389581 w 1090712"/>
              <a:gd name="connsiteY121" fmla="*/ 184371 h 895572"/>
              <a:gd name="connsiteX122" fmla="*/ 381978 w 1090712"/>
              <a:gd name="connsiteY122" fmla="*/ 186984 h 895572"/>
              <a:gd name="connsiteX123" fmla="*/ 375326 w 1090712"/>
              <a:gd name="connsiteY123" fmla="*/ 190548 h 895572"/>
              <a:gd name="connsiteX124" fmla="*/ 368911 w 1090712"/>
              <a:gd name="connsiteY124" fmla="*/ 194112 h 895572"/>
              <a:gd name="connsiteX125" fmla="*/ 363208 w 1090712"/>
              <a:gd name="connsiteY125" fmla="*/ 198626 h 895572"/>
              <a:gd name="connsiteX126" fmla="*/ 357981 w 1090712"/>
              <a:gd name="connsiteY126" fmla="*/ 202903 h 895572"/>
              <a:gd name="connsiteX127" fmla="*/ 352517 w 1090712"/>
              <a:gd name="connsiteY127" fmla="*/ 208367 h 895572"/>
              <a:gd name="connsiteX128" fmla="*/ 348003 w 1090712"/>
              <a:gd name="connsiteY128" fmla="*/ 214070 h 895572"/>
              <a:gd name="connsiteX129" fmla="*/ 343726 w 1090712"/>
              <a:gd name="connsiteY129" fmla="*/ 220247 h 895572"/>
              <a:gd name="connsiteX130" fmla="*/ 339687 w 1090712"/>
              <a:gd name="connsiteY130" fmla="*/ 226662 h 895572"/>
              <a:gd name="connsiteX131" fmla="*/ 335648 w 1090712"/>
              <a:gd name="connsiteY131" fmla="*/ 233790 h 895572"/>
              <a:gd name="connsiteX132" fmla="*/ 332559 w 1090712"/>
              <a:gd name="connsiteY132" fmla="*/ 240917 h 895572"/>
              <a:gd name="connsiteX133" fmla="*/ 328995 w 1090712"/>
              <a:gd name="connsiteY133" fmla="*/ 248758 h 895572"/>
              <a:gd name="connsiteX134" fmla="*/ 325907 w 1090712"/>
              <a:gd name="connsiteY134" fmla="*/ 256836 h 895572"/>
              <a:gd name="connsiteX135" fmla="*/ 325432 w 1090712"/>
              <a:gd name="connsiteY135" fmla="*/ 252797 h 895572"/>
              <a:gd name="connsiteX136" fmla="*/ 324956 w 1090712"/>
              <a:gd name="connsiteY136" fmla="*/ 248283 h 895572"/>
              <a:gd name="connsiteX137" fmla="*/ 323056 w 1090712"/>
              <a:gd name="connsiteY137" fmla="*/ 239492 h 895572"/>
              <a:gd name="connsiteX138" fmla="*/ 320917 w 1090712"/>
              <a:gd name="connsiteY138" fmla="*/ 229275 h 895572"/>
              <a:gd name="connsiteX139" fmla="*/ 320442 w 1090712"/>
              <a:gd name="connsiteY139" fmla="*/ 223811 h 895572"/>
              <a:gd name="connsiteX140" fmla="*/ 319967 w 1090712"/>
              <a:gd name="connsiteY140" fmla="*/ 217633 h 895572"/>
              <a:gd name="connsiteX141" fmla="*/ 314740 w 1090712"/>
              <a:gd name="connsiteY141" fmla="*/ 217633 h 895572"/>
              <a:gd name="connsiteX142" fmla="*/ 302148 w 1090712"/>
              <a:gd name="connsiteY142" fmla="*/ 243056 h 895572"/>
              <a:gd name="connsiteX143" fmla="*/ 289793 w 1090712"/>
              <a:gd name="connsiteY143" fmla="*/ 267528 h 895572"/>
              <a:gd name="connsiteX144" fmla="*/ 277438 w 1090712"/>
              <a:gd name="connsiteY144" fmla="*/ 291049 h 895572"/>
              <a:gd name="connsiteX145" fmla="*/ 264371 w 1090712"/>
              <a:gd name="connsiteY145" fmla="*/ 312907 h 895572"/>
              <a:gd name="connsiteX146" fmla="*/ 267459 w 1090712"/>
              <a:gd name="connsiteY146" fmla="*/ 295088 h 895572"/>
              <a:gd name="connsiteX147" fmla="*/ 271023 w 1090712"/>
              <a:gd name="connsiteY147" fmla="*/ 279170 h 895572"/>
              <a:gd name="connsiteX148" fmla="*/ 274587 w 1090712"/>
              <a:gd name="connsiteY148" fmla="*/ 263964 h 895572"/>
              <a:gd name="connsiteX149" fmla="*/ 279101 w 1090712"/>
              <a:gd name="connsiteY149" fmla="*/ 250183 h 895572"/>
              <a:gd name="connsiteX150" fmla="*/ 284091 w 1090712"/>
              <a:gd name="connsiteY150" fmla="*/ 238066 h 895572"/>
              <a:gd name="connsiteX151" fmla="*/ 289318 w 1090712"/>
              <a:gd name="connsiteY151" fmla="*/ 226900 h 895572"/>
              <a:gd name="connsiteX152" fmla="*/ 292406 w 1090712"/>
              <a:gd name="connsiteY152" fmla="*/ 221673 h 895572"/>
              <a:gd name="connsiteX153" fmla="*/ 295495 w 1090712"/>
              <a:gd name="connsiteY153" fmla="*/ 217158 h 895572"/>
              <a:gd name="connsiteX154" fmla="*/ 298584 w 1090712"/>
              <a:gd name="connsiteY154" fmla="*/ 212406 h 895572"/>
              <a:gd name="connsiteX155" fmla="*/ 302148 w 1090712"/>
              <a:gd name="connsiteY155" fmla="*/ 208367 h 895572"/>
              <a:gd name="connsiteX156" fmla="*/ 305711 w 1090712"/>
              <a:gd name="connsiteY156" fmla="*/ 204328 h 895572"/>
              <a:gd name="connsiteX157" fmla="*/ 309275 w 1090712"/>
              <a:gd name="connsiteY157" fmla="*/ 200765 h 895572"/>
              <a:gd name="connsiteX158" fmla="*/ 313314 w 1090712"/>
              <a:gd name="connsiteY158" fmla="*/ 197201 h 895572"/>
              <a:gd name="connsiteX159" fmla="*/ 317354 w 1090712"/>
              <a:gd name="connsiteY159" fmla="*/ 194112 h 895572"/>
              <a:gd name="connsiteX160" fmla="*/ 321868 w 1090712"/>
              <a:gd name="connsiteY160" fmla="*/ 191498 h 895572"/>
              <a:gd name="connsiteX161" fmla="*/ 326382 w 1090712"/>
              <a:gd name="connsiteY161" fmla="*/ 188647 h 895572"/>
              <a:gd name="connsiteX162" fmla="*/ 330659 w 1090712"/>
              <a:gd name="connsiteY162" fmla="*/ 186509 h 895572"/>
              <a:gd name="connsiteX163" fmla="*/ 335648 w 1090712"/>
              <a:gd name="connsiteY163" fmla="*/ 184371 h 895572"/>
              <a:gd name="connsiteX164" fmla="*/ 340637 w 1090712"/>
              <a:gd name="connsiteY164" fmla="*/ 182470 h 895572"/>
              <a:gd name="connsiteX165" fmla="*/ 345864 w 1090712"/>
              <a:gd name="connsiteY165" fmla="*/ 181282 h 895572"/>
              <a:gd name="connsiteX166" fmla="*/ 351091 w 1090712"/>
              <a:gd name="connsiteY166" fmla="*/ 179856 h 895572"/>
              <a:gd name="connsiteX167" fmla="*/ 357031 w 1090712"/>
              <a:gd name="connsiteY167" fmla="*/ 178431 h 895572"/>
              <a:gd name="connsiteX168" fmla="*/ 368911 w 1090712"/>
              <a:gd name="connsiteY168" fmla="*/ 177243 h 895572"/>
              <a:gd name="connsiteX169" fmla="*/ 381978 w 1090712"/>
              <a:gd name="connsiteY169" fmla="*/ 176768 h 895572"/>
              <a:gd name="connsiteX170" fmla="*/ 609353 w 1090712"/>
              <a:gd name="connsiteY170" fmla="*/ 174629 h 895572"/>
              <a:gd name="connsiteX171" fmla="*/ 602463 w 1090712"/>
              <a:gd name="connsiteY171" fmla="*/ 180807 h 895572"/>
              <a:gd name="connsiteX172" fmla="*/ 596285 w 1090712"/>
              <a:gd name="connsiteY172" fmla="*/ 187459 h 895572"/>
              <a:gd name="connsiteX173" fmla="*/ 583931 w 1090712"/>
              <a:gd name="connsiteY173" fmla="*/ 201715 h 895572"/>
              <a:gd name="connsiteX174" fmla="*/ 571101 w 1090712"/>
              <a:gd name="connsiteY174" fmla="*/ 215495 h 895572"/>
              <a:gd name="connsiteX175" fmla="*/ 564686 w 1090712"/>
              <a:gd name="connsiteY175" fmla="*/ 222148 h 895572"/>
              <a:gd name="connsiteX176" fmla="*/ 558508 w 1090712"/>
              <a:gd name="connsiteY176" fmla="*/ 228325 h 895572"/>
              <a:gd name="connsiteX177" fmla="*/ 557558 w 1090712"/>
              <a:gd name="connsiteY177" fmla="*/ 223335 h 895572"/>
              <a:gd name="connsiteX178" fmla="*/ 557083 w 1090712"/>
              <a:gd name="connsiteY178" fmla="*/ 219059 h 895572"/>
              <a:gd name="connsiteX179" fmla="*/ 557083 w 1090712"/>
              <a:gd name="connsiteY179" fmla="*/ 215020 h 895572"/>
              <a:gd name="connsiteX180" fmla="*/ 557558 w 1090712"/>
              <a:gd name="connsiteY180" fmla="*/ 210981 h 895572"/>
              <a:gd name="connsiteX181" fmla="*/ 558508 w 1090712"/>
              <a:gd name="connsiteY181" fmla="*/ 207417 h 895572"/>
              <a:gd name="connsiteX182" fmla="*/ 560409 w 1090712"/>
              <a:gd name="connsiteY182" fmla="*/ 203853 h 895572"/>
              <a:gd name="connsiteX183" fmla="*/ 562072 w 1090712"/>
              <a:gd name="connsiteY183" fmla="*/ 200764 h 895572"/>
              <a:gd name="connsiteX184" fmla="*/ 564686 w 1090712"/>
              <a:gd name="connsiteY184" fmla="*/ 197676 h 895572"/>
              <a:gd name="connsiteX185" fmla="*/ 567774 w 1090712"/>
              <a:gd name="connsiteY185" fmla="*/ 194587 h 895572"/>
              <a:gd name="connsiteX186" fmla="*/ 571813 w 1090712"/>
              <a:gd name="connsiteY186" fmla="*/ 191973 h 895572"/>
              <a:gd name="connsiteX187" fmla="*/ 576328 w 1090712"/>
              <a:gd name="connsiteY187" fmla="*/ 188647 h 895572"/>
              <a:gd name="connsiteX188" fmla="*/ 581317 w 1090712"/>
              <a:gd name="connsiteY188" fmla="*/ 186034 h 895572"/>
              <a:gd name="connsiteX189" fmla="*/ 587019 w 1090712"/>
              <a:gd name="connsiteY189" fmla="*/ 183420 h 895572"/>
              <a:gd name="connsiteX190" fmla="*/ 593672 w 1090712"/>
              <a:gd name="connsiteY190" fmla="*/ 180332 h 895572"/>
              <a:gd name="connsiteX191" fmla="*/ 586544 w 1090712"/>
              <a:gd name="connsiteY191" fmla="*/ 0 h 895572"/>
              <a:gd name="connsiteX192" fmla="*/ 570150 w 1090712"/>
              <a:gd name="connsiteY192" fmla="*/ 2851 h 895572"/>
              <a:gd name="connsiteX193" fmla="*/ 553519 w 1090712"/>
              <a:gd name="connsiteY193" fmla="*/ 5940 h 895572"/>
              <a:gd name="connsiteX194" fmla="*/ 536650 w 1090712"/>
              <a:gd name="connsiteY194" fmla="*/ 10454 h 895572"/>
              <a:gd name="connsiteX195" fmla="*/ 520256 w 1090712"/>
              <a:gd name="connsiteY195" fmla="*/ 14731 h 895572"/>
              <a:gd name="connsiteX196" fmla="*/ 486993 w 1090712"/>
              <a:gd name="connsiteY196" fmla="*/ 24472 h 895572"/>
              <a:gd name="connsiteX197" fmla="*/ 469887 w 1090712"/>
              <a:gd name="connsiteY197" fmla="*/ 28986 h 895572"/>
              <a:gd name="connsiteX198" fmla="*/ 453493 w 1090712"/>
              <a:gd name="connsiteY198" fmla="*/ 33500 h 895572"/>
              <a:gd name="connsiteX199" fmla="*/ 438762 w 1090712"/>
              <a:gd name="connsiteY199" fmla="*/ 40153 h 895572"/>
              <a:gd name="connsiteX200" fmla="*/ 424507 w 1090712"/>
              <a:gd name="connsiteY200" fmla="*/ 47281 h 895572"/>
              <a:gd name="connsiteX201" fmla="*/ 417379 w 1090712"/>
              <a:gd name="connsiteY201" fmla="*/ 51320 h 895572"/>
              <a:gd name="connsiteX202" fmla="*/ 410727 w 1090712"/>
              <a:gd name="connsiteY202" fmla="*/ 55834 h 895572"/>
              <a:gd name="connsiteX203" fmla="*/ 403599 w 1090712"/>
              <a:gd name="connsiteY203" fmla="*/ 60111 h 895572"/>
              <a:gd name="connsiteX204" fmla="*/ 397422 w 1090712"/>
              <a:gd name="connsiteY204" fmla="*/ 65100 h 895572"/>
              <a:gd name="connsiteX205" fmla="*/ 390769 w 1090712"/>
              <a:gd name="connsiteY205" fmla="*/ 69852 h 895572"/>
              <a:gd name="connsiteX206" fmla="*/ 384592 w 1090712"/>
              <a:gd name="connsiteY206" fmla="*/ 75792 h 895572"/>
              <a:gd name="connsiteX207" fmla="*/ 378889 w 1090712"/>
              <a:gd name="connsiteY207" fmla="*/ 81494 h 895572"/>
              <a:gd name="connsiteX208" fmla="*/ 372950 w 1090712"/>
              <a:gd name="connsiteY208" fmla="*/ 87671 h 895572"/>
              <a:gd name="connsiteX209" fmla="*/ 367723 w 1090712"/>
              <a:gd name="connsiteY209" fmla="*/ 94324 h 895572"/>
              <a:gd name="connsiteX210" fmla="*/ 362733 w 1090712"/>
              <a:gd name="connsiteY210" fmla="*/ 101452 h 895572"/>
              <a:gd name="connsiteX211" fmla="*/ 357981 w 1090712"/>
              <a:gd name="connsiteY211" fmla="*/ 109055 h 895572"/>
              <a:gd name="connsiteX212" fmla="*/ 353467 w 1090712"/>
              <a:gd name="connsiteY212" fmla="*/ 117608 h 895572"/>
              <a:gd name="connsiteX213" fmla="*/ 409064 w 1090712"/>
              <a:gd name="connsiteY213" fmla="*/ 117608 h 895572"/>
              <a:gd name="connsiteX214" fmla="*/ 406925 w 1090712"/>
              <a:gd name="connsiteY214" fmla="*/ 119271 h 895572"/>
              <a:gd name="connsiteX215" fmla="*/ 404074 w 1090712"/>
              <a:gd name="connsiteY215" fmla="*/ 121647 h 895572"/>
              <a:gd name="connsiteX216" fmla="*/ 400510 w 1090712"/>
              <a:gd name="connsiteY216" fmla="*/ 123310 h 895572"/>
              <a:gd name="connsiteX217" fmla="*/ 397422 w 1090712"/>
              <a:gd name="connsiteY217" fmla="*/ 125211 h 895572"/>
              <a:gd name="connsiteX218" fmla="*/ 393383 w 1090712"/>
              <a:gd name="connsiteY218" fmla="*/ 126399 h 895572"/>
              <a:gd name="connsiteX219" fmla="*/ 389581 w 1090712"/>
              <a:gd name="connsiteY219" fmla="*/ 127824 h 895572"/>
              <a:gd name="connsiteX220" fmla="*/ 385542 w 1090712"/>
              <a:gd name="connsiteY220" fmla="*/ 128299 h 895572"/>
              <a:gd name="connsiteX221" fmla="*/ 381503 w 1090712"/>
              <a:gd name="connsiteY221" fmla="*/ 128774 h 895572"/>
              <a:gd name="connsiteX222" fmla="*/ 375326 w 1090712"/>
              <a:gd name="connsiteY222" fmla="*/ 130438 h 895572"/>
              <a:gd name="connsiteX223" fmla="*/ 368435 w 1090712"/>
              <a:gd name="connsiteY223" fmla="*/ 131863 h 895572"/>
              <a:gd name="connsiteX224" fmla="*/ 361783 w 1090712"/>
              <a:gd name="connsiteY224" fmla="*/ 133051 h 895572"/>
              <a:gd name="connsiteX225" fmla="*/ 355606 w 1090712"/>
              <a:gd name="connsiteY225" fmla="*/ 134001 h 895572"/>
              <a:gd name="connsiteX226" fmla="*/ 342300 w 1090712"/>
              <a:gd name="connsiteY226" fmla="*/ 135427 h 895572"/>
              <a:gd name="connsiteX227" fmla="*/ 329471 w 1090712"/>
              <a:gd name="connsiteY227" fmla="*/ 137090 h 895572"/>
              <a:gd name="connsiteX228" fmla="*/ 322818 w 1090712"/>
              <a:gd name="connsiteY228" fmla="*/ 138040 h 895572"/>
              <a:gd name="connsiteX229" fmla="*/ 316403 w 1090712"/>
              <a:gd name="connsiteY229" fmla="*/ 139704 h 895572"/>
              <a:gd name="connsiteX230" fmla="*/ 310226 w 1090712"/>
              <a:gd name="connsiteY230" fmla="*/ 141604 h 895572"/>
              <a:gd name="connsiteX231" fmla="*/ 304048 w 1090712"/>
              <a:gd name="connsiteY231" fmla="*/ 144218 h 895572"/>
              <a:gd name="connsiteX232" fmla="*/ 298346 w 1090712"/>
              <a:gd name="connsiteY232" fmla="*/ 147307 h 895572"/>
              <a:gd name="connsiteX233" fmla="*/ 292406 w 1090712"/>
              <a:gd name="connsiteY233" fmla="*/ 151346 h 895572"/>
              <a:gd name="connsiteX234" fmla="*/ 286704 w 1090712"/>
              <a:gd name="connsiteY234" fmla="*/ 156335 h 895572"/>
              <a:gd name="connsiteX235" fmla="*/ 281240 w 1090712"/>
              <a:gd name="connsiteY235" fmla="*/ 162037 h 895572"/>
              <a:gd name="connsiteX236" fmla="*/ 262232 w 1090712"/>
              <a:gd name="connsiteY236" fmla="*/ 182945 h 895572"/>
              <a:gd name="connsiteX237" fmla="*/ 242987 w 1090712"/>
              <a:gd name="connsiteY237" fmla="*/ 203378 h 895572"/>
              <a:gd name="connsiteX238" fmla="*/ 203547 w 1090712"/>
              <a:gd name="connsiteY238" fmla="*/ 244006 h 895572"/>
              <a:gd name="connsiteX239" fmla="*/ 183827 w 1090712"/>
              <a:gd name="connsiteY239" fmla="*/ 264439 h 895572"/>
              <a:gd name="connsiteX240" fmla="*/ 164345 w 1090712"/>
              <a:gd name="connsiteY240" fmla="*/ 285822 h 895572"/>
              <a:gd name="connsiteX241" fmla="*/ 144862 w 1090712"/>
              <a:gd name="connsiteY241" fmla="*/ 307443 h 895572"/>
              <a:gd name="connsiteX242" fmla="*/ 126093 w 1090712"/>
              <a:gd name="connsiteY242" fmla="*/ 329777 h 895572"/>
              <a:gd name="connsiteX243" fmla="*/ 122054 w 1090712"/>
              <a:gd name="connsiteY243" fmla="*/ 335004 h 895572"/>
              <a:gd name="connsiteX244" fmla="*/ 118015 w 1090712"/>
              <a:gd name="connsiteY244" fmla="*/ 340468 h 895572"/>
              <a:gd name="connsiteX245" fmla="*/ 110887 w 1090712"/>
              <a:gd name="connsiteY245" fmla="*/ 352110 h 895572"/>
              <a:gd name="connsiteX246" fmla="*/ 104709 w 1090712"/>
              <a:gd name="connsiteY246" fmla="*/ 363514 h 895572"/>
              <a:gd name="connsiteX247" fmla="*/ 99007 w 1090712"/>
              <a:gd name="connsiteY247" fmla="*/ 375156 h 895572"/>
              <a:gd name="connsiteX248" fmla="*/ 87840 w 1090712"/>
              <a:gd name="connsiteY248" fmla="*/ 400103 h 895572"/>
              <a:gd name="connsiteX249" fmla="*/ 82138 w 1090712"/>
              <a:gd name="connsiteY249" fmla="*/ 412458 h 895572"/>
              <a:gd name="connsiteX250" fmla="*/ 75723 w 1090712"/>
              <a:gd name="connsiteY250" fmla="*/ 425050 h 895572"/>
              <a:gd name="connsiteX251" fmla="*/ 75723 w 1090712"/>
              <a:gd name="connsiteY251" fmla="*/ 429802 h 895572"/>
              <a:gd name="connsiteX252" fmla="*/ 76674 w 1090712"/>
              <a:gd name="connsiteY252" fmla="*/ 436217 h 895572"/>
              <a:gd name="connsiteX253" fmla="*/ 77149 w 1090712"/>
              <a:gd name="connsiteY253" fmla="*/ 439306 h 895572"/>
              <a:gd name="connsiteX254" fmla="*/ 78574 w 1090712"/>
              <a:gd name="connsiteY254" fmla="*/ 442395 h 895572"/>
              <a:gd name="connsiteX255" fmla="*/ 79762 w 1090712"/>
              <a:gd name="connsiteY255" fmla="*/ 445008 h 895572"/>
              <a:gd name="connsiteX256" fmla="*/ 81663 w 1090712"/>
              <a:gd name="connsiteY256" fmla="*/ 447147 h 895572"/>
              <a:gd name="connsiteX257" fmla="*/ 94018 w 1090712"/>
              <a:gd name="connsiteY257" fmla="*/ 468055 h 895572"/>
              <a:gd name="connsiteX258" fmla="*/ 106848 w 1090712"/>
              <a:gd name="connsiteY258" fmla="*/ 488963 h 895572"/>
              <a:gd name="connsiteX259" fmla="*/ 113975 w 1090712"/>
              <a:gd name="connsiteY259" fmla="*/ 499654 h 895572"/>
              <a:gd name="connsiteX260" fmla="*/ 121103 w 1090712"/>
              <a:gd name="connsiteY260" fmla="*/ 510346 h 895572"/>
              <a:gd name="connsiteX261" fmla="*/ 128706 w 1090712"/>
              <a:gd name="connsiteY261" fmla="*/ 520562 h 895572"/>
              <a:gd name="connsiteX262" fmla="*/ 137259 w 1090712"/>
              <a:gd name="connsiteY262" fmla="*/ 531254 h 895572"/>
              <a:gd name="connsiteX263" fmla="*/ 149614 w 1090712"/>
              <a:gd name="connsiteY263" fmla="*/ 514385 h 895572"/>
              <a:gd name="connsiteX264" fmla="*/ 162206 w 1090712"/>
              <a:gd name="connsiteY264" fmla="*/ 498466 h 895572"/>
              <a:gd name="connsiteX265" fmla="*/ 174561 w 1090712"/>
              <a:gd name="connsiteY265" fmla="*/ 483260 h 895572"/>
              <a:gd name="connsiteX266" fmla="*/ 180739 w 1090712"/>
              <a:gd name="connsiteY266" fmla="*/ 476133 h 895572"/>
              <a:gd name="connsiteX267" fmla="*/ 186916 w 1090712"/>
              <a:gd name="connsiteY267" fmla="*/ 469480 h 895572"/>
              <a:gd name="connsiteX268" fmla="*/ 182639 w 1090712"/>
              <a:gd name="connsiteY268" fmla="*/ 482310 h 895572"/>
              <a:gd name="connsiteX269" fmla="*/ 178125 w 1090712"/>
              <a:gd name="connsiteY269" fmla="*/ 495615 h 895572"/>
              <a:gd name="connsiteX270" fmla="*/ 172423 w 1090712"/>
              <a:gd name="connsiteY270" fmla="*/ 509871 h 895572"/>
              <a:gd name="connsiteX271" fmla="*/ 164820 w 1090712"/>
              <a:gd name="connsiteY271" fmla="*/ 525552 h 895572"/>
              <a:gd name="connsiteX272" fmla="*/ 156267 w 1090712"/>
              <a:gd name="connsiteY272" fmla="*/ 538381 h 895572"/>
              <a:gd name="connsiteX273" fmla="*/ 152703 w 1090712"/>
              <a:gd name="connsiteY273" fmla="*/ 544559 h 895572"/>
              <a:gd name="connsiteX274" fmla="*/ 148664 w 1090712"/>
              <a:gd name="connsiteY274" fmla="*/ 551449 h 895572"/>
              <a:gd name="connsiteX275" fmla="*/ 145100 w 1090712"/>
              <a:gd name="connsiteY275" fmla="*/ 558339 h 895572"/>
              <a:gd name="connsiteX276" fmla="*/ 142011 w 1090712"/>
              <a:gd name="connsiteY276" fmla="*/ 565467 h 895572"/>
              <a:gd name="connsiteX277" fmla="*/ 139398 w 1090712"/>
              <a:gd name="connsiteY277" fmla="*/ 573070 h 895572"/>
              <a:gd name="connsiteX278" fmla="*/ 137259 w 1090712"/>
              <a:gd name="connsiteY278" fmla="*/ 581623 h 895572"/>
              <a:gd name="connsiteX279" fmla="*/ 136309 w 1090712"/>
              <a:gd name="connsiteY279" fmla="*/ 583761 h 895572"/>
              <a:gd name="connsiteX280" fmla="*/ 135359 w 1090712"/>
              <a:gd name="connsiteY280" fmla="*/ 586137 h 895572"/>
              <a:gd name="connsiteX281" fmla="*/ 134883 w 1090712"/>
              <a:gd name="connsiteY281" fmla="*/ 590889 h 895572"/>
              <a:gd name="connsiteX282" fmla="*/ 134883 w 1090712"/>
              <a:gd name="connsiteY282" fmla="*/ 595879 h 895572"/>
              <a:gd name="connsiteX283" fmla="*/ 135359 w 1090712"/>
              <a:gd name="connsiteY283" fmla="*/ 601106 h 895572"/>
              <a:gd name="connsiteX284" fmla="*/ 136784 w 1090712"/>
              <a:gd name="connsiteY284" fmla="*/ 606095 h 895572"/>
              <a:gd name="connsiteX285" fmla="*/ 138447 w 1090712"/>
              <a:gd name="connsiteY285" fmla="*/ 611322 h 895572"/>
              <a:gd name="connsiteX286" fmla="*/ 140348 w 1090712"/>
              <a:gd name="connsiteY286" fmla="*/ 616311 h 895572"/>
              <a:gd name="connsiteX287" fmla="*/ 142486 w 1090712"/>
              <a:gd name="connsiteY287" fmla="*/ 620826 h 895572"/>
              <a:gd name="connsiteX288" fmla="*/ 148664 w 1090712"/>
              <a:gd name="connsiteY288" fmla="*/ 629616 h 895572"/>
              <a:gd name="connsiteX289" fmla="*/ 155554 w 1090712"/>
              <a:gd name="connsiteY289" fmla="*/ 637219 h 895572"/>
              <a:gd name="connsiteX290" fmla="*/ 162444 w 1090712"/>
              <a:gd name="connsiteY290" fmla="*/ 643872 h 895572"/>
              <a:gd name="connsiteX291" fmla="*/ 169572 w 1090712"/>
              <a:gd name="connsiteY291" fmla="*/ 649099 h 895572"/>
              <a:gd name="connsiteX292" fmla="*/ 177175 w 1090712"/>
              <a:gd name="connsiteY292" fmla="*/ 653613 h 895572"/>
              <a:gd name="connsiteX293" fmla="*/ 184778 w 1090712"/>
              <a:gd name="connsiteY293" fmla="*/ 657177 h 895572"/>
              <a:gd name="connsiteX294" fmla="*/ 192856 w 1090712"/>
              <a:gd name="connsiteY294" fmla="*/ 659553 h 895572"/>
              <a:gd name="connsiteX295" fmla="*/ 200934 w 1090712"/>
              <a:gd name="connsiteY295" fmla="*/ 661216 h 895572"/>
              <a:gd name="connsiteX296" fmla="*/ 209250 w 1090712"/>
              <a:gd name="connsiteY296" fmla="*/ 661691 h 895572"/>
              <a:gd name="connsiteX297" fmla="*/ 218278 w 1090712"/>
              <a:gd name="connsiteY297" fmla="*/ 661691 h 895572"/>
              <a:gd name="connsiteX298" fmla="*/ 227069 w 1090712"/>
              <a:gd name="connsiteY298" fmla="*/ 660266 h 895572"/>
              <a:gd name="connsiteX299" fmla="*/ 236335 w 1090712"/>
              <a:gd name="connsiteY299" fmla="*/ 658603 h 895572"/>
              <a:gd name="connsiteX300" fmla="*/ 245838 w 1090712"/>
              <a:gd name="connsiteY300" fmla="*/ 655514 h 895572"/>
              <a:gd name="connsiteX301" fmla="*/ 255580 w 1090712"/>
              <a:gd name="connsiteY301" fmla="*/ 652425 h 895572"/>
              <a:gd name="connsiteX302" fmla="*/ 265321 w 1090712"/>
              <a:gd name="connsiteY302" fmla="*/ 647911 h 895572"/>
              <a:gd name="connsiteX303" fmla="*/ 276013 w 1090712"/>
              <a:gd name="connsiteY303" fmla="*/ 642922 h 895572"/>
              <a:gd name="connsiteX304" fmla="*/ 288367 w 1090712"/>
              <a:gd name="connsiteY304" fmla="*/ 635081 h 895572"/>
              <a:gd name="connsiteX305" fmla="*/ 301910 w 1090712"/>
              <a:gd name="connsiteY305" fmla="*/ 627478 h 895572"/>
              <a:gd name="connsiteX306" fmla="*/ 315215 w 1090712"/>
              <a:gd name="connsiteY306" fmla="*/ 620350 h 895572"/>
              <a:gd name="connsiteX307" fmla="*/ 329471 w 1090712"/>
              <a:gd name="connsiteY307" fmla="*/ 613698 h 895572"/>
              <a:gd name="connsiteX308" fmla="*/ 343726 w 1090712"/>
              <a:gd name="connsiteY308" fmla="*/ 607283 h 895572"/>
              <a:gd name="connsiteX309" fmla="*/ 357981 w 1090712"/>
              <a:gd name="connsiteY309" fmla="*/ 602056 h 895572"/>
              <a:gd name="connsiteX310" fmla="*/ 371999 w 1090712"/>
              <a:gd name="connsiteY310" fmla="*/ 597066 h 895572"/>
              <a:gd name="connsiteX311" fmla="*/ 386730 w 1090712"/>
              <a:gd name="connsiteY311" fmla="*/ 592790 h 895572"/>
              <a:gd name="connsiteX312" fmla="*/ 394808 w 1090712"/>
              <a:gd name="connsiteY312" fmla="*/ 590414 h 895572"/>
              <a:gd name="connsiteX313" fmla="*/ 402411 w 1090712"/>
              <a:gd name="connsiteY313" fmla="*/ 587325 h 895572"/>
              <a:gd name="connsiteX314" fmla="*/ 409064 w 1090712"/>
              <a:gd name="connsiteY314" fmla="*/ 583761 h 895572"/>
              <a:gd name="connsiteX315" fmla="*/ 411677 w 1090712"/>
              <a:gd name="connsiteY315" fmla="*/ 581623 h 895572"/>
              <a:gd name="connsiteX316" fmla="*/ 414766 w 1090712"/>
              <a:gd name="connsiteY316" fmla="*/ 579247 h 895572"/>
              <a:gd name="connsiteX317" fmla="*/ 417142 w 1090712"/>
              <a:gd name="connsiteY317" fmla="*/ 577109 h 895572"/>
              <a:gd name="connsiteX318" fmla="*/ 419280 w 1090712"/>
              <a:gd name="connsiteY318" fmla="*/ 574495 h 895572"/>
              <a:gd name="connsiteX319" fmla="*/ 420943 w 1090712"/>
              <a:gd name="connsiteY319" fmla="*/ 571407 h 895572"/>
              <a:gd name="connsiteX320" fmla="*/ 422844 w 1090712"/>
              <a:gd name="connsiteY320" fmla="*/ 568318 h 895572"/>
              <a:gd name="connsiteX321" fmla="*/ 424269 w 1090712"/>
              <a:gd name="connsiteY321" fmla="*/ 565229 h 895572"/>
              <a:gd name="connsiteX322" fmla="*/ 424982 w 1090712"/>
              <a:gd name="connsiteY322" fmla="*/ 561665 h 895572"/>
              <a:gd name="connsiteX323" fmla="*/ 425457 w 1090712"/>
              <a:gd name="connsiteY323" fmla="*/ 557626 h 895572"/>
              <a:gd name="connsiteX324" fmla="*/ 425932 w 1090712"/>
              <a:gd name="connsiteY324" fmla="*/ 553587 h 895572"/>
              <a:gd name="connsiteX325" fmla="*/ 425932 w 1090712"/>
              <a:gd name="connsiteY325" fmla="*/ 413884 h 895572"/>
              <a:gd name="connsiteX326" fmla="*/ 425932 w 1090712"/>
              <a:gd name="connsiteY326" fmla="*/ 285347 h 895572"/>
              <a:gd name="connsiteX327" fmla="*/ 429496 w 1090712"/>
              <a:gd name="connsiteY327" fmla="*/ 300078 h 895572"/>
              <a:gd name="connsiteX328" fmla="*/ 433060 w 1090712"/>
              <a:gd name="connsiteY328" fmla="*/ 314096 h 895572"/>
              <a:gd name="connsiteX329" fmla="*/ 436149 w 1090712"/>
              <a:gd name="connsiteY329" fmla="*/ 328826 h 895572"/>
              <a:gd name="connsiteX330" fmla="*/ 438762 w 1090712"/>
              <a:gd name="connsiteY330" fmla="*/ 343082 h 895572"/>
              <a:gd name="connsiteX331" fmla="*/ 443752 w 1090712"/>
              <a:gd name="connsiteY331" fmla="*/ 370642 h 895572"/>
              <a:gd name="connsiteX332" fmla="*/ 447791 w 1090712"/>
              <a:gd name="connsiteY332" fmla="*/ 397015 h 895572"/>
              <a:gd name="connsiteX333" fmla="*/ 451830 w 1090712"/>
              <a:gd name="connsiteY333" fmla="*/ 421962 h 895572"/>
              <a:gd name="connsiteX334" fmla="*/ 454919 w 1090712"/>
              <a:gd name="connsiteY334" fmla="*/ 446434 h 895572"/>
              <a:gd name="connsiteX335" fmla="*/ 456106 w 1090712"/>
              <a:gd name="connsiteY335" fmla="*/ 458313 h 895572"/>
              <a:gd name="connsiteX336" fmla="*/ 457057 w 1090712"/>
              <a:gd name="connsiteY336" fmla="*/ 470430 h 895572"/>
              <a:gd name="connsiteX337" fmla="*/ 457532 w 1090712"/>
              <a:gd name="connsiteY337" fmla="*/ 482310 h 895572"/>
              <a:gd name="connsiteX338" fmla="*/ 457532 w 1090712"/>
              <a:gd name="connsiteY338" fmla="*/ 493952 h 895572"/>
              <a:gd name="connsiteX339" fmla="*/ 457532 w 1090712"/>
              <a:gd name="connsiteY339" fmla="*/ 506069 h 895572"/>
              <a:gd name="connsiteX340" fmla="*/ 456582 w 1090712"/>
              <a:gd name="connsiteY340" fmla="*/ 517473 h 895572"/>
              <a:gd name="connsiteX341" fmla="*/ 455869 w 1090712"/>
              <a:gd name="connsiteY341" fmla="*/ 529116 h 895572"/>
              <a:gd name="connsiteX342" fmla="*/ 453968 w 1090712"/>
              <a:gd name="connsiteY342" fmla="*/ 540757 h 895572"/>
              <a:gd name="connsiteX343" fmla="*/ 452305 w 1090712"/>
              <a:gd name="connsiteY343" fmla="*/ 552162 h 895572"/>
              <a:gd name="connsiteX344" fmla="*/ 449454 w 1090712"/>
              <a:gd name="connsiteY344" fmla="*/ 563804 h 895572"/>
              <a:gd name="connsiteX345" fmla="*/ 446365 w 1090712"/>
              <a:gd name="connsiteY345" fmla="*/ 575446 h 895572"/>
              <a:gd name="connsiteX346" fmla="*/ 442326 w 1090712"/>
              <a:gd name="connsiteY346" fmla="*/ 586850 h 895572"/>
              <a:gd name="connsiteX347" fmla="*/ 440188 w 1090712"/>
              <a:gd name="connsiteY347" fmla="*/ 591364 h 895572"/>
              <a:gd name="connsiteX348" fmla="*/ 437574 w 1090712"/>
              <a:gd name="connsiteY348" fmla="*/ 595403 h 895572"/>
              <a:gd name="connsiteX349" fmla="*/ 434486 w 1090712"/>
              <a:gd name="connsiteY349" fmla="*/ 598967 h 895572"/>
              <a:gd name="connsiteX350" fmla="*/ 431397 w 1090712"/>
              <a:gd name="connsiteY350" fmla="*/ 602531 h 895572"/>
              <a:gd name="connsiteX351" fmla="*/ 428071 w 1090712"/>
              <a:gd name="connsiteY351" fmla="*/ 605145 h 895572"/>
              <a:gd name="connsiteX352" fmla="*/ 424982 w 1090712"/>
              <a:gd name="connsiteY352" fmla="*/ 607283 h 895572"/>
              <a:gd name="connsiteX353" fmla="*/ 422369 w 1090712"/>
              <a:gd name="connsiteY353" fmla="*/ 608708 h 895572"/>
              <a:gd name="connsiteX354" fmla="*/ 420230 w 1090712"/>
              <a:gd name="connsiteY354" fmla="*/ 609659 h 895572"/>
              <a:gd name="connsiteX355" fmla="*/ 410727 w 1090712"/>
              <a:gd name="connsiteY355" fmla="*/ 610847 h 895572"/>
              <a:gd name="connsiteX356" fmla="*/ 401461 w 1090712"/>
              <a:gd name="connsiteY356" fmla="*/ 612748 h 895572"/>
              <a:gd name="connsiteX357" fmla="*/ 392670 w 1090712"/>
              <a:gd name="connsiteY357" fmla="*/ 614886 h 895572"/>
              <a:gd name="connsiteX358" fmla="*/ 383641 w 1090712"/>
              <a:gd name="connsiteY358" fmla="*/ 617262 h 895572"/>
              <a:gd name="connsiteX359" fmla="*/ 374850 w 1090712"/>
              <a:gd name="connsiteY359" fmla="*/ 620350 h 895572"/>
              <a:gd name="connsiteX360" fmla="*/ 365822 w 1090712"/>
              <a:gd name="connsiteY360" fmla="*/ 623914 h 895572"/>
              <a:gd name="connsiteX361" fmla="*/ 348478 w 1090712"/>
              <a:gd name="connsiteY361" fmla="*/ 631042 h 895572"/>
              <a:gd name="connsiteX362" fmla="*/ 331609 w 1090712"/>
              <a:gd name="connsiteY362" fmla="*/ 639358 h 895572"/>
              <a:gd name="connsiteX363" fmla="*/ 314740 w 1090712"/>
              <a:gd name="connsiteY363" fmla="*/ 647911 h 895572"/>
              <a:gd name="connsiteX364" fmla="*/ 281240 w 1090712"/>
              <a:gd name="connsiteY364" fmla="*/ 665255 h 895572"/>
              <a:gd name="connsiteX365" fmla="*/ 274587 w 1090712"/>
              <a:gd name="connsiteY365" fmla="*/ 669294 h 895572"/>
              <a:gd name="connsiteX366" fmla="*/ 267935 w 1090712"/>
              <a:gd name="connsiteY366" fmla="*/ 672858 h 895572"/>
              <a:gd name="connsiteX367" fmla="*/ 261757 w 1090712"/>
              <a:gd name="connsiteY367" fmla="*/ 675947 h 895572"/>
              <a:gd name="connsiteX368" fmla="*/ 255105 w 1090712"/>
              <a:gd name="connsiteY368" fmla="*/ 679035 h 895572"/>
              <a:gd name="connsiteX369" fmla="*/ 248927 w 1090712"/>
              <a:gd name="connsiteY369" fmla="*/ 681174 h 895572"/>
              <a:gd name="connsiteX370" fmla="*/ 242987 w 1090712"/>
              <a:gd name="connsiteY370" fmla="*/ 683075 h 895572"/>
              <a:gd name="connsiteX371" fmla="*/ 236810 w 1090712"/>
              <a:gd name="connsiteY371" fmla="*/ 684738 h 895572"/>
              <a:gd name="connsiteX372" fmla="*/ 231108 w 1090712"/>
              <a:gd name="connsiteY372" fmla="*/ 686163 h 895572"/>
              <a:gd name="connsiteX373" fmla="*/ 225406 w 1090712"/>
              <a:gd name="connsiteY373" fmla="*/ 687114 h 895572"/>
              <a:gd name="connsiteX374" fmla="*/ 219466 w 1090712"/>
              <a:gd name="connsiteY374" fmla="*/ 687589 h 895572"/>
              <a:gd name="connsiteX375" fmla="*/ 213764 w 1090712"/>
              <a:gd name="connsiteY375" fmla="*/ 687589 h 895572"/>
              <a:gd name="connsiteX376" fmla="*/ 208299 w 1090712"/>
              <a:gd name="connsiteY376" fmla="*/ 687589 h 895572"/>
              <a:gd name="connsiteX377" fmla="*/ 203072 w 1090712"/>
              <a:gd name="connsiteY377" fmla="*/ 687114 h 895572"/>
              <a:gd name="connsiteX378" fmla="*/ 197607 w 1090712"/>
              <a:gd name="connsiteY378" fmla="*/ 686163 h 895572"/>
              <a:gd name="connsiteX379" fmla="*/ 192380 w 1090712"/>
              <a:gd name="connsiteY379" fmla="*/ 684738 h 895572"/>
              <a:gd name="connsiteX380" fmla="*/ 186916 w 1090712"/>
              <a:gd name="connsiteY380" fmla="*/ 683550 h 895572"/>
              <a:gd name="connsiteX381" fmla="*/ 181689 w 1090712"/>
              <a:gd name="connsiteY381" fmla="*/ 681649 h 895572"/>
              <a:gd name="connsiteX382" fmla="*/ 176699 w 1090712"/>
              <a:gd name="connsiteY382" fmla="*/ 679986 h 895572"/>
              <a:gd name="connsiteX383" fmla="*/ 171472 w 1090712"/>
              <a:gd name="connsiteY383" fmla="*/ 677610 h 895572"/>
              <a:gd name="connsiteX384" fmla="*/ 166483 w 1090712"/>
              <a:gd name="connsiteY384" fmla="*/ 674996 h 895572"/>
              <a:gd name="connsiteX385" fmla="*/ 156742 w 1090712"/>
              <a:gd name="connsiteY385" fmla="*/ 669294 h 895572"/>
              <a:gd name="connsiteX386" fmla="*/ 147001 w 1090712"/>
              <a:gd name="connsiteY386" fmla="*/ 662167 h 895572"/>
              <a:gd name="connsiteX387" fmla="*/ 137735 w 1090712"/>
              <a:gd name="connsiteY387" fmla="*/ 654564 h 895572"/>
              <a:gd name="connsiteX388" fmla="*/ 127756 w 1090712"/>
              <a:gd name="connsiteY388" fmla="*/ 645535 h 895572"/>
              <a:gd name="connsiteX389" fmla="*/ 118490 w 1090712"/>
              <a:gd name="connsiteY389" fmla="*/ 636269 h 895572"/>
              <a:gd name="connsiteX390" fmla="*/ 109224 w 1090712"/>
              <a:gd name="connsiteY390" fmla="*/ 626053 h 895572"/>
              <a:gd name="connsiteX391" fmla="*/ 107323 w 1090712"/>
              <a:gd name="connsiteY391" fmla="*/ 623914 h 895572"/>
              <a:gd name="connsiteX392" fmla="*/ 106135 w 1090712"/>
              <a:gd name="connsiteY392" fmla="*/ 620350 h 895572"/>
              <a:gd name="connsiteX393" fmla="*/ 105185 w 1090712"/>
              <a:gd name="connsiteY393" fmla="*/ 616311 h 895572"/>
              <a:gd name="connsiteX394" fmla="*/ 105185 w 1090712"/>
              <a:gd name="connsiteY394" fmla="*/ 612272 h 895572"/>
              <a:gd name="connsiteX395" fmla="*/ 105185 w 1090712"/>
              <a:gd name="connsiteY395" fmla="*/ 608233 h 895572"/>
              <a:gd name="connsiteX396" fmla="*/ 106135 w 1090712"/>
              <a:gd name="connsiteY396" fmla="*/ 604194 h 895572"/>
              <a:gd name="connsiteX397" fmla="*/ 107323 w 1090712"/>
              <a:gd name="connsiteY397" fmla="*/ 600630 h 895572"/>
              <a:gd name="connsiteX398" fmla="*/ 109224 w 1090712"/>
              <a:gd name="connsiteY398" fmla="*/ 598017 h 895572"/>
              <a:gd name="connsiteX399" fmla="*/ 111837 w 1090712"/>
              <a:gd name="connsiteY399" fmla="*/ 591840 h 895572"/>
              <a:gd name="connsiteX400" fmla="*/ 113975 w 1090712"/>
              <a:gd name="connsiteY400" fmla="*/ 586137 h 895572"/>
              <a:gd name="connsiteX401" fmla="*/ 115401 w 1090712"/>
              <a:gd name="connsiteY401" fmla="*/ 579722 h 895572"/>
              <a:gd name="connsiteX402" fmla="*/ 115876 w 1090712"/>
              <a:gd name="connsiteY402" fmla="*/ 574020 h 895572"/>
              <a:gd name="connsiteX403" fmla="*/ 115876 w 1090712"/>
              <a:gd name="connsiteY403" fmla="*/ 568318 h 895572"/>
              <a:gd name="connsiteX404" fmla="*/ 115401 w 1090712"/>
              <a:gd name="connsiteY404" fmla="*/ 562378 h 895572"/>
              <a:gd name="connsiteX405" fmla="*/ 114451 w 1090712"/>
              <a:gd name="connsiteY405" fmla="*/ 557151 h 895572"/>
              <a:gd name="connsiteX406" fmla="*/ 112788 w 1090712"/>
              <a:gd name="connsiteY406" fmla="*/ 551449 h 895572"/>
              <a:gd name="connsiteX407" fmla="*/ 110412 w 1090712"/>
              <a:gd name="connsiteY407" fmla="*/ 545984 h 895572"/>
              <a:gd name="connsiteX408" fmla="*/ 108273 w 1090712"/>
              <a:gd name="connsiteY408" fmla="*/ 540757 h 895572"/>
              <a:gd name="connsiteX409" fmla="*/ 105185 w 1090712"/>
              <a:gd name="connsiteY409" fmla="*/ 535293 h 895572"/>
              <a:gd name="connsiteX410" fmla="*/ 102096 w 1090712"/>
              <a:gd name="connsiteY410" fmla="*/ 530066 h 895572"/>
              <a:gd name="connsiteX411" fmla="*/ 94968 w 1090712"/>
              <a:gd name="connsiteY411" fmla="*/ 519374 h 895572"/>
              <a:gd name="connsiteX412" fmla="*/ 86890 w 1090712"/>
              <a:gd name="connsiteY412" fmla="*/ 508683 h 895572"/>
              <a:gd name="connsiteX413" fmla="*/ 78812 w 1090712"/>
              <a:gd name="connsiteY413" fmla="*/ 497991 h 895572"/>
              <a:gd name="connsiteX414" fmla="*/ 70972 w 1090712"/>
              <a:gd name="connsiteY414" fmla="*/ 486824 h 895572"/>
              <a:gd name="connsiteX415" fmla="*/ 67408 w 1090712"/>
              <a:gd name="connsiteY415" fmla="*/ 481122 h 895572"/>
              <a:gd name="connsiteX416" fmla="*/ 64319 w 1090712"/>
              <a:gd name="connsiteY416" fmla="*/ 474707 h 895572"/>
              <a:gd name="connsiteX417" fmla="*/ 61230 w 1090712"/>
              <a:gd name="connsiteY417" fmla="*/ 469005 h 895572"/>
              <a:gd name="connsiteX418" fmla="*/ 58379 w 1090712"/>
              <a:gd name="connsiteY418" fmla="*/ 462828 h 895572"/>
              <a:gd name="connsiteX419" fmla="*/ 56716 w 1090712"/>
              <a:gd name="connsiteY419" fmla="*/ 456175 h 895572"/>
              <a:gd name="connsiteX420" fmla="*/ 54815 w 1090712"/>
              <a:gd name="connsiteY420" fmla="*/ 449998 h 895572"/>
              <a:gd name="connsiteX421" fmla="*/ 54103 w 1090712"/>
              <a:gd name="connsiteY421" fmla="*/ 443345 h 895572"/>
              <a:gd name="connsiteX422" fmla="*/ 53627 w 1090712"/>
              <a:gd name="connsiteY422" fmla="*/ 436455 h 895572"/>
              <a:gd name="connsiteX423" fmla="*/ 53627 w 1090712"/>
              <a:gd name="connsiteY423" fmla="*/ 429327 h 895572"/>
              <a:gd name="connsiteX424" fmla="*/ 54815 w 1090712"/>
              <a:gd name="connsiteY424" fmla="*/ 422675 h 895572"/>
              <a:gd name="connsiteX425" fmla="*/ 56716 w 1090712"/>
              <a:gd name="connsiteY425" fmla="*/ 415547 h 895572"/>
              <a:gd name="connsiteX426" fmla="*/ 59330 w 1090712"/>
              <a:gd name="connsiteY426" fmla="*/ 408182 h 895572"/>
              <a:gd name="connsiteX427" fmla="*/ 60280 w 1090712"/>
              <a:gd name="connsiteY427" fmla="*/ 403192 h 895572"/>
              <a:gd name="connsiteX428" fmla="*/ 61943 w 1090712"/>
              <a:gd name="connsiteY428" fmla="*/ 397965 h 895572"/>
              <a:gd name="connsiteX429" fmla="*/ 65507 w 1090712"/>
              <a:gd name="connsiteY429" fmla="*/ 387986 h 895572"/>
              <a:gd name="connsiteX430" fmla="*/ 69546 w 1090712"/>
              <a:gd name="connsiteY430" fmla="*/ 378720 h 895572"/>
              <a:gd name="connsiteX431" fmla="*/ 74535 w 1090712"/>
              <a:gd name="connsiteY431" fmla="*/ 369929 h 895572"/>
              <a:gd name="connsiteX432" fmla="*/ 79762 w 1090712"/>
              <a:gd name="connsiteY432" fmla="*/ 360901 h 895572"/>
              <a:gd name="connsiteX433" fmla="*/ 85940 w 1090712"/>
              <a:gd name="connsiteY433" fmla="*/ 352585 h 895572"/>
              <a:gd name="connsiteX434" fmla="*/ 98057 w 1090712"/>
              <a:gd name="connsiteY434" fmla="*/ 335479 h 895572"/>
              <a:gd name="connsiteX435" fmla="*/ 102571 w 1090712"/>
              <a:gd name="connsiteY435" fmla="*/ 328113 h 895572"/>
              <a:gd name="connsiteX436" fmla="*/ 106848 w 1090712"/>
              <a:gd name="connsiteY436" fmla="*/ 320986 h 895572"/>
              <a:gd name="connsiteX437" fmla="*/ 116827 w 1090712"/>
              <a:gd name="connsiteY437" fmla="*/ 307205 h 895572"/>
              <a:gd name="connsiteX438" fmla="*/ 127043 w 1090712"/>
              <a:gd name="connsiteY438" fmla="*/ 293188 h 895572"/>
              <a:gd name="connsiteX439" fmla="*/ 137735 w 1090712"/>
              <a:gd name="connsiteY439" fmla="*/ 279407 h 895572"/>
              <a:gd name="connsiteX440" fmla="*/ 159831 w 1090712"/>
              <a:gd name="connsiteY440" fmla="*/ 251847 h 895572"/>
              <a:gd name="connsiteX441" fmla="*/ 170522 w 1090712"/>
              <a:gd name="connsiteY441" fmla="*/ 238066 h 895572"/>
              <a:gd name="connsiteX442" fmla="*/ 181214 w 1090712"/>
              <a:gd name="connsiteY442" fmla="*/ 223336 h 895572"/>
              <a:gd name="connsiteX443" fmla="*/ 164820 w 1090712"/>
              <a:gd name="connsiteY443" fmla="*/ 223336 h 895572"/>
              <a:gd name="connsiteX444" fmla="*/ 137972 w 1090712"/>
              <a:gd name="connsiteY444" fmla="*/ 230226 h 895572"/>
              <a:gd name="connsiteX445" fmla="*/ 125142 w 1090712"/>
              <a:gd name="connsiteY445" fmla="*/ 233790 h 895572"/>
              <a:gd name="connsiteX446" fmla="*/ 112788 w 1090712"/>
              <a:gd name="connsiteY446" fmla="*/ 237591 h 895572"/>
              <a:gd name="connsiteX447" fmla="*/ 100195 w 1090712"/>
              <a:gd name="connsiteY447" fmla="*/ 241630 h 895572"/>
              <a:gd name="connsiteX448" fmla="*/ 87840 w 1090712"/>
              <a:gd name="connsiteY448" fmla="*/ 245669 h 895572"/>
              <a:gd name="connsiteX449" fmla="*/ 75723 w 1090712"/>
              <a:gd name="connsiteY449" fmla="*/ 250183 h 895572"/>
              <a:gd name="connsiteX450" fmla="*/ 64319 w 1090712"/>
              <a:gd name="connsiteY450" fmla="*/ 254935 h 895572"/>
              <a:gd name="connsiteX451" fmla="*/ 52677 w 1090712"/>
              <a:gd name="connsiteY451" fmla="*/ 260400 h 895572"/>
              <a:gd name="connsiteX452" fmla="*/ 41035 w 1090712"/>
              <a:gd name="connsiteY452" fmla="*/ 265627 h 895572"/>
              <a:gd name="connsiteX453" fmla="*/ 29868 w 1090712"/>
              <a:gd name="connsiteY453" fmla="*/ 271567 h 895572"/>
              <a:gd name="connsiteX454" fmla="*/ 18939 w 1090712"/>
              <a:gd name="connsiteY454" fmla="*/ 277744 h 895572"/>
              <a:gd name="connsiteX455" fmla="*/ 7772 w 1090712"/>
              <a:gd name="connsiteY455" fmla="*/ 284397 h 895572"/>
              <a:gd name="connsiteX456" fmla="*/ 0 w 1090712"/>
              <a:gd name="connsiteY456" fmla="*/ 289924 h 895572"/>
              <a:gd name="connsiteX457" fmla="*/ 0 w 1090712"/>
              <a:gd name="connsiteY457" fmla="*/ 895572 h 895572"/>
              <a:gd name="connsiteX458" fmla="*/ 125653 w 1090712"/>
              <a:gd name="connsiteY458" fmla="*/ 895572 h 895572"/>
              <a:gd name="connsiteX459" fmla="*/ 127756 w 1090712"/>
              <a:gd name="connsiteY459" fmla="*/ 892155 h 895572"/>
              <a:gd name="connsiteX460" fmla="*/ 131082 w 1090712"/>
              <a:gd name="connsiteY460" fmla="*/ 885502 h 895572"/>
              <a:gd name="connsiteX461" fmla="*/ 133696 w 1090712"/>
              <a:gd name="connsiteY461" fmla="*/ 878374 h 895572"/>
              <a:gd name="connsiteX462" fmla="*/ 135834 w 1090712"/>
              <a:gd name="connsiteY462" fmla="*/ 871722 h 895572"/>
              <a:gd name="connsiteX463" fmla="*/ 137735 w 1090712"/>
              <a:gd name="connsiteY463" fmla="*/ 864594 h 895572"/>
              <a:gd name="connsiteX464" fmla="*/ 138923 w 1090712"/>
              <a:gd name="connsiteY464" fmla="*/ 857466 h 895572"/>
              <a:gd name="connsiteX465" fmla="*/ 140348 w 1090712"/>
              <a:gd name="connsiteY465" fmla="*/ 850339 h 895572"/>
              <a:gd name="connsiteX466" fmla="*/ 141298 w 1090712"/>
              <a:gd name="connsiteY466" fmla="*/ 843211 h 895572"/>
              <a:gd name="connsiteX467" fmla="*/ 142011 w 1090712"/>
              <a:gd name="connsiteY467" fmla="*/ 828955 h 895572"/>
              <a:gd name="connsiteX468" fmla="*/ 142486 w 1090712"/>
              <a:gd name="connsiteY468" fmla="*/ 814225 h 895572"/>
              <a:gd name="connsiteX469" fmla="*/ 142486 w 1090712"/>
              <a:gd name="connsiteY469" fmla="*/ 799494 h 895572"/>
              <a:gd name="connsiteX470" fmla="*/ 142486 w 1090712"/>
              <a:gd name="connsiteY470" fmla="*/ 782625 h 895572"/>
              <a:gd name="connsiteX471" fmla="*/ 142486 w 1090712"/>
              <a:gd name="connsiteY471" fmla="*/ 771458 h 895572"/>
              <a:gd name="connsiteX472" fmla="*/ 143912 w 1090712"/>
              <a:gd name="connsiteY472" fmla="*/ 778586 h 895572"/>
              <a:gd name="connsiteX473" fmla="*/ 145100 w 1090712"/>
              <a:gd name="connsiteY473" fmla="*/ 784526 h 895572"/>
              <a:gd name="connsiteX474" fmla="*/ 147476 w 1090712"/>
              <a:gd name="connsiteY474" fmla="*/ 789753 h 895572"/>
              <a:gd name="connsiteX475" fmla="*/ 149614 w 1090712"/>
              <a:gd name="connsiteY475" fmla="*/ 794267 h 895572"/>
              <a:gd name="connsiteX476" fmla="*/ 152228 w 1090712"/>
              <a:gd name="connsiteY476" fmla="*/ 797831 h 895572"/>
              <a:gd name="connsiteX477" fmla="*/ 155554 w 1090712"/>
              <a:gd name="connsiteY477" fmla="*/ 801395 h 895572"/>
              <a:gd name="connsiteX478" fmla="*/ 158643 w 1090712"/>
              <a:gd name="connsiteY478" fmla="*/ 803533 h 895572"/>
              <a:gd name="connsiteX479" fmla="*/ 162206 w 1090712"/>
              <a:gd name="connsiteY479" fmla="*/ 805909 h 895572"/>
              <a:gd name="connsiteX480" fmla="*/ 165770 w 1090712"/>
              <a:gd name="connsiteY480" fmla="*/ 807572 h 895572"/>
              <a:gd name="connsiteX481" fmla="*/ 169572 w 1090712"/>
              <a:gd name="connsiteY481" fmla="*/ 808523 h 895572"/>
              <a:gd name="connsiteX482" fmla="*/ 174086 w 1090712"/>
              <a:gd name="connsiteY482" fmla="*/ 809473 h 895572"/>
              <a:gd name="connsiteX483" fmla="*/ 178600 w 1090712"/>
              <a:gd name="connsiteY483" fmla="*/ 810186 h 895572"/>
              <a:gd name="connsiteX484" fmla="*/ 187866 w 1090712"/>
              <a:gd name="connsiteY484" fmla="*/ 810661 h 895572"/>
              <a:gd name="connsiteX485" fmla="*/ 198083 w 1090712"/>
              <a:gd name="connsiteY485" fmla="*/ 810661 h 895572"/>
              <a:gd name="connsiteX486" fmla="*/ 236810 w 1090712"/>
              <a:gd name="connsiteY486" fmla="*/ 810661 h 895572"/>
              <a:gd name="connsiteX487" fmla="*/ 249640 w 1090712"/>
              <a:gd name="connsiteY487" fmla="*/ 811136 h 895572"/>
              <a:gd name="connsiteX488" fmla="*/ 263183 w 1090712"/>
              <a:gd name="connsiteY488" fmla="*/ 811611 h 895572"/>
              <a:gd name="connsiteX489" fmla="*/ 270310 w 1090712"/>
              <a:gd name="connsiteY489" fmla="*/ 811611 h 895572"/>
              <a:gd name="connsiteX490" fmla="*/ 276963 w 1090712"/>
              <a:gd name="connsiteY490" fmla="*/ 811136 h 895572"/>
              <a:gd name="connsiteX491" fmla="*/ 283140 w 1090712"/>
              <a:gd name="connsiteY491" fmla="*/ 810186 h 895572"/>
              <a:gd name="connsiteX492" fmla="*/ 289793 w 1090712"/>
              <a:gd name="connsiteY492" fmla="*/ 808523 h 895572"/>
              <a:gd name="connsiteX493" fmla="*/ 295495 w 1090712"/>
              <a:gd name="connsiteY493" fmla="*/ 806147 h 895572"/>
              <a:gd name="connsiteX494" fmla="*/ 301435 w 1090712"/>
              <a:gd name="connsiteY494" fmla="*/ 803058 h 895572"/>
              <a:gd name="connsiteX495" fmla="*/ 304524 w 1090712"/>
              <a:gd name="connsiteY495" fmla="*/ 801395 h 895572"/>
              <a:gd name="connsiteX496" fmla="*/ 307137 w 1090712"/>
              <a:gd name="connsiteY496" fmla="*/ 799256 h 895572"/>
              <a:gd name="connsiteX497" fmla="*/ 309275 w 1090712"/>
              <a:gd name="connsiteY497" fmla="*/ 796881 h 895572"/>
              <a:gd name="connsiteX498" fmla="*/ 312126 w 1090712"/>
              <a:gd name="connsiteY498" fmla="*/ 794267 h 895572"/>
              <a:gd name="connsiteX499" fmla="*/ 314265 w 1090712"/>
              <a:gd name="connsiteY499" fmla="*/ 791178 h 895572"/>
              <a:gd name="connsiteX500" fmla="*/ 316403 w 1090712"/>
              <a:gd name="connsiteY500" fmla="*/ 788090 h 895572"/>
              <a:gd name="connsiteX501" fmla="*/ 318304 w 1090712"/>
              <a:gd name="connsiteY501" fmla="*/ 784051 h 895572"/>
              <a:gd name="connsiteX502" fmla="*/ 319967 w 1090712"/>
              <a:gd name="connsiteY502" fmla="*/ 780012 h 895572"/>
              <a:gd name="connsiteX503" fmla="*/ 321868 w 1090712"/>
              <a:gd name="connsiteY503" fmla="*/ 775973 h 895572"/>
              <a:gd name="connsiteX504" fmla="*/ 323056 w 1090712"/>
              <a:gd name="connsiteY504" fmla="*/ 771221 h 895572"/>
              <a:gd name="connsiteX505" fmla="*/ 324481 w 1090712"/>
              <a:gd name="connsiteY505" fmla="*/ 765756 h 895572"/>
              <a:gd name="connsiteX506" fmla="*/ 325907 w 1090712"/>
              <a:gd name="connsiteY506" fmla="*/ 760529 h 895572"/>
              <a:gd name="connsiteX507" fmla="*/ 325907 w 1090712"/>
              <a:gd name="connsiteY507" fmla="*/ 827530 h 895572"/>
              <a:gd name="connsiteX508" fmla="*/ 310226 w 1090712"/>
              <a:gd name="connsiteY508" fmla="*/ 835608 h 895572"/>
              <a:gd name="connsiteX509" fmla="*/ 295970 w 1090712"/>
              <a:gd name="connsiteY509" fmla="*/ 843686 h 895572"/>
              <a:gd name="connsiteX510" fmla="*/ 282665 w 1090712"/>
              <a:gd name="connsiteY510" fmla="*/ 850339 h 895572"/>
              <a:gd name="connsiteX511" fmla="*/ 276488 w 1090712"/>
              <a:gd name="connsiteY511" fmla="*/ 852952 h 895572"/>
              <a:gd name="connsiteX512" fmla="*/ 270310 w 1090712"/>
              <a:gd name="connsiteY512" fmla="*/ 855565 h 895572"/>
              <a:gd name="connsiteX513" fmla="*/ 266271 w 1090712"/>
              <a:gd name="connsiteY513" fmla="*/ 857942 h 895572"/>
              <a:gd name="connsiteX514" fmla="*/ 262708 w 1090712"/>
              <a:gd name="connsiteY514" fmla="*/ 860080 h 895572"/>
              <a:gd name="connsiteX515" fmla="*/ 259619 w 1090712"/>
              <a:gd name="connsiteY515" fmla="*/ 862693 h 895572"/>
              <a:gd name="connsiteX516" fmla="*/ 256768 w 1090712"/>
              <a:gd name="connsiteY516" fmla="*/ 865544 h 895572"/>
              <a:gd name="connsiteX517" fmla="*/ 254154 w 1090712"/>
              <a:gd name="connsiteY517" fmla="*/ 868633 h 895572"/>
              <a:gd name="connsiteX518" fmla="*/ 252491 w 1090712"/>
              <a:gd name="connsiteY518" fmla="*/ 871722 h 895572"/>
              <a:gd name="connsiteX519" fmla="*/ 250590 w 1090712"/>
              <a:gd name="connsiteY519" fmla="*/ 874810 h 895572"/>
              <a:gd name="connsiteX520" fmla="*/ 249402 w 1090712"/>
              <a:gd name="connsiteY520" fmla="*/ 877899 h 895572"/>
              <a:gd name="connsiteX521" fmla="*/ 248452 w 1090712"/>
              <a:gd name="connsiteY521" fmla="*/ 880988 h 895572"/>
              <a:gd name="connsiteX522" fmla="*/ 247977 w 1090712"/>
              <a:gd name="connsiteY522" fmla="*/ 884076 h 895572"/>
              <a:gd name="connsiteX523" fmla="*/ 247977 w 1090712"/>
              <a:gd name="connsiteY523" fmla="*/ 887165 h 895572"/>
              <a:gd name="connsiteX524" fmla="*/ 248452 w 1090712"/>
              <a:gd name="connsiteY524" fmla="*/ 890016 h 895572"/>
              <a:gd name="connsiteX525" fmla="*/ 249402 w 1090712"/>
              <a:gd name="connsiteY525" fmla="*/ 893105 h 895572"/>
              <a:gd name="connsiteX526" fmla="*/ 250075 w 1090712"/>
              <a:gd name="connsiteY526" fmla="*/ 895572 h 895572"/>
              <a:gd name="connsiteX527" fmla="*/ 474750 w 1090712"/>
              <a:gd name="connsiteY527" fmla="*/ 895572 h 895572"/>
              <a:gd name="connsiteX528" fmla="*/ 475827 w 1090712"/>
              <a:gd name="connsiteY528" fmla="*/ 894768 h 895572"/>
              <a:gd name="connsiteX529" fmla="*/ 486993 w 1090712"/>
              <a:gd name="connsiteY529" fmla="*/ 882889 h 895572"/>
              <a:gd name="connsiteX530" fmla="*/ 497210 w 1090712"/>
              <a:gd name="connsiteY530" fmla="*/ 870296 h 895572"/>
              <a:gd name="connsiteX531" fmla="*/ 506951 w 1090712"/>
              <a:gd name="connsiteY531" fmla="*/ 857942 h 895572"/>
              <a:gd name="connsiteX532" fmla="*/ 515742 w 1090712"/>
              <a:gd name="connsiteY532" fmla="*/ 844636 h 895572"/>
              <a:gd name="connsiteX533" fmla="*/ 523820 w 1090712"/>
              <a:gd name="connsiteY533" fmla="*/ 831094 h 895572"/>
              <a:gd name="connsiteX534" fmla="*/ 531898 w 1090712"/>
              <a:gd name="connsiteY534" fmla="*/ 816838 h 895572"/>
              <a:gd name="connsiteX535" fmla="*/ 539026 w 1090712"/>
              <a:gd name="connsiteY535" fmla="*/ 802583 h 895572"/>
              <a:gd name="connsiteX536" fmla="*/ 545678 w 1090712"/>
              <a:gd name="connsiteY536" fmla="*/ 788565 h 895572"/>
              <a:gd name="connsiteX537" fmla="*/ 552331 w 1090712"/>
              <a:gd name="connsiteY537" fmla="*/ 773359 h 895572"/>
              <a:gd name="connsiteX538" fmla="*/ 558033 w 1090712"/>
              <a:gd name="connsiteY538" fmla="*/ 758628 h 895572"/>
              <a:gd name="connsiteX539" fmla="*/ 563498 w 1090712"/>
              <a:gd name="connsiteY539" fmla="*/ 743185 h 895572"/>
              <a:gd name="connsiteX540" fmla="*/ 568725 w 1090712"/>
              <a:gd name="connsiteY540" fmla="*/ 727979 h 895572"/>
              <a:gd name="connsiteX541" fmla="*/ 573714 w 1090712"/>
              <a:gd name="connsiteY541" fmla="*/ 712298 h 895572"/>
              <a:gd name="connsiteX542" fmla="*/ 577991 w 1090712"/>
              <a:gd name="connsiteY542" fmla="*/ 696855 h 895572"/>
              <a:gd name="connsiteX543" fmla="*/ 586544 w 1090712"/>
              <a:gd name="connsiteY543" fmla="*/ 665255 h 895572"/>
              <a:gd name="connsiteX544" fmla="*/ 586069 w 1090712"/>
              <a:gd name="connsiteY544" fmla="*/ 663117 h 895572"/>
              <a:gd name="connsiteX545" fmla="*/ 584881 w 1090712"/>
              <a:gd name="connsiteY545" fmla="*/ 660266 h 895572"/>
              <a:gd name="connsiteX546" fmla="*/ 582980 w 1090712"/>
              <a:gd name="connsiteY546" fmla="*/ 657177 h 895572"/>
              <a:gd name="connsiteX547" fmla="*/ 580367 w 1090712"/>
              <a:gd name="connsiteY547" fmla="*/ 654088 h 895572"/>
              <a:gd name="connsiteX548" fmla="*/ 574902 w 1090712"/>
              <a:gd name="connsiteY548" fmla="*/ 647911 h 895572"/>
              <a:gd name="connsiteX549" fmla="*/ 570150 w 1090712"/>
              <a:gd name="connsiteY549" fmla="*/ 642922 h 895572"/>
              <a:gd name="connsiteX550" fmla="*/ 565636 w 1090712"/>
              <a:gd name="connsiteY550" fmla="*/ 636744 h 895572"/>
              <a:gd name="connsiteX551" fmla="*/ 560647 w 1090712"/>
              <a:gd name="connsiteY551" fmla="*/ 631517 h 895572"/>
              <a:gd name="connsiteX552" fmla="*/ 555420 w 1090712"/>
              <a:gd name="connsiteY552" fmla="*/ 626053 h 895572"/>
              <a:gd name="connsiteX553" fmla="*/ 550193 w 1090712"/>
              <a:gd name="connsiteY553" fmla="*/ 621301 h 895572"/>
              <a:gd name="connsiteX554" fmla="*/ 544253 w 1090712"/>
              <a:gd name="connsiteY554" fmla="*/ 616787 h 895572"/>
              <a:gd name="connsiteX555" fmla="*/ 538075 w 1090712"/>
              <a:gd name="connsiteY555" fmla="*/ 612272 h 895572"/>
              <a:gd name="connsiteX556" fmla="*/ 525721 w 1090712"/>
              <a:gd name="connsiteY556" fmla="*/ 603719 h 895572"/>
              <a:gd name="connsiteX557" fmla="*/ 563023 w 1090712"/>
              <a:gd name="connsiteY557" fmla="*/ 619875 h 895572"/>
              <a:gd name="connsiteX558" fmla="*/ 581317 w 1090712"/>
              <a:gd name="connsiteY558" fmla="*/ 628191 h 895572"/>
              <a:gd name="connsiteX559" fmla="*/ 599374 w 1090712"/>
              <a:gd name="connsiteY559" fmla="*/ 636744 h 895572"/>
              <a:gd name="connsiteX560" fmla="*/ 607927 w 1090712"/>
              <a:gd name="connsiteY560" fmla="*/ 641259 h 895572"/>
              <a:gd name="connsiteX561" fmla="*/ 616718 w 1090712"/>
              <a:gd name="connsiteY561" fmla="*/ 646010 h 895572"/>
              <a:gd name="connsiteX562" fmla="*/ 625271 w 1090712"/>
              <a:gd name="connsiteY562" fmla="*/ 651000 h 895572"/>
              <a:gd name="connsiteX563" fmla="*/ 633349 w 1090712"/>
              <a:gd name="connsiteY563" fmla="*/ 656227 h 895572"/>
              <a:gd name="connsiteX564" fmla="*/ 641665 w 1090712"/>
              <a:gd name="connsiteY564" fmla="*/ 662167 h 895572"/>
              <a:gd name="connsiteX565" fmla="*/ 649268 w 1090712"/>
              <a:gd name="connsiteY565" fmla="*/ 668344 h 895572"/>
              <a:gd name="connsiteX566" fmla="*/ 656871 w 1090712"/>
              <a:gd name="connsiteY566" fmla="*/ 674996 h 895572"/>
              <a:gd name="connsiteX567" fmla="*/ 664474 w 1090712"/>
              <a:gd name="connsiteY567" fmla="*/ 682124 h 895572"/>
              <a:gd name="connsiteX568" fmla="*/ 668988 w 1090712"/>
              <a:gd name="connsiteY568" fmla="*/ 686163 h 895572"/>
              <a:gd name="connsiteX569" fmla="*/ 672790 w 1090712"/>
              <a:gd name="connsiteY569" fmla="*/ 690202 h 895572"/>
              <a:gd name="connsiteX570" fmla="*/ 677304 w 1090712"/>
              <a:gd name="connsiteY570" fmla="*/ 693291 h 895572"/>
              <a:gd name="connsiteX571" fmla="*/ 682293 w 1090712"/>
              <a:gd name="connsiteY571" fmla="*/ 696855 h 895572"/>
              <a:gd name="connsiteX572" fmla="*/ 686570 w 1090712"/>
              <a:gd name="connsiteY572" fmla="*/ 699468 h 895572"/>
              <a:gd name="connsiteX573" fmla="*/ 691559 w 1090712"/>
              <a:gd name="connsiteY573" fmla="*/ 702082 h 895572"/>
              <a:gd name="connsiteX574" fmla="*/ 696549 w 1090712"/>
              <a:gd name="connsiteY574" fmla="*/ 703983 h 895572"/>
              <a:gd name="connsiteX575" fmla="*/ 701300 w 1090712"/>
              <a:gd name="connsiteY575" fmla="*/ 705646 h 895572"/>
              <a:gd name="connsiteX576" fmla="*/ 706290 w 1090712"/>
              <a:gd name="connsiteY576" fmla="*/ 707071 h 895572"/>
              <a:gd name="connsiteX577" fmla="*/ 711042 w 1090712"/>
              <a:gd name="connsiteY577" fmla="*/ 708497 h 895572"/>
              <a:gd name="connsiteX578" fmla="*/ 716506 w 1090712"/>
              <a:gd name="connsiteY578" fmla="*/ 708734 h 895572"/>
              <a:gd name="connsiteX579" fmla="*/ 721258 w 1090712"/>
              <a:gd name="connsiteY579" fmla="*/ 708734 h 895572"/>
              <a:gd name="connsiteX580" fmla="*/ 726723 w 1090712"/>
              <a:gd name="connsiteY580" fmla="*/ 708497 h 895572"/>
              <a:gd name="connsiteX581" fmla="*/ 731712 w 1090712"/>
              <a:gd name="connsiteY581" fmla="*/ 707546 h 895572"/>
              <a:gd name="connsiteX582" fmla="*/ 736939 w 1090712"/>
              <a:gd name="connsiteY582" fmla="*/ 706121 h 895572"/>
              <a:gd name="connsiteX583" fmla="*/ 742166 w 1090712"/>
              <a:gd name="connsiteY583" fmla="*/ 704458 h 895572"/>
              <a:gd name="connsiteX584" fmla="*/ 749294 w 1090712"/>
              <a:gd name="connsiteY584" fmla="*/ 702082 h 895572"/>
              <a:gd name="connsiteX585" fmla="*/ 756184 w 1090712"/>
              <a:gd name="connsiteY585" fmla="*/ 699468 h 895572"/>
              <a:gd name="connsiteX586" fmla="*/ 762361 w 1090712"/>
              <a:gd name="connsiteY586" fmla="*/ 696380 h 895572"/>
              <a:gd name="connsiteX587" fmla="*/ 768063 w 1090712"/>
              <a:gd name="connsiteY587" fmla="*/ 692816 h 895572"/>
              <a:gd name="connsiteX588" fmla="*/ 773528 w 1090712"/>
              <a:gd name="connsiteY588" fmla="*/ 689252 h 895572"/>
              <a:gd name="connsiteX589" fmla="*/ 778755 w 1090712"/>
              <a:gd name="connsiteY589" fmla="*/ 684738 h 895572"/>
              <a:gd name="connsiteX590" fmla="*/ 783269 w 1090712"/>
              <a:gd name="connsiteY590" fmla="*/ 680461 h 895572"/>
              <a:gd name="connsiteX591" fmla="*/ 787308 w 1090712"/>
              <a:gd name="connsiteY591" fmla="*/ 674996 h 895572"/>
              <a:gd name="connsiteX592" fmla="*/ 791110 w 1090712"/>
              <a:gd name="connsiteY592" fmla="*/ 669769 h 895572"/>
              <a:gd name="connsiteX593" fmla="*/ 794436 w 1090712"/>
              <a:gd name="connsiteY593" fmla="*/ 663830 h 895572"/>
              <a:gd name="connsiteX594" fmla="*/ 797050 w 1090712"/>
              <a:gd name="connsiteY594" fmla="*/ 657652 h 895572"/>
              <a:gd name="connsiteX595" fmla="*/ 799188 w 1090712"/>
              <a:gd name="connsiteY595" fmla="*/ 651000 h 895572"/>
              <a:gd name="connsiteX596" fmla="*/ 801089 w 1090712"/>
              <a:gd name="connsiteY596" fmla="*/ 643872 h 895572"/>
              <a:gd name="connsiteX597" fmla="*/ 802277 w 1090712"/>
              <a:gd name="connsiteY597" fmla="*/ 636744 h 895572"/>
              <a:gd name="connsiteX598" fmla="*/ 803227 w 1090712"/>
              <a:gd name="connsiteY598" fmla="*/ 628666 h 895572"/>
              <a:gd name="connsiteX599" fmla="*/ 803227 w 1090712"/>
              <a:gd name="connsiteY599" fmla="*/ 620826 h 895572"/>
              <a:gd name="connsiteX600" fmla="*/ 801089 w 1090712"/>
              <a:gd name="connsiteY600" fmla="*/ 622489 h 895572"/>
              <a:gd name="connsiteX601" fmla="*/ 798238 w 1090712"/>
              <a:gd name="connsiteY601" fmla="*/ 623914 h 895572"/>
              <a:gd name="connsiteX602" fmla="*/ 793011 w 1090712"/>
              <a:gd name="connsiteY602" fmla="*/ 626053 h 895572"/>
              <a:gd name="connsiteX603" fmla="*/ 790397 w 1090712"/>
              <a:gd name="connsiteY603" fmla="*/ 627478 h 895572"/>
              <a:gd name="connsiteX604" fmla="*/ 788496 w 1090712"/>
              <a:gd name="connsiteY604" fmla="*/ 628191 h 895572"/>
              <a:gd name="connsiteX605" fmla="*/ 787308 w 1090712"/>
              <a:gd name="connsiteY605" fmla="*/ 630092 h 895572"/>
              <a:gd name="connsiteX606" fmla="*/ 786833 w 1090712"/>
              <a:gd name="connsiteY606" fmla="*/ 631755 h 895572"/>
              <a:gd name="connsiteX607" fmla="*/ 785408 w 1090712"/>
              <a:gd name="connsiteY607" fmla="*/ 635794 h 895572"/>
              <a:gd name="connsiteX608" fmla="*/ 784220 w 1090712"/>
              <a:gd name="connsiteY608" fmla="*/ 639833 h 895572"/>
              <a:gd name="connsiteX609" fmla="*/ 780656 w 1090712"/>
              <a:gd name="connsiteY609" fmla="*/ 646485 h 895572"/>
              <a:gd name="connsiteX610" fmla="*/ 776617 w 1090712"/>
              <a:gd name="connsiteY610" fmla="*/ 653138 h 895572"/>
              <a:gd name="connsiteX611" fmla="*/ 772103 w 1090712"/>
              <a:gd name="connsiteY611" fmla="*/ 659078 h 895572"/>
              <a:gd name="connsiteX612" fmla="*/ 762361 w 1090712"/>
              <a:gd name="connsiteY612" fmla="*/ 670007 h 895572"/>
              <a:gd name="connsiteX613" fmla="*/ 757847 w 1090712"/>
              <a:gd name="connsiteY613" fmla="*/ 675947 h 895572"/>
              <a:gd name="connsiteX614" fmla="*/ 753333 w 1090712"/>
              <a:gd name="connsiteY614" fmla="*/ 682124 h 895572"/>
              <a:gd name="connsiteX615" fmla="*/ 750244 w 1090712"/>
              <a:gd name="connsiteY615" fmla="*/ 684738 h 895572"/>
              <a:gd name="connsiteX616" fmla="*/ 747155 w 1090712"/>
              <a:gd name="connsiteY616" fmla="*/ 687589 h 895572"/>
              <a:gd name="connsiteX617" fmla="*/ 744067 w 1090712"/>
              <a:gd name="connsiteY617" fmla="*/ 689252 h 895572"/>
              <a:gd name="connsiteX618" fmla="*/ 740978 w 1090712"/>
              <a:gd name="connsiteY618" fmla="*/ 690915 h 895572"/>
              <a:gd name="connsiteX619" fmla="*/ 737890 w 1090712"/>
              <a:gd name="connsiteY619" fmla="*/ 691865 h 895572"/>
              <a:gd name="connsiteX620" fmla="*/ 734801 w 1090712"/>
              <a:gd name="connsiteY620" fmla="*/ 692816 h 895572"/>
              <a:gd name="connsiteX621" fmla="*/ 731950 w 1090712"/>
              <a:gd name="connsiteY621" fmla="*/ 693291 h 895572"/>
              <a:gd name="connsiteX622" fmla="*/ 728861 w 1090712"/>
              <a:gd name="connsiteY622" fmla="*/ 693291 h 895572"/>
              <a:gd name="connsiteX623" fmla="*/ 723634 w 1090712"/>
              <a:gd name="connsiteY623" fmla="*/ 692816 h 895572"/>
              <a:gd name="connsiteX624" fmla="*/ 718169 w 1090712"/>
              <a:gd name="connsiteY624" fmla="*/ 691390 h 895572"/>
              <a:gd name="connsiteX625" fmla="*/ 713418 w 1090712"/>
              <a:gd name="connsiteY625" fmla="*/ 689727 h 895572"/>
              <a:gd name="connsiteX626" fmla="*/ 708903 w 1090712"/>
              <a:gd name="connsiteY626" fmla="*/ 687826 h 895572"/>
              <a:gd name="connsiteX627" fmla="*/ 706765 w 1090712"/>
              <a:gd name="connsiteY627" fmla="*/ 687589 h 895572"/>
              <a:gd name="connsiteX628" fmla="*/ 704864 w 1090712"/>
              <a:gd name="connsiteY628" fmla="*/ 687114 h 895572"/>
              <a:gd name="connsiteX629" fmla="*/ 703201 w 1090712"/>
              <a:gd name="connsiteY629" fmla="*/ 686163 h 895572"/>
              <a:gd name="connsiteX630" fmla="*/ 701776 w 1090712"/>
              <a:gd name="connsiteY630" fmla="*/ 684738 h 895572"/>
              <a:gd name="connsiteX631" fmla="*/ 698687 w 1090712"/>
              <a:gd name="connsiteY631" fmla="*/ 681649 h 895572"/>
              <a:gd name="connsiteX632" fmla="*/ 696549 w 1090712"/>
              <a:gd name="connsiteY632" fmla="*/ 678085 h 895572"/>
              <a:gd name="connsiteX633" fmla="*/ 694648 w 1090712"/>
              <a:gd name="connsiteY633" fmla="*/ 673571 h 895572"/>
              <a:gd name="connsiteX634" fmla="*/ 693460 w 1090712"/>
              <a:gd name="connsiteY634" fmla="*/ 668819 h 895572"/>
              <a:gd name="connsiteX635" fmla="*/ 692510 w 1090712"/>
              <a:gd name="connsiteY635" fmla="*/ 664305 h 895572"/>
              <a:gd name="connsiteX636" fmla="*/ 692510 w 1090712"/>
              <a:gd name="connsiteY636" fmla="*/ 659790 h 895572"/>
              <a:gd name="connsiteX637" fmla="*/ 692510 w 1090712"/>
              <a:gd name="connsiteY637" fmla="*/ 647436 h 895572"/>
              <a:gd name="connsiteX638" fmla="*/ 693460 w 1090712"/>
              <a:gd name="connsiteY638" fmla="*/ 635319 h 895572"/>
              <a:gd name="connsiteX639" fmla="*/ 694173 w 1090712"/>
              <a:gd name="connsiteY639" fmla="*/ 624389 h 895572"/>
              <a:gd name="connsiteX640" fmla="*/ 695598 w 1090712"/>
              <a:gd name="connsiteY640" fmla="*/ 612748 h 895572"/>
              <a:gd name="connsiteX641" fmla="*/ 699162 w 1090712"/>
              <a:gd name="connsiteY641" fmla="*/ 591364 h 895572"/>
              <a:gd name="connsiteX642" fmla="*/ 703676 w 1090712"/>
              <a:gd name="connsiteY642" fmla="*/ 570456 h 895572"/>
              <a:gd name="connsiteX643" fmla="*/ 720070 w 1090712"/>
              <a:gd name="connsiteY643" fmla="*/ 574971 h 895572"/>
              <a:gd name="connsiteX644" fmla="*/ 736939 w 1090712"/>
              <a:gd name="connsiteY644" fmla="*/ 579247 h 895572"/>
              <a:gd name="connsiteX645" fmla="*/ 770677 w 1090712"/>
              <a:gd name="connsiteY645" fmla="*/ 589226 h 895572"/>
              <a:gd name="connsiteX646" fmla="*/ 788021 w 1090712"/>
              <a:gd name="connsiteY646" fmla="*/ 593503 h 895572"/>
              <a:gd name="connsiteX647" fmla="*/ 805365 w 1090712"/>
              <a:gd name="connsiteY647" fmla="*/ 597542 h 895572"/>
              <a:gd name="connsiteX648" fmla="*/ 823660 w 1090712"/>
              <a:gd name="connsiteY648" fmla="*/ 601106 h 895572"/>
              <a:gd name="connsiteX649" fmla="*/ 841954 w 1090712"/>
              <a:gd name="connsiteY649" fmla="*/ 603719 h 895572"/>
              <a:gd name="connsiteX650" fmla="*/ 861437 w 1090712"/>
              <a:gd name="connsiteY650" fmla="*/ 606570 h 895572"/>
              <a:gd name="connsiteX651" fmla="*/ 880682 w 1090712"/>
              <a:gd name="connsiteY651" fmla="*/ 608233 h 895572"/>
              <a:gd name="connsiteX652" fmla="*/ 889948 w 1090712"/>
              <a:gd name="connsiteY652" fmla="*/ 608708 h 895572"/>
              <a:gd name="connsiteX653" fmla="*/ 898976 w 1090712"/>
              <a:gd name="connsiteY653" fmla="*/ 608708 h 895572"/>
              <a:gd name="connsiteX654" fmla="*/ 908242 w 1090712"/>
              <a:gd name="connsiteY654" fmla="*/ 608708 h 895572"/>
              <a:gd name="connsiteX655" fmla="*/ 916795 w 1090712"/>
              <a:gd name="connsiteY655" fmla="*/ 608233 h 895572"/>
              <a:gd name="connsiteX656" fmla="*/ 925586 w 1090712"/>
              <a:gd name="connsiteY656" fmla="*/ 607283 h 895572"/>
              <a:gd name="connsiteX657" fmla="*/ 934140 w 1090712"/>
              <a:gd name="connsiteY657" fmla="*/ 606095 h 895572"/>
              <a:gd name="connsiteX658" fmla="*/ 942455 w 1090712"/>
              <a:gd name="connsiteY658" fmla="*/ 604669 h 895572"/>
              <a:gd name="connsiteX659" fmla="*/ 950533 w 1090712"/>
              <a:gd name="connsiteY659" fmla="*/ 603006 h 895572"/>
              <a:gd name="connsiteX660" fmla="*/ 958611 w 1090712"/>
              <a:gd name="connsiteY660" fmla="*/ 600630 h 895572"/>
              <a:gd name="connsiteX661" fmla="*/ 966452 w 1090712"/>
              <a:gd name="connsiteY661" fmla="*/ 598017 h 895572"/>
              <a:gd name="connsiteX662" fmla="*/ 974055 w 1090712"/>
              <a:gd name="connsiteY662" fmla="*/ 595403 h 895572"/>
              <a:gd name="connsiteX663" fmla="*/ 981658 w 1090712"/>
              <a:gd name="connsiteY663" fmla="*/ 591840 h 895572"/>
              <a:gd name="connsiteX664" fmla="*/ 989261 w 1090712"/>
              <a:gd name="connsiteY664" fmla="*/ 588276 h 895572"/>
              <a:gd name="connsiteX665" fmla="*/ 996388 w 1090712"/>
              <a:gd name="connsiteY665" fmla="*/ 584237 h 895572"/>
              <a:gd name="connsiteX666" fmla="*/ 1003041 w 1090712"/>
              <a:gd name="connsiteY666" fmla="*/ 579247 h 895572"/>
              <a:gd name="connsiteX667" fmla="*/ 1009694 w 1090712"/>
              <a:gd name="connsiteY667" fmla="*/ 574495 h 895572"/>
              <a:gd name="connsiteX668" fmla="*/ 1016346 w 1090712"/>
              <a:gd name="connsiteY668" fmla="*/ 569031 h 895572"/>
              <a:gd name="connsiteX669" fmla="*/ 1022998 w 1090712"/>
              <a:gd name="connsiteY669" fmla="*/ 562853 h 895572"/>
              <a:gd name="connsiteX670" fmla="*/ 1029176 w 1090712"/>
              <a:gd name="connsiteY670" fmla="*/ 556676 h 895572"/>
              <a:gd name="connsiteX671" fmla="*/ 1035116 w 1090712"/>
              <a:gd name="connsiteY671" fmla="*/ 549548 h 895572"/>
              <a:gd name="connsiteX672" fmla="*/ 1040818 w 1090712"/>
              <a:gd name="connsiteY672" fmla="*/ 541945 h 895572"/>
              <a:gd name="connsiteX673" fmla="*/ 1046520 w 1090712"/>
              <a:gd name="connsiteY673" fmla="*/ 534342 h 895572"/>
              <a:gd name="connsiteX674" fmla="*/ 1051985 w 1090712"/>
              <a:gd name="connsiteY674" fmla="*/ 526027 h 895572"/>
              <a:gd name="connsiteX675" fmla="*/ 1056737 w 1090712"/>
              <a:gd name="connsiteY675" fmla="*/ 516523 h 895572"/>
              <a:gd name="connsiteX676" fmla="*/ 1061726 w 1090712"/>
              <a:gd name="connsiteY676" fmla="*/ 507257 h 895572"/>
              <a:gd name="connsiteX677" fmla="*/ 1066715 w 1090712"/>
              <a:gd name="connsiteY677" fmla="*/ 497041 h 895572"/>
              <a:gd name="connsiteX678" fmla="*/ 1070992 w 1090712"/>
              <a:gd name="connsiteY678" fmla="*/ 486349 h 895572"/>
              <a:gd name="connsiteX679" fmla="*/ 1075506 w 1090712"/>
              <a:gd name="connsiteY679" fmla="*/ 475182 h 895572"/>
              <a:gd name="connsiteX680" fmla="*/ 1079070 w 1090712"/>
              <a:gd name="connsiteY680" fmla="*/ 462828 h 895572"/>
              <a:gd name="connsiteX681" fmla="*/ 1082634 w 1090712"/>
              <a:gd name="connsiteY681" fmla="*/ 449998 h 895572"/>
              <a:gd name="connsiteX682" fmla="*/ 1084772 w 1090712"/>
              <a:gd name="connsiteY682" fmla="*/ 437405 h 895572"/>
              <a:gd name="connsiteX683" fmla="*/ 1087148 w 1090712"/>
              <a:gd name="connsiteY683" fmla="*/ 425050 h 895572"/>
              <a:gd name="connsiteX684" fmla="*/ 1088811 w 1090712"/>
              <a:gd name="connsiteY684" fmla="*/ 411983 h 895572"/>
              <a:gd name="connsiteX685" fmla="*/ 1089762 w 1090712"/>
              <a:gd name="connsiteY685" fmla="*/ 399628 h 895572"/>
              <a:gd name="connsiteX686" fmla="*/ 1090712 w 1090712"/>
              <a:gd name="connsiteY686" fmla="*/ 386798 h 895572"/>
              <a:gd name="connsiteX687" fmla="*/ 1090712 w 1090712"/>
              <a:gd name="connsiteY687" fmla="*/ 373731 h 895572"/>
              <a:gd name="connsiteX688" fmla="*/ 1090712 w 1090712"/>
              <a:gd name="connsiteY688" fmla="*/ 360901 h 895572"/>
              <a:gd name="connsiteX689" fmla="*/ 1089762 w 1090712"/>
              <a:gd name="connsiteY689" fmla="*/ 348071 h 895572"/>
              <a:gd name="connsiteX690" fmla="*/ 1088811 w 1090712"/>
              <a:gd name="connsiteY690" fmla="*/ 335004 h 895572"/>
              <a:gd name="connsiteX691" fmla="*/ 1088099 w 1090712"/>
              <a:gd name="connsiteY691" fmla="*/ 321698 h 895572"/>
              <a:gd name="connsiteX692" fmla="*/ 1084772 w 1090712"/>
              <a:gd name="connsiteY692" fmla="*/ 295563 h 895572"/>
              <a:gd name="connsiteX693" fmla="*/ 1080971 w 1090712"/>
              <a:gd name="connsiteY693" fmla="*/ 268478 h 895572"/>
              <a:gd name="connsiteX694" fmla="*/ 1078595 w 1090712"/>
              <a:gd name="connsiteY694" fmla="*/ 258262 h 895572"/>
              <a:gd name="connsiteX695" fmla="*/ 1075981 w 1090712"/>
              <a:gd name="connsiteY695" fmla="*/ 248283 h 895572"/>
              <a:gd name="connsiteX696" fmla="*/ 1072417 w 1090712"/>
              <a:gd name="connsiteY696" fmla="*/ 238542 h 895572"/>
              <a:gd name="connsiteX697" fmla="*/ 1069329 w 1090712"/>
              <a:gd name="connsiteY697" fmla="*/ 229275 h 895572"/>
              <a:gd name="connsiteX698" fmla="*/ 1061251 w 1090712"/>
              <a:gd name="connsiteY698" fmla="*/ 210031 h 895572"/>
              <a:gd name="connsiteX699" fmla="*/ 1053173 w 1090712"/>
              <a:gd name="connsiteY699" fmla="*/ 190073 h 895572"/>
              <a:gd name="connsiteX700" fmla="*/ 1051034 w 1090712"/>
              <a:gd name="connsiteY700" fmla="*/ 186034 h 895572"/>
              <a:gd name="connsiteX701" fmla="*/ 1048896 w 1090712"/>
              <a:gd name="connsiteY701" fmla="*/ 182470 h 895572"/>
              <a:gd name="connsiteX702" fmla="*/ 1046045 w 1090712"/>
              <a:gd name="connsiteY702" fmla="*/ 179381 h 895572"/>
              <a:gd name="connsiteX703" fmla="*/ 1043906 w 1090712"/>
              <a:gd name="connsiteY703" fmla="*/ 176768 h 895572"/>
              <a:gd name="connsiteX704" fmla="*/ 1041293 w 1090712"/>
              <a:gd name="connsiteY704" fmla="*/ 174630 h 895572"/>
              <a:gd name="connsiteX705" fmla="*/ 1038680 w 1090712"/>
              <a:gd name="connsiteY705" fmla="*/ 172729 h 895572"/>
              <a:gd name="connsiteX706" fmla="*/ 1035828 w 1090712"/>
              <a:gd name="connsiteY706" fmla="*/ 171303 h 895572"/>
              <a:gd name="connsiteX707" fmla="*/ 1032740 w 1090712"/>
              <a:gd name="connsiteY707" fmla="*/ 170591 h 895572"/>
              <a:gd name="connsiteX708" fmla="*/ 1030126 w 1090712"/>
              <a:gd name="connsiteY708" fmla="*/ 170591 h 895572"/>
              <a:gd name="connsiteX709" fmla="*/ 1027038 w 1090712"/>
              <a:gd name="connsiteY709" fmla="*/ 170591 h 895572"/>
              <a:gd name="connsiteX710" fmla="*/ 1024424 w 1090712"/>
              <a:gd name="connsiteY710" fmla="*/ 171303 h 895572"/>
              <a:gd name="connsiteX711" fmla="*/ 1021335 w 1090712"/>
              <a:gd name="connsiteY711" fmla="*/ 172729 h 895572"/>
              <a:gd name="connsiteX712" fmla="*/ 1018247 w 1090712"/>
              <a:gd name="connsiteY712" fmla="*/ 174867 h 895572"/>
              <a:gd name="connsiteX713" fmla="*/ 1014920 w 1090712"/>
              <a:gd name="connsiteY713" fmla="*/ 177718 h 895572"/>
              <a:gd name="connsiteX714" fmla="*/ 1011832 w 1090712"/>
              <a:gd name="connsiteY714" fmla="*/ 180807 h 895572"/>
              <a:gd name="connsiteX715" fmla="*/ 1008743 w 1090712"/>
              <a:gd name="connsiteY715" fmla="*/ 184846 h 895572"/>
              <a:gd name="connsiteX716" fmla="*/ 991874 w 1090712"/>
              <a:gd name="connsiteY716" fmla="*/ 201240 h 895572"/>
              <a:gd name="connsiteX717" fmla="*/ 983321 w 1090712"/>
              <a:gd name="connsiteY717" fmla="*/ 209318 h 895572"/>
              <a:gd name="connsiteX718" fmla="*/ 974530 w 1090712"/>
              <a:gd name="connsiteY718" fmla="*/ 216683 h 895572"/>
              <a:gd name="connsiteX719" fmla="*/ 965739 w 1090712"/>
              <a:gd name="connsiteY719" fmla="*/ 223811 h 895572"/>
              <a:gd name="connsiteX720" fmla="*/ 956236 w 1090712"/>
              <a:gd name="connsiteY720" fmla="*/ 230226 h 895572"/>
              <a:gd name="connsiteX721" fmla="*/ 946494 w 1090712"/>
              <a:gd name="connsiteY721" fmla="*/ 235928 h 895572"/>
              <a:gd name="connsiteX722" fmla="*/ 941505 w 1090712"/>
              <a:gd name="connsiteY722" fmla="*/ 238066 h 895572"/>
              <a:gd name="connsiteX723" fmla="*/ 936753 w 1090712"/>
              <a:gd name="connsiteY723" fmla="*/ 240442 h 895572"/>
              <a:gd name="connsiteX724" fmla="*/ 932239 w 1090712"/>
              <a:gd name="connsiteY724" fmla="*/ 242581 h 895572"/>
              <a:gd name="connsiteX725" fmla="*/ 928675 w 1090712"/>
              <a:gd name="connsiteY725" fmla="*/ 245669 h 895572"/>
              <a:gd name="connsiteX726" fmla="*/ 925111 w 1090712"/>
              <a:gd name="connsiteY726" fmla="*/ 249233 h 895572"/>
              <a:gd name="connsiteX727" fmla="*/ 922022 w 1090712"/>
              <a:gd name="connsiteY727" fmla="*/ 252797 h 895572"/>
              <a:gd name="connsiteX728" fmla="*/ 919884 w 1090712"/>
              <a:gd name="connsiteY728" fmla="*/ 257311 h 895572"/>
              <a:gd name="connsiteX729" fmla="*/ 918934 w 1090712"/>
              <a:gd name="connsiteY729" fmla="*/ 259925 h 895572"/>
              <a:gd name="connsiteX730" fmla="*/ 918459 w 1090712"/>
              <a:gd name="connsiteY730" fmla="*/ 262538 h 895572"/>
              <a:gd name="connsiteX731" fmla="*/ 918459 w 1090712"/>
              <a:gd name="connsiteY731" fmla="*/ 265389 h 895572"/>
              <a:gd name="connsiteX732" fmla="*/ 918459 w 1090712"/>
              <a:gd name="connsiteY732" fmla="*/ 268003 h 895572"/>
              <a:gd name="connsiteX733" fmla="*/ 918934 w 1090712"/>
              <a:gd name="connsiteY733" fmla="*/ 271091 h 895572"/>
              <a:gd name="connsiteX734" fmla="*/ 919884 w 1090712"/>
              <a:gd name="connsiteY734" fmla="*/ 274180 h 895572"/>
              <a:gd name="connsiteX735" fmla="*/ 921547 w 1090712"/>
              <a:gd name="connsiteY735" fmla="*/ 282258 h 895572"/>
              <a:gd name="connsiteX736" fmla="*/ 922973 w 1090712"/>
              <a:gd name="connsiteY736" fmla="*/ 290574 h 895572"/>
              <a:gd name="connsiteX737" fmla="*/ 923923 w 1090712"/>
              <a:gd name="connsiteY737" fmla="*/ 299127 h 895572"/>
              <a:gd name="connsiteX738" fmla="*/ 924161 w 1090712"/>
              <a:gd name="connsiteY738" fmla="*/ 307443 h 895572"/>
              <a:gd name="connsiteX739" fmla="*/ 924161 w 1090712"/>
              <a:gd name="connsiteY739" fmla="*/ 315996 h 895572"/>
              <a:gd name="connsiteX740" fmla="*/ 923923 w 1090712"/>
              <a:gd name="connsiteY740" fmla="*/ 324550 h 895572"/>
              <a:gd name="connsiteX741" fmla="*/ 922973 w 1090712"/>
              <a:gd name="connsiteY741" fmla="*/ 332865 h 895572"/>
              <a:gd name="connsiteX742" fmla="*/ 922022 w 1090712"/>
              <a:gd name="connsiteY742" fmla="*/ 340943 h 895572"/>
              <a:gd name="connsiteX743" fmla="*/ 920597 w 1090712"/>
              <a:gd name="connsiteY743" fmla="*/ 349259 h 895572"/>
              <a:gd name="connsiteX744" fmla="*/ 918934 w 1090712"/>
              <a:gd name="connsiteY744" fmla="*/ 357812 h 895572"/>
              <a:gd name="connsiteX745" fmla="*/ 914420 w 1090712"/>
              <a:gd name="connsiteY745" fmla="*/ 374681 h 895572"/>
              <a:gd name="connsiteX746" fmla="*/ 909192 w 1090712"/>
              <a:gd name="connsiteY746" fmla="*/ 391075 h 895572"/>
              <a:gd name="connsiteX747" fmla="*/ 903253 w 1090712"/>
              <a:gd name="connsiteY747" fmla="*/ 408182 h 895572"/>
              <a:gd name="connsiteX748" fmla="*/ 903253 w 1090712"/>
              <a:gd name="connsiteY748" fmla="*/ 397965 h 895572"/>
              <a:gd name="connsiteX749" fmla="*/ 904203 w 1090712"/>
              <a:gd name="connsiteY749" fmla="*/ 387274 h 895572"/>
              <a:gd name="connsiteX750" fmla="*/ 906104 w 1090712"/>
              <a:gd name="connsiteY750" fmla="*/ 367078 h 895572"/>
              <a:gd name="connsiteX751" fmla="*/ 907767 w 1090712"/>
              <a:gd name="connsiteY751" fmla="*/ 347596 h 895572"/>
              <a:gd name="connsiteX752" fmla="*/ 908717 w 1090712"/>
              <a:gd name="connsiteY752" fmla="*/ 338567 h 895572"/>
              <a:gd name="connsiteX753" fmla="*/ 908717 w 1090712"/>
              <a:gd name="connsiteY753" fmla="*/ 329777 h 895572"/>
              <a:gd name="connsiteX754" fmla="*/ 908717 w 1090712"/>
              <a:gd name="connsiteY754" fmla="*/ 325738 h 895572"/>
              <a:gd name="connsiteX755" fmla="*/ 907767 w 1090712"/>
              <a:gd name="connsiteY755" fmla="*/ 322649 h 895572"/>
              <a:gd name="connsiteX756" fmla="*/ 906817 w 1090712"/>
              <a:gd name="connsiteY756" fmla="*/ 319560 h 895572"/>
              <a:gd name="connsiteX757" fmla="*/ 905154 w 1090712"/>
              <a:gd name="connsiteY757" fmla="*/ 316471 h 895572"/>
              <a:gd name="connsiteX758" fmla="*/ 903728 w 1090712"/>
              <a:gd name="connsiteY758" fmla="*/ 314096 h 895572"/>
              <a:gd name="connsiteX759" fmla="*/ 901590 w 1090712"/>
              <a:gd name="connsiteY759" fmla="*/ 311957 h 895572"/>
              <a:gd name="connsiteX760" fmla="*/ 897551 w 1090712"/>
              <a:gd name="connsiteY760" fmla="*/ 307443 h 895572"/>
              <a:gd name="connsiteX761" fmla="*/ 895412 w 1090712"/>
              <a:gd name="connsiteY761" fmla="*/ 309344 h 895572"/>
              <a:gd name="connsiteX762" fmla="*/ 892561 w 1090712"/>
              <a:gd name="connsiteY762" fmla="*/ 310769 h 895572"/>
              <a:gd name="connsiteX763" fmla="*/ 887334 w 1090712"/>
              <a:gd name="connsiteY763" fmla="*/ 313383 h 895572"/>
              <a:gd name="connsiteX764" fmla="*/ 884721 w 1090712"/>
              <a:gd name="connsiteY764" fmla="*/ 314096 h 895572"/>
              <a:gd name="connsiteX765" fmla="*/ 882820 w 1090712"/>
              <a:gd name="connsiteY765" fmla="*/ 315521 h 895572"/>
              <a:gd name="connsiteX766" fmla="*/ 881632 w 1090712"/>
              <a:gd name="connsiteY766" fmla="*/ 316947 h 895572"/>
              <a:gd name="connsiteX767" fmla="*/ 881157 w 1090712"/>
              <a:gd name="connsiteY767" fmla="*/ 318610 h 895572"/>
              <a:gd name="connsiteX768" fmla="*/ 872604 w 1090712"/>
              <a:gd name="connsiteY768" fmla="*/ 331915 h 895572"/>
              <a:gd name="connsiteX769" fmla="*/ 864288 w 1090712"/>
              <a:gd name="connsiteY769" fmla="*/ 346646 h 895572"/>
              <a:gd name="connsiteX770" fmla="*/ 856210 w 1090712"/>
              <a:gd name="connsiteY770" fmla="*/ 361376 h 895572"/>
              <a:gd name="connsiteX771" fmla="*/ 847656 w 1090712"/>
              <a:gd name="connsiteY771" fmla="*/ 374681 h 895572"/>
              <a:gd name="connsiteX772" fmla="*/ 841954 w 1090712"/>
              <a:gd name="connsiteY772" fmla="*/ 374681 h 895572"/>
              <a:gd name="connsiteX773" fmla="*/ 846468 w 1090712"/>
              <a:gd name="connsiteY773" fmla="*/ 357812 h 895572"/>
              <a:gd name="connsiteX774" fmla="*/ 850508 w 1090712"/>
              <a:gd name="connsiteY774" fmla="*/ 339518 h 895572"/>
              <a:gd name="connsiteX775" fmla="*/ 854784 w 1090712"/>
              <a:gd name="connsiteY775" fmla="*/ 319560 h 895572"/>
              <a:gd name="connsiteX776" fmla="*/ 858823 w 1090712"/>
              <a:gd name="connsiteY776" fmla="*/ 296514 h 895572"/>
              <a:gd name="connsiteX777" fmla="*/ 848132 w 1090712"/>
              <a:gd name="connsiteY777" fmla="*/ 303879 h 895572"/>
              <a:gd name="connsiteX778" fmla="*/ 840054 w 1090712"/>
              <a:gd name="connsiteY778" fmla="*/ 310294 h 895572"/>
              <a:gd name="connsiteX779" fmla="*/ 833163 w 1090712"/>
              <a:gd name="connsiteY779" fmla="*/ 316947 h 895572"/>
              <a:gd name="connsiteX780" fmla="*/ 825560 w 1090712"/>
              <a:gd name="connsiteY780" fmla="*/ 324550 h 895572"/>
              <a:gd name="connsiteX781" fmla="*/ 823185 w 1090712"/>
              <a:gd name="connsiteY781" fmla="*/ 326688 h 895572"/>
              <a:gd name="connsiteX782" fmla="*/ 821522 w 1090712"/>
              <a:gd name="connsiteY782" fmla="*/ 329301 h 895572"/>
              <a:gd name="connsiteX783" fmla="*/ 817007 w 1090712"/>
              <a:gd name="connsiteY783" fmla="*/ 335954 h 895572"/>
              <a:gd name="connsiteX784" fmla="*/ 812968 w 1090712"/>
              <a:gd name="connsiteY784" fmla="*/ 344032 h 895572"/>
              <a:gd name="connsiteX785" fmla="*/ 808929 w 1090712"/>
              <a:gd name="connsiteY785" fmla="*/ 352585 h 895572"/>
              <a:gd name="connsiteX786" fmla="*/ 809880 w 1090712"/>
              <a:gd name="connsiteY786" fmla="*/ 343557 h 895572"/>
              <a:gd name="connsiteX787" fmla="*/ 811305 w 1090712"/>
              <a:gd name="connsiteY787" fmla="*/ 335479 h 895572"/>
              <a:gd name="connsiteX788" fmla="*/ 812493 w 1090712"/>
              <a:gd name="connsiteY788" fmla="*/ 328826 h 895572"/>
              <a:gd name="connsiteX789" fmla="*/ 814394 w 1090712"/>
              <a:gd name="connsiteY789" fmla="*/ 323124 h 895572"/>
              <a:gd name="connsiteX790" fmla="*/ 816532 w 1090712"/>
              <a:gd name="connsiteY790" fmla="*/ 317659 h 895572"/>
              <a:gd name="connsiteX791" fmla="*/ 819146 w 1090712"/>
              <a:gd name="connsiteY791" fmla="*/ 313383 h 895572"/>
              <a:gd name="connsiteX792" fmla="*/ 822709 w 1090712"/>
              <a:gd name="connsiteY792" fmla="*/ 309344 h 895572"/>
              <a:gd name="connsiteX793" fmla="*/ 826748 w 1090712"/>
              <a:gd name="connsiteY793" fmla="*/ 306255 h 895572"/>
              <a:gd name="connsiteX794" fmla="*/ 832213 w 1090712"/>
              <a:gd name="connsiteY794" fmla="*/ 303166 h 895572"/>
              <a:gd name="connsiteX795" fmla="*/ 838390 w 1090712"/>
              <a:gd name="connsiteY795" fmla="*/ 300315 h 895572"/>
              <a:gd name="connsiteX796" fmla="*/ 845518 w 1090712"/>
              <a:gd name="connsiteY796" fmla="*/ 298177 h 895572"/>
              <a:gd name="connsiteX797" fmla="*/ 854071 w 1090712"/>
              <a:gd name="connsiteY797" fmla="*/ 295563 h 895572"/>
              <a:gd name="connsiteX798" fmla="*/ 875217 w 1090712"/>
              <a:gd name="connsiteY798" fmla="*/ 290574 h 895572"/>
              <a:gd name="connsiteX799" fmla="*/ 903253 w 1090712"/>
              <a:gd name="connsiteY799" fmla="*/ 285347 h 895572"/>
              <a:gd name="connsiteX800" fmla="*/ 886384 w 1090712"/>
              <a:gd name="connsiteY800" fmla="*/ 268478 h 895572"/>
              <a:gd name="connsiteX801" fmla="*/ 879731 w 1090712"/>
              <a:gd name="connsiteY801" fmla="*/ 270141 h 895572"/>
              <a:gd name="connsiteX802" fmla="*/ 873079 w 1090712"/>
              <a:gd name="connsiteY802" fmla="*/ 271091 h 895572"/>
              <a:gd name="connsiteX803" fmla="*/ 867376 w 1090712"/>
              <a:gd name="connsiteY803" fmla="*/ 271567 h 895572"/>
              <a:gd name="connsiteX804" fmla="*/ 862387 w 1090712"/>
              <a:gd name="connsiteY804" fmla="*/ 271091 h 895572"/>
              <a:gd name="connsiteX805" fmla="*/ 857398 w 1090712"/>
              <a:gd name="connsiteY805" fmla="*/ 269666 h 895572"/>
              <a:gd name="connsiteX806" fmla="*/ 853596 w 1090712"/>
              <a:gd name="connsiteY806" fmla="*/ 268003 h 895572"/>
              <a:gd name="connsiteX807" fmla="*/ 849557 w 1090712"/>
              <a:gd name="connsiteY807" fmla="*/ 265627 h 895572"/>
              <a:gd name="connsiteX808" fmla="*/ 846468 w 1090712"/>
              <a:gd name="connsiteY808" fmla="*/ 262538 h 895572"/>
              <a:gd name="connsiteX809" fmla="*/ 843380 w 1090712"/>
              <a:gd name="connsiteY809" fmla="*/ 259450 h 895572"/>
              <a:gd name="connsiteX810" fmla="*/ 840529 w 1090712"/>
              <a:gd name="connsiteY810" fmla="*/ 255411 h 895572"/>
              <a:gd name="connsiteX811" fmla="*/ 838390 w 1090712"/>
              <a:gd name="connsiteY811" fmla="*/ 251134 h 895572"/>
              <a:gd name="connsiteX812" fmla="*/ 836490 w 1090712"/>
              <a:gd name="connsiteY812" fmla="*/ 246620 h 895572"/>
              <a:gd name="connsiteX813" fmla="*/ 834827 w 1090712"/>
              <a:gd name="connsiteY813" fmla="*/ 241155 h 895572"/>
              <a:gd name="connsiteX814" fmla="*/ 833401 w 1090712"/>
              <a:gd name="connsiteY814" fmla="*/ 235453 h 895572"/>
              <a:gd name="connsiteX815" fmla="*/ 831263 w 1090712"/>
              <a:gd name="connsiteY815" fmla="*/ 223336 h 895572"/>
              <a:gd name="connsiteX816" fmla="*/ 897551 w 1090712"/>
              <a:gd name="connsiteY816" fmla="*/ 206942 h 895572"/>
              <a:gd name="connsiteX817" fmla="*/ 888997 w 1090712"/>
              <a:gd name="connsiteY817" fmla="*/ 194112 h 895572"/>
              <a:gd name="connsiteX818" fmla="*/ 880682 w 1090712"/>
              <a:gd name="connsiteY818" fmla="*/ 181282 h 895572"/>
              <a:gd name="connsiteX819" fmla="*/ 871416 w 1090712"/>
              <a:gd name="connsiteY819" fmla="*/ 168690 h 895572"/>
              <a:gd name="connsiteX820" fmla="*/ 866901 w 1090712"/>
              <a:gd name="connsiteY820" fmla="*/ 162988 h 895572"/>
              <a:gd name="connsiteX821" fmla="*/ 861437 w 1090712"/>
              <a:gd name="connsiteY821" fmla="*/ 157048 h 895572"/>
              <a:gd name="connsiteX822" fmla="*/ 856210 w 1090712"/>
              <a:gd name="connsiteY822" fmla="*/ 151821 h 895572"/>
              <a:gd name="connsiteX823" fmla="*/ 850745 w 1090712"/>
              <a:gd name="connsiteY823" fmla="*/ 146831 h 895572"/>
              <a:gd name="connsiteX824" fmla="*/ 844568 w 1090712"/>
              <a:gd name="connsiteY824" fmla="*/ 142555 h 895572"/>
              <a:gd name="connsiteX825" fmla="*/ 838390 w 1090712"/>
              <a:gd name="connsiteY825" fmla="*/ 138516 h 895572"/>
              <a:gd name="connsiteX826" fmla="*/ 831738 w 1090712"/>
              <a:gd name="connsiteY826" fmla="*/ 134952 h 895572"/>
              <a:gd name="connsiteX827" fmla="*/ 824610 w 1090712"/>
              <a:gd name="connsiteY827" fmla="*/ 132338 h 895572"/>
              <a:gd name="connsiteX828" fmla="*/ 817007 w 1090712"/>
              <a:gd name="connsiteY828" fmla="*/ 129963 h 895572"/>
              <a:gd name="connsiteX829" fmla="*/ 808929 w 1090712"/>
              <a:gd name="connsiteY829" fmla="*/ 128774 h 895572"/>
              <a:gd name="connsiteX830" fmla="*/ 806791 w 1090712"/>
              <a:gd name="connsiteY830" fmla="*/ 128299 h 895572"/>
              <a:gd name="connsiteX831" fmla="*/ 804652 w 1090712"/>
              <a:gd name="connsiteY831" fmla="*/ 127824 h 895572"/>
              <a:gd name="connsiteX832" fmla="*/ 802752 w 1090712"/>
              <a:gd name="connsiteY832" fmla="*/ 126399 h 895572"/>
              <a:gd name="connsiteX833" fmla="*/ 801089 w 1090712"/>
              <a:gd name="connsiteY833" fmla="*/ 125211 h 895572"/>
              <a:gd name="connsiteX834" fmla="*/ 799663 w 1090712"/>
              <a:gd name="connsiteY834" fmla="*/ 123310 h 895572"/>
              <a:gd name="connsiteX835" fmla="*/ 798713 w 1090712"/>
              <a:gd name="connsiteY835" fmla="*/ 121647 h 895572"/>
              <a:gd name="connsiteX836" fmla="*/ 798000 w 1090712"/>
              <a:gd name="connsiteY836" fmla="*/ 119271 h 895572"/>
              <a:gd name="connsiteX837" fmla="*/ 798000 w 1090712"/>
              <a:gd name="connsiteY837" fmla="*/ 117608 h 895572"/>
              <a:gd name="connsiteX838" fmla="*/ 785408 w 1090712"/>
              <a:gd name="connsiteY838" fmla="*/ 106916 h 895572"/>
              <a:gd name="connsiteX839" fmla="*/ 772578 w 1090712"/>
              <a:gd name="connsiteY839" fmla="*/ 95749 h 895572"/>
              <a:gd name="connsiteX840" fmla="*/ 747155 w 1090712"/>
              <a:gd name="connsiteY840" fmla="*/ 72703 h 895572"/>
              <a:gd name="connsiteX841" fmla="*/ 733850 w 1090712"/>
              <a:gd name="connsiteY841" fmla="*/ 61061 h 895572"/>
              <a:gd name="connsiteX842" fmla="*/ 720545 w 1090712"/>
              <a:gd name="connsiteY842" fmla="*/ 49894 h 895572"/>
              <a:gd name="connsiteX843" fmla="*/ 706765 w 1090712"/>
              <a:gd name="connsiteY843" fmla="*/ 38728 h 895572"/>
              <a:gd name="connsiteX844" fmla="*/ 692510 w 1090712"/>
              <a:gd name="connsiteY844" fmla="*/ 28036 h 895572"/>
              <a:gd name="connsiteX845" fmla="*/ 679442 w 1090712"/>
              <a:gd name="connsiteY845" fmla="*/ 21859 h 895572"/>
              <a:gd name="connsiteX846" fmla="*/ 666137 w 1090712"/>
              <a:gd name="connsiteY846" fmla="*/ 16632 h 895572"/>
              <a:gd name="connsiteX847" fmla="*/ 652832 w 1090712"/>
              <a:gd name="connsiteY847" fmla="*/ 11642 h 895572"/>
              <a:gd name="connsiteX848" fmla="*/ 639527 w 1090712"/>
              <a:gd name="connsiteY848" fmla="*/ 7603 h 895572"/>
              <a:gd name="connsiteX849" fmla="*/ 626222 w 1090712"/>
              <a:gd name="connsiteY849" fmla="*/ 4514 h 895572"/>
              <a:gd name="connsiteX850" fmla="*/ 612917 w 1090712"/>
              <a:gd name="connsiteY850" fmla="*/ 1901 h 895572"/>
              <a:gd name="connsiteX851" fmla="*/ 599374 w 1090712"/>
              <a:gd name="connsiteY851" fmla="*/ 475 h 8955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Lst>
            <a:rect l="l" t="t" r="r" b="b"/>
            <a:pathLst>
              <a:path w="1090712" h="895572">
                <a:moveTo>
                  <a:pt x="603413" y="721327"/>
                </a:moveTo>
                <a:lnTo>
                  <a:pt x="578466" y="770746"/>
                </a:lnTo>
                <a:lnTo>
                  <a:pt x="553519" y="818264"/>
                </a:lnTo>
                <a:lnTo>
                  <a:pt x="528334" y="865069"/>
                </a:lnTo>
                <a:lnTo>
                  <a:pt x="511825" y="895572"/>
                </a:lnTo>
                <a:lnTo>
                  <a:pt x="624528" y="895572"/>
                </a:lnTo>
                <a:lnTo>
                  <a:pt x="624796" y="894768"/>
                </a:lnTo>
                <a:lnTo>
                  <a:pt x="625271" y="891679"/>
                </a:lnTo>
                <a:lnTo>
                  <a:pt x="625747" y="889066"/>
                </a:lnTo>
                <a:lnTo>
                  <a:pt x="625747" y="860555"/>
                </a:lnTo>
                <a:lnTo>
                  <a:pt x="624796" y="833945"/>
                </a:lnTo>
                <a:lnTo>
                  <a:pt x="624321" y="820877"/>
                </a:lnTo>
                <a:lnTo>
                  <a:pt x="623608" y="808047"/>
                </a:lnTo>
                <a:lnTo>
                  <a:pt x="621708" y="795218"/>
                </a:lnTo>
                <a:lnTo>
                  <a:pt x="620044" y="782625"/>
                </a:lnTo>
                <a:lnTo>
                  <a:pt x="616005" y="766707"/>
                </a:lnTo>
                <a:lnTo>
                  <a:pt x="611966" y="751976"/>
                </a:lnTo>
                <a:lnTo>
                  <a:pt x="607452" y="737245"/>
                </a:lnTo>
                <a:close/>
                <a:moveTo>
                  <a:pt x="698212" y="530778"/>
                </a:moveTo>
                <a:lnTo>
                  <a:pt x="693460" y="534818"/>
                </a:lnTo>
                <a:lnTo>
                  <a:pt x="688471" y="538857"/>
                </a:lnTo>
                <a:lnTo>
                  <a:pt x="678254" y="546935"/>
                </a:lnTo>
                <a:lnTo>
                  <a:pt x="669226" y="553587"/>
                </a:lnTo>
                <a:lnTo>
                  <a:pt x="663048" y="558814"/>
                </a:lnTo>
                <a:lnTo>
                  <a:pt x="663048" y="556676"/>
                </a:lnTo>
                <a:lnTo>
                  <a:pt x="663523" y="554538"/>
                </a:lnTo>
                <a:lnTo>
                  <a:pt x="665424" y="550498"/>
                </a:lnTo>
                <a:lnTo>
                  <a:pt x="668038" y="546459"/>
                </a:lnTo>
                <a:lnTo>
                  <a:pt x="671602" y="542420"/>
                </a:lnTo>
                <a:lnTo>
                  <a:pt x="676829" y="538857"/>
                </a:lnTo>
                <a:lnTo>
                  <a:pt x="682768" y="535768"/>
                </a:lnTo>
                <a:lnTo>
                  <a:pt x="689896" y="533154"/>
                </a:lnTo>
                <a:close/>
                <a:moveTo>
                  <a:pt x="654257" y="302216"/>
                </a:moveTo>
                <a:lnTo>
                  <a:pt x="651882" y="302691"/>
                </a:lnTo>
                <a:lnTo>
                  <a:pt x="649268" y="303166"/>
                </a:lnTo>
                <a:lnTo>
                  <a:pt x="647130" y="304354"/>
                </a:lnTo>
                <a:lnTo>
                  <a:pt x="644516" y="306255"/>
                </a:lnTo>
                <a:lnTo>
                  <a:pt x="642140" y="307918"/>
                </a:lnTo>
                <a:lnTo>
                  <a:pt x="640002" y="310294"/>
                </a:lnTo>
                <a:lnTo>
                  <a:pt x="638101" y="312432"/>
                </a:lnTo>
                <a:lnTo>
                  <a:pt x="636913" y="314571"/>
                </a:lnTo>
                <a:lnTo>
                  <a:pt x="635963" y="316946"/>
                </a:lnTo>
                <a:lnTo>
                  <a:pt x="635963" y="319085"/>
                </a:lnTo>
                <a:lnTo>
                  <a:pt x="636913" y="321223"/>
                </a:lnTo>
                <a:lnTo>
                  <a:pt x="637626" y="324074"/>
                </a:lnTo>
                <a:lnTo>
                  <a:pt x="639527" y="326688"/>
                </a:lnTo>
                <a:lnTo>
                  <a:pt x="643091" y="331677"/>
                </a:lnTo>
                <a:lnTo>
                  <a:pt x="647130" y="335954"/>
                </a:lnTo>
                <a:lnTo>
                  <a:pt x="655920" y="330727"/>
                </a:lnTo>
                <a:lnTo>
                  <a:pt x="663999" y="324787"/>
                </a:lnTo>
                <a:lnTo>
                  <a:pt x="679917" y="313383"/>
                </a:lnTo>
                <a:lnTo>
                  <a:pt x="676354" y="311007"/>
                </a:lnTo>
                <a:lnTo>
                  <a:pt x="672790" y="308393"/>
                </a:lnTo>
                <a:lnTo>
                  <a:pt x="668988" y="306730"/>
                </a:lnTo>
                <a:lnTo>
                  <a:pt x="664949" y="304829"/>
                </a:lnTo>
                <a:lnTo>
                  <a:pt x="660910" y="303641"/>
                </a:lnTo>
                <a:lnTo>
                  <a:pt x="657346" y="302691"/>
                </a:lnTo>
                <a:close/>
                <a:moveTo>
                  <a:pt x="696549" y="252322"/>
                </a:moveTo>
                <a:lnTo>
                  <a:pt x="696786" y="259925"/>
                </a:lnTo>
                <a:lnTo>
                  <a:pt x="698212" y="266102"/>
                </a:lnTo>
                <a:lnTo>
                  <a:pt x="700113" y="272042"/>
                </a:lnTo>
                <a:lnTo>
                  <a:pt x="701776" y="276794"/>
                </a:lnTo>
                <a:lnTo>
                  <a:pt x="704389" y="280833"/>
                </a:lnTo>
                <a:lnTo>
                  <a:pt x="707240" y="284397"/>
                </a:lnTo>
                <a:lnTo>
                  <a:pt x="710329" y="287010"/>
                </a:lnTo>
                <a:lnTo>
                  <a:pt x="713418" y="289624"/>
                </a:lnTo>
                <a:lnTo>
                  <a:pt x="716506" y="291524"/>
                </a:lnTo>
                <a:lnTo>
                  <a:pt x="719595" y="293187"/>
                </a:lnTo>
                <a:lnTo>
                  <a:pt x="725772" y="295088"/>
                </a:lnTo>
                <a:lnTo>
                  <a:pt x="731237" y="296514"/>
                </a:lnTo>
                <a:lnTo>
                  <a:pt x="734801" y="296751"/>
                </a:lnTo>
                <a:lnTo>
                  <a:pt x="722209" y="303879"/>
                </a:lnTo>
                <a:lnTo>
                  <a:pt x="710804" y="311007"/>
                </a:lnTo>
                <a:lnTo>
                  <a:pt x="688471" y="324787"/>
                </a:lnTo>
                <a:lnTo>
                  <a:pt x="667563" y="339043"/>
                </a:lnTo>
                <a:lnTo>
                  <a:pt x="646179" y="352823"/>
                </a:lnTo>
                <a:lnTo>
                  <a:pt x="620044" y="313383"/>
                </a:lnTo>
                <a:lnTo>
                  <a:pt x="617668" y="312432"/>
                </a:lnTo>
                <a:lnTo>
                  <a:pt x="615055" y="312432"/>
                </a:lnTo>
                <a:lnTo>
                  <a:pt x="612441" y="313383"/>
                </a:lnTo>
                <a:lnTo>
                  <a:pt x="609353" y="314095"/>
                </a:lnTo>
                <a:lnTo>
                  <a:pt x="602938" y="316946"/>
                </a:lnTo>
                <a:lnTo>
                  <a:pt x="599849" y="317659"/>
                </a:lnTo>
                <a:lnTo>
                  <a:pt x="596760" y="318610"/>
                </a:lnTo>
                <a:lnTo>
                  <a:pt x="607927" y="307205"/>
                </a:lnTo>
                <a:lnTo>
                  <a:pt x="618619" y="295088"/>
                </a:lnTo>
                <a:lnTo>
                  <a:pt x="623846" y="289386"/>
                </a:lnTo>
                <a:lnTo>
                  <a:pt x="629786" y="283921"/>
                </a:lnTo>
                <a:lnTo>
                  <a:pt x="635963" y="278694"/>
                </a:lnTo>
                <a:lnTo>
                  <a:pt x="642140" y="273705"/>
                </a:lnTo>
                <a:lnTo>
                  <a:pt x="648793" y="269191"/>
                </a:lnTo>
                <a:lnTo>
                  <a:pt x="655446" y="265627"/>
                </a:lnTo>
                <a:lnTo>
                  <a:pt x="662098" y="263013"/>
                </a:lnTo>
                <a:lnTo>
                  <a:pt x="668988" y="260400"/>
                </a:lnTo>
                <a:lnTo>
                  <a:pt x="682768" y="256361"/>
                </a:lnTo>
                <a:close/>
                <a:moveTo>
                  <a:pt x="1030602" y="200289"/>
                </a:moveTo>
                <a:lnTo>
                  <a:pt x="1027513" y="207892"/>
                </a:lnTo>
                <a:lnTo>
                  <a:pt x="1023949" y="214545"/>
                </a:lnTo>
                <a:lnTo>
                  <a:pt x="1019910" y="221197"/>
                </a:lnTo>
                <a:lnTo>
                  <a:pt x="1015396" y="226899"/>
                </a:lnTo>
                <a:lnTo>
                  <a:pt x="1011119" y="232839"/>
                </a:lnTo>
                <a:lnTo>
                  <a:pt x="1006130" y="237591"/>
                </a:lnTo>
                <a:lnTo>
                  <a:pt x="1001140" y="242105"/>
                </a:lnTo>
                <a:lnTo>
                  <a:pt x="996388" y="246144"/>
                </a:lnTo>
                <a:lnTo>
                  <a:pt x="990924" y="249708"/>
                </a:lnTo>
                <a:lnTo>
                  <a:pt x="985697" y="252797"/>
                </a:lnTo>
                <a:lnTo>
                  <a:pt x="980232" y="254935"/>
                </a:lnTo>
                <a:lnTo>
                  <a:pt x="975005" y="256836"/>
                </a:lnTo>
                <a:lnTo>
                  <a:pt x="969541" y="258262"/>
                </a:lnTo>
                <a:lnTo>
                  <a:pt x="963839" y="258499"/>
                </a:lnTo>
                <a:lnTo>
                  <a:pt x="958612" y="258499"/>
                </a:lnTo>
                <a:lnTo>
                  <a:pt x="953622" y="257786"/>
                </a:lnTo>
                <a:lnTo>
                  <a:pt x="970966" y="244006"/>
                </a:lnTo>
                <a:lnTo>
                  <a:pt x="990211" y="229275"/>
                </a:lnTo>
                <a:lnTo>
                  <a:pt x="1010169" y="214069"/>
                </a:lnTo>
                <a:lnTo>
                  <a:pt x="1020385" y="206942"/>
                </a:lnTo>
                <a:close/>
                <a:moveTo>
                  <a:pt x="389581" y="176768"/>
                </a:moveTo>
                <a:lnTo>
                  <a:pt x="397422" y="177243"/>
                </a:lnTo>
                <a:lnTo>
                  <a:pt x="414766" y="178906"/>
                </a:lnTo>
                <a:lnTo>
                  <a:pt x="405500" y="179856"/>
                </a:lnTo>
                <a:lnTo>
                  <a:pt x="396946" y="181995"/>
                </a:lnTo>
                <a:lnTo>
                  <a:pt x="389581" y="184371"/>
                </a:lnTo>
                <a:lnTo>
                  <a:pt x="381978" y="186984"/>
                </a:lnTo>
                <a:lnTo>
                  <a:pt x="375326" y="190548"/>
                </a:lnTo>
                <a:lnTo>
                  <a:pt x="368911" y="194112"/>
                </a:lnTo>
                <a:lnTo>
                  <a:pt x="363208" y="198626"/>
                </a:lnTo>
                <a:lnTo>
                  <a:pt x="357981" y="202903"/>
                </a:lnTo>
                <a:lnTo>
                  <a:pt x="352517" y="208367"/>
                </a:lnTo>
                <a:lnTo>
                  <a:pt x="348003" y="214070"/>
                </a:lnTo>
                <a:lnTo>
                  <a:pt x="343726" y="220247"/>
                </a:lnTo>
                <a:lnTo>
                  <a:pt x="339687" y="226662"/>
                </a:lnTo>
                <a:lnTo>
                  <a:pt x="335648" y="233790"/>
                </a:lnTo>
                <a:lnTo>
                  <a:pt x="332559" y="240917"/>
                </a:lnTo>
                <a:lnTo>
                  <a:pt x="328995" y="248758"/>
                </a:lnTo>
                <a:lnTo>
                  <a:pt x="325907" y="256836"/>
                </a:lnTo>
                <a:lnTo>
                  <a:pt x="325432" y="252797"/>
                </a:lnTo>
                <a:lnTo>
                  <a:pt x="324956" y="248283"/>
                </a:lnTo>
                <a:lnTo>
                  <a:pt x="323056" y="239492"/>
                </a:lnTo>
                <a:lnTo>
                  <a:pt x="320917" y="229275"/>
                </a:lnTo>
                <a:lnTo>
                  <a:pt x="320442" y="223811"/>
                </a:lnTo>
                <a:lnTo>
                  <a:pt x="319967" y="217633"/>
                </a:lnTo>
                <a:lnTo>
                  <a:pt x="314740" y="217633"/>
                </a:lnTo>
                <a:lnTo>
                  <a:pt x="302148" y="243056"/>
                </a:lnTo>
                <a:lnTo>
                  <a:pt x="289793" y="267528"/>
                </a:lnTo>
                <a:lnTo>
                  <a:pt x="277438" y="291049"/>
                </a:lnTo>
                <a:lnTo>
                  <a:pt x="264371" y="312907"/>
                </a:lnTo>
                <a:lnTo>
                  <a:pt x="267459" y="295088"/>
                </a:lnTo>
                <a:lnTo>
                  <a:pt x="271023" y="279170"/>
                </a:lnTo>
                <a:lnTo>
                  <a:pt x="274587" y="263964"/>
                </a:lnTo>
                <a:lnTo>
                  <a:pt x="279101" y="250183"/>
                </a:lnTo>
                <a:lnTo>
                  <a:pt x="284091" y="238066"/>
                </a:lnTo>
                <a:lnTo>
                  <a:pt x="289318" y="226900"/>
                </a:lnTo>
                <a:lnTo>
                  <a:pt x="292406" y="221673"/>
                </a:lnTo>
                <a:lnTo>
                  <a:pt x="295495" y="217158"/>
                </a:lnTo>
                <a:lnTo>
                  <a:pt x="298584" y="212406"/>
                </a:lnTo>
                <a:lnTo>
                  <a:pt x="302148" y="208367"/>
                </a:lnTo>
                <a:lnTo>
                  <a:pt x="305711" y="204328"/>
                </a:lnTo>
                <a:lnTo>
                  <a:pt x="309275" y="200765"/>
                </a:lnTo>
                <a:lnTo>
                  <a:pt x="313314" y="197201"/>
                </a:lnTo>
                <a:lnTo>
                  <a:pt x="317354" y="194112"/>
                </a:lnTo>
                <a:lnTo>
                  <a:pt x="321868" y="191498"/>
                </a:lnTo>
                <a:lnTo>
                  <a:pt x="326382" y="188647"/>
                </a:lnTo>
                <a:lnTo>
                  <a:pt x="330659" y="186509"/>
                </a:lnTo>
                <a:lnTo>
                  <a:pt x="335648" y="184371"/>
                </a:lnTo>
                <a:lnTo>
                  <a:pt x="340637" y="182470"/>
                </a:lnTo>
                <a:lnTo>
                  <a:pt x="345864" y="181282"/>
                </a:lnTo>
                <a:lnTo>
                  <a:pt x="351091" y="179856"/>
                </a:lnTo>
                <a:lnTo>
                  <a:pt x="357031" y="178431"/>
                </a:lnTo>
                <a:lnTo>
                  <a:pt x="368911" y="177243"/>
                </a:lnTo>
                <a:lnTo>
                  <a:pt x="381978" y="176768"/>
                </a:lnTo>
                <a:close/>
                <a:moveTo>
                  <a:pt x="609353" y="174629"/>
                </a:moveTo>
                <a:lnTo>
                  <a:pt x="602463" y="180807"/>
                </a:lnTo>
                <a:lnTo>
                  <a:pt x="596285" y="187459"/>
                </a:lnTo>
                <a:lnTo>
                  <a:pt x="583931" y="201715"/>
                </a:lnTo>
                <a:lnTo>
                  <a:pt x="571101" y="215495"/>
                </a:lnTo>
                <a:lnTo>
                  <a:pt x="564686" y="222148"/>
                </a:lnTo>
                <a:lnTo>
                  <a:pt x="558508" y="228325"/>
                </a:lnTo>
                <a:lnTo>
                  <a:pt x="557558" y="223335"/>
                </a:lnTo>
                <a:lnTo>
                  <a:pt x="557083" y="219059"/>
                </a:lnTo>
                <a:lnTo>
                  <a:pt x="557083" y="215020"/>
                </a:lnTo>
                <a:lnTo>
                  <a:pt x="557558" y="210981"/>
                </a:lnTo>
                <a:lnTo>
                  <a:pt x="558508" y="207417"/>
                </a:lnTo>
                <a:lnTo>
                  <a:pt x="560409" y="203853"/>
                </a:lnTo>
                <a:lnTo>
                  <a:pt x="562072" y="200764"/>
                </a:lnTo>
                <a:lnTo>
                  <a:pt x="564686" y="197676"/>
                </a:lnTo>
                <a:lnTo>
                  <a:pt x="567774" y="194587"/>
                </a:lnTo>
                <a:lnTo>
                  <a:pt x="571813" y="191973"/>
                </a:lnTo>
                <a:lnTo>
                  <a:pt x="576328" y="188647"/>
                </a:lnTo>
                <a:lnTo>
                  <a:pt x="581317" y="186034"/>
                </a:lnTo>
                <a:lnTo>
                  <a:pt x="587019" y="183420"/>
                </a:lnTo>
                <a:lnTo>
                  <a:pt x="593672" y="180332"/>
                </a:lnTo>
                <a:close/>
                <a:moveTo>
                  <a:pt x="586544" y="0"/>
                </a:moveTo>
                <a:lnTo>
                  <a:pt x="570150" y="2851"/>
                </a:lnTo>
                <a:lnTo>
                  <a:pt x="553519" y="5940"/>
                </a:lnTo>
                <a:lnTo>
                  <a:pt x="536650" y="10454"/>
                </a:lnTo>
                <a:lnTo>
                  <a:pt x="520256" y="14731"/>
                </a:lnTo>
                <a:lnTo>
                  <a:pt x="486993" y="24472"/>
                </a:lnTo>
                <a:lnTo>
                  <a:pt x="469887" y="28986"/>
                </a:lnTo>
                <a:lnTo>
                  <a:pt x="453493" y="33500"/>
                </a:lnTo>
                <a:lnTo>
                  <a:pt x="438762" y="40153"/>
                </a:lnTo>
                <a:lnTo>
                  <a:pt x="424507" y="47281"/>
                </a:lnTo>
                <a:lnTo>
                  <a:pt x="417379" y="51320"/>
                </a:lnTo>
                <a:lnTo>
                  <a:pt x="410727" y="55834"/>
                </a:lnTo>
                <a:lnTo>
                  <a:pt x="403599" y="60111"/>
                </a:lnTo>
                <a:lnTo>
                  <a:pt x="397422" y="65100"/>
                </a:lnTo>
                <a:lnTo>
                  <a:pt x="390769" y="69852"/>
                </a:lnTo>
                <a:lnTo>
                  <a:pt x="384592" y="75792"/>
                </a:lnTo>
                <a:lnTo>
                  <a:pt x="378889" y="81494"/>
                </a:lnTo>
                <a:lnTo>
                  <a:pt x="372950" y="87671"/>
                </a:lnTo>
                <a:lnTo>
                  <a:pt x="367723" y="94324"/>
                </a:lnTo>
                <a:lnTo>
                  <a:pt x="362733" y="101452"/>
                </a:lnTo>
                <a:lnTo>
                  <a:pt x="357981" y="109055"/>
                </a:lnTo>
                <a:lnTo>
                  <a:pt x="353467" y="117608"/>
                </a:lnTo>
                <a:lnTo>
                  <a:pt x="409064" y="117608"/>
                </a:lnTo>
                <a:lnTo>
                  <a:pt x="406925" y="119271"/>
                </a:lnTo>
                <a:lnTo>
                  <a:pt x="404074" y="121647"/>
                </a:lnTo>
                <a:lnTo>
                  <a:pt x="400510" y="123310"/>
                </a:lnTo>
                <a:lnTo>
                  <a:pt x="397422" y="125211"/>
                </a:lnTo>
                <a:lnTo>
                  <a:pt x="393383" y="126399"/>
                </a:lnTo>
                <a:lnTo>
                  <a:pt x="389581" y="127824"/>
                </a:lnTo>
                <a:lnTo>
                  <a:pt x="385542" y="128299"/>
                </a:lnTo>
                <a:lnTo>
                  <a:pt x="381503" y="128774"/>
                </a:lnTo>
                <a:lnTo>
                  <a:pt x="375326" y="130438"/>
                </a:lnTo>
                <a:lnTo>
                  <a:pt x="368435" y="131863"/>
                </a:lnTo>
                <a:lnTo>
                  <a:pt x="361783" y="133051"/>
                </a:lnTo>
                <a:lnTo>
                  <a:pt x="355606" y="134001"/>
                </a:lnTo>
                <a:lnTo>
                  <a:pt x="342300" y="135427"/>
                </a:lnTo>
                <a:lnTo>
                  <a:pt x="329471" y="137090"/>
                </a:lnTo>
                <a:lnTo>
                  <a:pt x="322818" y="138040"/>
                </a:lnTo>
                <a:lnTo>
                  <a:pt x="316403" y="139704"/>
                </a:lnTo>
                <a:lnTo>
                  <a:pt x="310226" y="141604"/>
                </a:lnTo>
                <a:lnTo>
                  <a:pt x="304048" y="144218"/>
                </a:lnTo>
                <a:lnTo>
                  <a:pt x="298346" y="147307"/>
                </a:lnTo>
                <a:lnTo>
                  <a:pt x="292406" y="151346"/>
                </a:lnTo>
                <a:lnTo>
                  <a:pt x="286704" y="156335"/>
                </a:lnTo>
                <a:lnTo>
                  <a:pt x="281240" y="162037"/>
                </a:lnTo>
                <a:lnTo>
                  <a:pt x="262232" y="182945"/>
                </a:lnTo>
                <a:lnTo>
                  <a:pt x="242987" y="203378"/>
                </a:lnTo>
                <a:lnTo>
                  <a:pt x="203547" y="244006"/>
                </a:lnTo>
                <a:lnTo>
                  <a:pt x="183827" y="264439"/>
                </a:lnTo>
                <a:lnTo>
                  <a:pt x="164345" y="285822"/>
                </a:lnTo>
                <a:lnTo>
                  <a:pt x="144862" y="307443"/>
                </a:lnTo>
                <a:lnTo>
                  <a:pt x="126093" y="329777"/>
                </a:lnTo>
                <a:lnTo>
                  <a:pt x="122054" y="335004"/>
                </a:lnTo>
                <a:lnTo>
                  <a:pt x="118015" y="340468"/>
                </a:lnTo>
                <a:lnTo>
                  <a:pt x="110887" y="352110"/>
                </a:lnTo>
                <a:lnTo>
                  <a:pt x="104709" y="363514"/>
                </a:lnTo>
                <a:lnTo>
                  <a:pt x="99007" y="375156"/>
                </a:lnTo>
                <a:lnTo>
                  <a:pt x="87840" y="400103"/>
                </a:lnTo>
                <a:lnTo>
                  <a:pt x="82138" y="412458"/>
                </a:lnTo>
                <a:lnTo>
                  <a:pt x="75723" y="425050"/>
                </a:lnTo>
                <a:lnTo>
                  <a:pt x="75723" y="429802"/>
                </a:lnTo>
                <a:lnTo>
                  <a:pt x="76674" y="436217"/>
                </a:lnTo>
                <a:lnTo>
                  <a:pt x="77149" y="439306"/>
                </a:lnTo>
                <a:lnTo>
                  <a:pt x="78574" y="442395"/>
                </a:lnTo>
                <a:lnTo>
                  <a:pt x="79762" y="445008"/>
                </a:lnTo>
                <a:lnTo>
                  <a:pt x="81663" y="447147"/>
                </a:lnTo>
                <a:lnTo>
                  <a:pt x="94018" y="468055"/>
                </a:lnTo>
                <a:lnTo>
                  <a:pt x="106848" y="488963"/>
                </a:lnTo>
                <a:lnTo>
                  <a:pt x="113975" y="499654"/>
                </a:lnTo>
                <a:lnTo>
                  <a:pt x="121103" y="510346"/>
                </a:lnTo>
                <a:lnTo>
                  <a:pt x="128706" y="520562"/>
                </a:lnTo>
                <a:lnTo>
                  <a:pt x="137259" y="531254"/>
                </a:lnTo>
                <a:lnTo>
                  <a:pt x="149614" y="514385"/>
                </a:lnTo>
                <a:lnTo>
                  <a:pt x="162206" y="498466"/>
                </a:lnTo>
                <a:lnTo>
                  <a:pt x="174561" y="483260"/>
                </a:lnTo>
                <a:lnTo>
                  <a:pt x="180739" y="476133"/>
                </a:lnTo>
                <a:lnTo>
                  <a:pt x="186916" y="469480"/>
                </a:lnTo>
                <a:lnTo>
                  <a:pt x="182639" y="482310"/>
                </a:lnTo>
                <a:lnTo>
                  <a:pt x="178125" y="495615"/>
                </a:lnTo>
                <a:lnTo>
                  <a:pt x="172423" y="509871"/>
                </a:lnTo>
                <a:lnTo>
                  <a:pt x="164820" y="525552"/>
                </a:lnTo>
                <a:lnTo>
                  <a:pt x="156267" y="538381"/>
                </a:lnTo>
                <a:lnTo>
                  <a:pt x="152703" y="544559"/>
                </a:lnTo>
                <a:lnTo>
                  <a:pt x="148664" y="551449"/>
                </a:lnTo>
                <a:lnTo>
                  <a:pt x="145100" y="558339"/>
                </a:lnTo>
                <a:lnTo>
                  <a:pt x="142011" y="565467"/>
                </a:lnTo>
                <a:lnTo>
                  <a:pt x="139398" y="573070"/>
                </a:lnTo>
                <a:lnTo>
                  <a:pt x="137259" y="581623"/>
                </a:lnTo>
                <a:lnTo>
                  <a:pt x="136309" y="583761"/>
                </a:lnTo>
                <a:lnTo>
                  <a:pt x="135359" y="586137"/>
                </a:lnTo>
                <a:lnTo>
                  <a:pt x="134883" y="590889"/>
                </a:lnTo>
                <a:lnTo>
                  <a:pt x="134883" y="595879"/>
                </a:lnTo>
                <a:lnTo>
                  <a:pt x="135359" y="601106"/>
                </a:lnTo>
                <a:lnTo>
                  <a:pt x="136784" y="606095"/>
                </a:lnTo>
                <a:lnTo>
                  <a:pt x="138447" y="611322"/>
                </a:lnTo>
                <a:lnTo>
                  <a:pt x="140348" y="616311"/>
                </a:lnTo>
                <a:lnTo>
                  <a:pt x="142486" y="620826"/>
                </a:lnTo>
                <a:lnTo>
                  <a:pt x="148664" y="629616"/>
                </a:lnTo>
                <a:lnTo>
                  <a:pt x="155554" y="637219"/>
                </a:lnTo>
                <a:lnTo>
                  <a:pt x="162444" y="643872"/>
                </a:lnTo>
                <a:lnTo>
                  <a:pt x="169572" y="649099"/>
                </a:lnTo>
                <a:lnTo>
                  <a:pt x="177175" y="653613"/>
                </a:lnTo>
                <a:lnTo>
                  <a:pt x="184778" y="657177"/>
                </a:lnTo>
                <a:lnTo>
                  <a:pt x="192856" y="659553"/>
                </a:lnTo>
                <a:lnTo>
                  <a:pt x="200934" y="661216"/>
                </a:lnTo>
                <a:lnTo>
                  <a:pt x="209250" y="661691"/>
                </a:lnTo>
                <a:lnTo>
                  <a:pt x="218278" y="661691"/>
                </a:lnTo>
                <a:lnTo>
                  <a:pt x="227069" y="660266"/>
                </a:lnTo>
                <a:lnTo>
                  <a:pt x="236335" y="658603"/>
                </a:lnTo>
                <a:lnTo>
                  <a:pt x="245838" y="655514"/>
                </a:lnTo>
                <a:lnTo>
                  <a:pt x="255580" y="652425"/>
                </a:lnTo>
                <a:lnTo>
                  <a:pt x="265321" y="647911"/>
                </a:lnTo>
                <a:lnTo>
                  <a:pt x="276013" y="642922"/>
                </a:lnTo>
                <a:lnTo>
                  <a:pt x="288367" y="635081"/>
                </a:lnTo>
                <a:lnTo>
                  <a:pt x="301910" y="627478"/>
                </a:lnTo>
                <a:lnTo>
                  <a:pt x="315215" y="620350"/>
                </a:lnTo>
                <a:lnTo>
                  <a:pt x="329471" y="613698"/>
                </a:lnTo>
                <a:lnTo>
                  <a:pt x="343726" y="607283"/>
                </a:lnTo>
                <a:lnTo>
                  <a:pt x="357981" y="602056"/>
                </a:lnTo>
                <a:lnTo>
                  <a:pt x="371999" y="597066"/>
                </a:lnTo>
                <a:lnTo>
                  <a:pt x="386730" y="592790"/>
                </a:lnTo>
                <a:lnTo>
                  <a:pt x="394808" y="590414"/>
                </a:lnTo>
                <a:lnTo>
                  <a:pt x="402411" y="587325"/>
                </a:lnTo>
                <a:lnTo>
                  <a:pt x="409064" y="583761"/>
                </a:lnTo>
                <a:lnTo>
                  <a:pt x="411677" y="581623"/>
                </a:lnTo>
                <a:lnTo>
                  <a:pt x="414766" y="579247"/>
                </a:lnTo>
                <a:lnTo>
                  <a:pt x="417142" y="577109"/>
                </a:lnTo>
                <a:lnTo>
                  <a:pt x="419280" y="574495"/>
                </a:lnTo>
                <a:lnTo>
                  <a:pt x="420943" y="571407"/>
                </a:lnTo>
                <a:lnTo>
                  <a:pt x="422844" y="568318"/>
                </a:lnTo>
                <a:lnTo>
                  <a:pt x="424269" y="565229"/>
                </a:lnTo>
                <a:lnTo>
                  <a:pt x="424982" y="561665"/>
                </a:lnTo>
                <a:lnTo>
                  <a:pt x="425457" y="557626"/>
                </a:lnTo>
                <a:lnTo>
                  <a:pt x="425932" y="553587"/>
                </a:lnTo>
                <a:lnTo>
                  <a:pt x="425932" y="413884"/>
                </a:lnTo>
                <a:lnTo>
                  <a:pt x="425932" y="285347"/>
                </a:lnTo>
                <a:lnTo>
                  <a:pt x="429496" y="300078"/>
                </a:lnTo>
                <a:lnTo>
                  <a:pt x="433060" y="314096"/>
                </a:lnTo>
                <a:lnTo>
                  <a:pt x="436149" y="328826"/>
                </a:lnTo>
                <a:lnTo>
                  <a:pt x="438762" y="343082"/>
                </a:lnTo>
                <a:lnTo>
                  <a:pt x="443752" y="370642"/>
                </a:lnTo>
                <a:lnTo>
                  <a:pt x="447791" y="397015"/>
                </a:lnTo>
                <a:lnTo>
                  <a:pt x="451830" y="421962"/>
                </a:lnTo>
                <a:lnTo>
                  <a:pt x="454919" y="446434"/>
                </a:lnTo>
                <a:lnTo>
                  <a:pt x="456106" y="458313"/>
                </a:lnTo>
                <a:lnTo>
                  <a:pt x="457057" y="470430"/>
                </a:lnTo>
                <a:lnTo>
                  <a:pt x="457532" y="482310"/>
                </a:lnTo>
                <a:lnTo>
                  <a:pt x="457532" y="493952"/>
                </a:lnTo>
                <a:lnTo>
                  <a:pt x="457532" y="506069"/>
                </a:lnTo>
                <a:lnTo>
                  <a:pt x="456582" y="517473"/>
                </a:lnTo>
                <a:lnTo>
                  <a:pt x="455869" y="529116"/>
                </a:lnTo>
                <a:lnTo>
                  <a:pt x="453968" y="540757"/>
                </a:lnTo>
                <a:lnTo>
                  <a:pt x="452305" y="552162"/>
                </a:lnTo>
                <a:lnTo>
                  <a:pt x="449454" y="563804"/>
                </a:lnTo>
                <a:lnTo>
                  <a:pt x="446365" y="575446"/>
                </a:lnTo>
                <a:lnTo>
                  <a:pt x="442326" y="586850"/>
                </a:lnTo>
                <a:lnTo>
                  <a:pt x="440188" y="591364"/>
                </a:lnTo>
                <a:lnTo>
                  <a:pt x="437574" y="595403"/>
                </a:lnTo>
                <a:lnTo>
                  <a:pt x="434486" y="598967"/>
                </a:lnTo>
                <a:lnTo>
                  <a:pt x="431397" y="602531"/>
                </a:lnTo>
                <a:lnTo>
                  <a:pt x="428071" y="605145"/>
                </a:lnTo>
                <a:lnTo>
                  <a:pt x="424982" y="607283"/>
                </a:lnTo>
                <a:lnTo>
                  <a:pt x="422369" y="608708"/>
                </a:lnTo>
                <a:lnTo>
                  <a:pt x="420230" y="609659"/>
                </a:lnTo>
                <a:lnTo>
                  <a:pt x="410727" y="610847"/>
                </a:lnTo>
                <a:lnTo>
                  <a:pt x="401461" y="612748"/>
                </a:lnTo>
                <a:lnTo>
                  <a:pt x="392670" y="614886"/>
                </a:lnTo>
                <a:lnTo>
                  <a:pt x="383641" y="617262"/>
                </a:lnTo>
                <a:lnTo>
                  <a:pt x="374850" y="620350"/>
                </a:lnTo>
                <a:lnTo>
                  <a:pt x="365822" y="623914"/>
                </a:lnTo>
                <a:lnTo>
                  <a:pt x="348478" y="631042"/>
                </a:lnTo>
                <a:lnTo>
                  <a:pt x="331609" y="639358"/>
                </a:lnTo>
                <a:lnTo>
                  <a:pt x="314740" y="647911"/>
                </a:lnTo>
                <a:lnTo>
                  <a:pt x="281240" y="665255"/>
                </a:lnTo>
                <a:lnTo>
                  <a:pt x="274587" y="669294"/>
                </a:lnTo>
                <a:lnTo>
                  <a:pt x="267935" y="672858"/>
                </a:lnTo>
                <a:lnTo>
                  <a:pt x="261757" y="675947"/>
                </a:lnTo>
                <a:lnTo>
                  <a:pt x="255105" y="679035"/>
                </a:lnTo>
                <a:lnTo>
                  <a:pt x="248927" y="681174"/>
                </a:lnTo>
                <a:lnTo>
                  <a:pt x="242987" y="683075"/>
                </a:lnTo>
                <a:lnTo>
                  <a:pt x="236810" y="684738"/>
                </a:lnTo>
                <a:lnTo>
                  <a:pt x="231108" y="686163"/>
                </a:lnTo>
                <a:lnTo>
                  <a:pt x="225406" y="687114"/>
                </a:lnTo>
                <a:lnTo>
                  <a:pt x="219466" y="687589"/>
                </a:lnTo>
                <a:lnTo>
                  <a:pt x="213764" y="687589"/>
                </a:lnTo>
                <a:lnTo>
                  <a:pt x="208299" y="687589"/>
                </a:lnTo>
                <a:lnTo>
                  <a:pt x="203072" y="687114"/>
                </a:lnTo>
                <a:lnTo>
                  <a:pt x="197607" y="686163"/>
                </a:lnTo>
                <a:lnTo>
                  <a:pt x="192380" y="684738"/>
                </a:lnTo>
                <a:lnTo>
                  <a:pt x="186916" y="683550"/>
                </a:lnTo>
                <a:lnTo>
                  <a:pt x="181689" y="681649"/>
                </a:lnTo>
                <a:lnTo>
                  <a:pt x="176699" y="679986"/>
                </a:lnTo>
                <a:lnTo>
                  <a:pt x="171472" y="677610"/>
                </a:lnTo>
                <a:lnTo>
                  <a:pt x="166483" y="674996"/>
                </a:lnTo>
                <a:lnTo>
                  <a:pt x="156742" y="669294"/>
                </a:lnTo>
                <a:lnTo>
                  <a:pt x="147001" y="662167"/>
                </a:lnTo>
                <a:lnTo>
                  <a:pt x="137735" y="654564"/>
                </a:lnTo>
                <a:lnTo>
                  <a:pt x="127756" y="645535"/>
                </a:lnTo>
                <a:lnTo>
                  <a:pt x="118490" y="636269"/>
                </a:lnTo>
                <a:lnTo>
                  <a:pt x="109224" y="626053"/>
                </a:lnTo>
                <a:lnTo>
                  <a:pt x="107323" y="623914"/>
                </a:lnTo>
                <a:lnTo>
                  <a:pt x="106135" y="620350"/>
                </a:lnTo>
                <a:lnTo>
                  <a:pt x="105185" y="616311"/>
                </a:lnTo>
                <a:lnTo>
                  <a:pt x="105185" y="612272"/>
                </a:lnTo>
                <a:lnTo>
                  <a:pt x="105185" y="608233"/>
                </a:lnTo>
                <a:lnTo>
                  <a:pt x="106135" y="604194"/>
                </a:lnTo>
                <a:lnTo>
                  <a:pt x="107323" y="600630"/>
                </a:lnTo>
                <a:lnTo>
                  <a:pt x="109224" y="598017"/>
                </a:lnTo>
                <a:lnTo>
                  <a:pt x="111837" y="591840"/>
                </a:lnTo>
                <a:lnTo>
                  <a:pt x="113975" y="586137"/>
                </a:lnTo>
                <a:lnTo>
                  <a:pt x="115401" y="579722"/>
                </a:lnTo>
                <a:lnTo>
                  <a:pt x="115876" y="574020"/>
                </a:lnTo>
                <a:lnTo>
                  <a:pt x="115876" y="568318"/>
                </a:lnTo>
                <a:lnTo>
                  <a:pt x="115401" y="562378"/>
                </a:lnTo>
                <a:lnTo>
                  <a:pt x="114451" y="557151"/>
                </a:lnTo>
                <a:lnTo>
                  <a:pt x="112788" y="551449"/>
                </a:lnTo>
                <a:lnTo>
                  <a:pt x="110412" y="545984"/>
                </a:lnTo>
                <a:lnTo>
                  <a:pt x="108273" y="540757"/>
                </a:lnTo>
                <a:lnTo>
                  <a:pt x="105185" y="535293"/>
                </a:lnTo>
                <a:lnTo>
                  <a:pt x="102096" y="530066"/>
                </a:lnTo>
                <a:lnTo>
                  <a:pt x="94968" y="519374"/>
                </a:lnTo>
                <a:lnTo>
                  <a:pt x="86890" y="508683"/>
                </a:lnTo>
                <a:lnTo>
                  <a:pt x="78812" y="497991"/>
                </a:lnTo>
                <a:lnTo>
                  <a:pt x="70972" y="486824"/>
                </a:lnTo>
                <a:lnTo>
                  <a:pt x="67408" y="481122"/>
                </a:lnTo>
                <a:lnTo>
                  <a:pt x="64319" y="474707"/>
                </a:lnTo>
                <a:lnTo>
                  <a:pt x="61230" y="469005"/>
                </a:lnTo>
                <a:lnTo>
                  <a:pt x="58379" y="462828"/>
                </a:lnTo>
                <a:lnTo>
                  <a:pt x="56716" y="456175"/>
                </a:lnTo>
                <a:lnTo>
                  <a:pt x="54815" y="449998"/>
                </a:lnTo>
                <a:lnTo>
                  <a:pt x="54103" y="443345"/>
                </a:lnTo>
                <a:lnTo>
                  <a:pt x="53627" y="436455"/>
                </a:lnTo>
                <a:lnTo>
                  <a:pt x="53627" y="429327"/>
                </a:lnTo>
                <a:lnTo>
                  <a:pt x="54815" y="422675"/>
                </a:lnTo>
                <a:lnTo>
                  <a:pt x="56716" y="415547"/>
                </a:lnTo>
                <a:lnTo>
                  <a:pt x="59330" y="408182"/>
                </a:lnTo>
                <a:lnTo>
                  <a:pt x="60280" y="403192"/>
                </a:lnTo>
                <a:lnTo>
                  <a:pt x="61943" y="397965"/>
                </a:lnTo>
                <a:lnTo>
                  <a:pt x="65507" y="387986"/>
                </a:lnTo>
                <a:lnTo>
                  <a:pt x="69546" y="378720"/>
                </a:lnTo>
                <a:lnTo>
                  <a:pt x="74535" y="369929"/>
                </a:lnTo>
                <a:lnTo>
                  <a:pt x="79762" y="360901"/>
                </a:lnTo>
                <a:lnTo>
                  <a:pt x="85940" y="352585"/>
                </a:lnTo>
                <a:lnTo>
                  <a:pt x="98057" y="335479"/>
                </a:lnTo>
                <a:lnTo>
                  <a:pt x="102571" y="328113"/>
                </a:lnTo>
                <a:lnTo>
                  <a:pt x="106848" y="320986"/>
                </a:lnTo>
                <a:lnTo>
                  <a:pt x="116827" y="307205"/>
                </a:lnTo>
                <a:lnTo>
                  <a:pt x="127043" y="293188"/>
                </a:lnTo>
                <a:lnTo>
                  <a:pt x="137735" y="279407"/>
                </a:lnTo>
                <a:lnTo>
                  <a:pt x="159831" y="251847"/>
                </a:lnTo>
                <a:lnTo>
                  <a:pt x="170522" y="238066"/>
                </a:lnTo>
                <a:lnTo>
                  <a:pt x="181214" y="223336"/>
                </a:lnTo>
                <a:lnTo>
                  <a:pt x="164820" y="223336"/>
                </a:lnTo>
                <a:lnTo>
                  <a:pt x="137972" y="230226"/>
                </a:lnTo>
                <a:lnTo>
                  <a:pt x="125142" y="233790"/>
                </a:lnTo>
                <a:lnTo>
                  <a:pt x="112788" y="237591"/>
                </a:lnTo>
                <a:lnTo>
                  <a:pt x="100195" y="241630"/>
                </a:lnTo>
                <a:lnTo>
                  <a:pt x="87840" y="245669"/>
                </a:lnTo>
                <a:lnTo>
                  <a:pt x="75723" y="250183"/>
                </a:lnTo>
                <a:lnTo>
                  <a:pt x="64319" y="254935"/>
                </a:lnTo>
                <a:lnTo>
                  <a:pt x="52677" y="260400"/>
                </a:lnTo>
                <a:lnTo>
                  <a:pt x="41035" y="265627"/>
                </a:lnTo>
                <a:lnTo>
                  <a:pt x="29868" y="271567"/>
                </a:lnTo>
                <a:lnTo>
                  <a:pt x="18939" y="277744"/>
                </a:lnTo>
                <a:lnTo>
                  <a:pt x="7772" y="284397"/>
                </a:lnTo>
                <a:lnTo>
                  <a:pt x="0" y="289924"/>
                </a:lnTo>
                <a:lnTo>
                  <a:pt x="0" y="895572"/>
                </a:lnTo>
                <a:lnTo>
                  <a:pt x="125653" y="895572"/>
                </a:lnTo>
                <a:lnTo>
                  <a:pt x="127756" y="892155"/>
                </a:lnTo>
                <a:lnTo>
                  <a:pt x="131082" y="885502"/>
                </a:lnTo>
                <a:lnTo>
                  <a:pt x="133696" y="878374"/>
                </a:lnTo>
                <a:lnTo>
                  <a:pt x="135834" y="871722"/>
                </a:lnTo>
                <a:lnTo>
                  <a:pt x="137735" y="864594"/>
                </a:lnTo>
                <a:lnTo>
                  <a:pt x="138923" y="857466"/>
                </a:lnTo>
                <a:lnTo>
                  <a:pt x="140348" y="850339"/>
                </a:lnTo>
                <a:lnTo>
                  <a:pt x="141298" y="843211"/>
                </a:lnTo>
                <a:lnTo>
                  <a:pt x="142011" y="828955"/>
                </a:lnTo>
                <a:lnTo>
                  <a:pt x="142486" y="814225"/>
                </a:lnTo>
                <a:lnTo>
                  <a:pt x="142486" y="799494"/>
                </a:lnTo>
                <a:lnTo>
                  <a:pt x="142486" y="782625"/>
                </a:lnTo>
                <a:lnTo>
                  <a:pt x="142486" y="771458"/>
                </a:lnTo>
                <a:lnTo>
                  <a:pt x="143912" y="778586"/>
                </a:lnTo>
                <a:lnTo>
                  <a:pt x="145100" y="784526"/>
                </a:lnTo>
                <a:lnTo>
                  <a:pt x="147476" y="789753"/>
                </a:lnTo>
                <a:lnTo>
                  <a:pt x="149614" y="794267"/>
                </a:lnTo>
                <a:lnTo>
                  <a:pt x="152228" y="797831"/>
                </a:lnTo>
                <a:lnTo>
                  <a:pt x="155554" y="801395"/>
                </a:lnTo>
                <a:lnTo>
                  <a:pt x="158643" y="803533"/>
                </a:lnTo>
                <a:lnTo>
                  <a:pt x="162206" y="805909"/>
                </a:lnTo>
                <a:lnTo>
                  <a:pt x="165770" y="807572"/>
                </a:lnTo>
                <a:lnTo>
                  <a:pt x="169572" y="808523"/>
                </a:lnTo>
                <a:lnTo>
                  <a:pt x="174086" y="809473"/>
                </a:lnTo>
                <a:lnTo>
                  <a:pt x="178600" y="810186"/>
                </a:lnTo>
                <a:lnTo>
                  <a:pt x="187866" y="810661"/>
                </a:lnTo>
                <a:lnTo>
                  <a:pt x="198083" y="810661"/>
                </a:lnTo>
                <a:lnTo>
                  <a:pt x="236810" y="810661"/>
                </a:lnTo>
                <a:lnTo>
                  <a:pt x="249640" y="811136"/>
                </a:lnTo>
                <a:lnTo>
                  <a:pt x="263183" y="811611"/>
                </a:lnTo>
                <a:lnTo>
                  <a:pt x="270310" y="811611"/>
                </a:lnTo>
                <a:lnTo>
                  <a:pt x="276963" y="811136"/>
                </a:lnTo>
                <a:lnTo>
                  <a:pt x="283140" y="810186"/>
                </a:lnTo>
                <a:lnTo>
                  <a:pt x="289793" y="808523"/>
                </a:lnTo>
                <a:lnTo>
                  <a:pt x="295495" y="806147"/>
                </a:lnTo>
                <a:lnTo>
                  <a:pt x="301435" y="803058"/>
                </a:lnTo>
                <a:lnTo>
                  <a:pt x="304524" y="801395"/>
                </a:lnTo>
                <a:lnTo>
                  <a:pt x="307137" y="799256"/>
                </a:lnTo>
                <a:lnTo>
                  <a:pt x="309275" y="796881"/>
                </a:lnTo>
                <a:lnTo>
                  <a:pt x="312126" y="794267"/>
                </a:lnTo>
                <a:lnTo>
                  <a:pt x="314265" y="791178"/>
                </a:lnTo>
                <a:lnTo>
                  <a:pt x="316403" y="788090"/>
                </a:lnTo>
                <a:lnTo>
                  <a:pt x="318304" y="784051"/>
                </a:lnTo>
                <a:lnTo>
                  <a:pt x="319967" y="780012"/>
                </a:lnTo>
                <a:lnTo>
                  <a:pt x="321868" y="775973"/>
                </a:lnTo>
                <a:lnTo>
                  <a:pt x="323056" y="771221"/>
                </a:lnTo>
                <a:lnTo>
                  <a:pt x="324481" y="765756"/>
                </a:lnTo>
                <a:lnTo>
                  <a:pt x="325907" y="760529"/>
                </a:lnTo>
                <a:lnTo>
                  <a:pt x="325907" y="827530"/>
                </a:lnTo>
                <a:lnTo>
                  <a:pt x="310226" y="835608"/>
                </a:lnTo>
                <a:lnTo>
                  <a:pt x="295970" y="843686"/>
                </a:lnTo>
                <a:lnTo>
                  <a:pt x="282665" y="850339"/>
                </a:lnTo>
                <a:lnTo>
                  <a:pt x="276488" y="852952"/>
                </a:lnTo>
                <a:lnTo>
                  <a:pt x="270310" y="855565"/>
                </a:lnTo>
                <a:lnTo>
                  <a:pt x="266271" y="857942"/>
                </a:lnTo>
                <a:lnTo>
                  <a:pt x="262708" y="860080"/>
                </a:lnTo>
                <a:lnTo>
                  <a:pt x="259619" y="862693"/>
                </a:lnTo>
                <a:lnTo>
                  <a:pt x="256768" y="865544"/>
                </a:lnTo>
                <a:lnTo>
                  <a:pt x="254154" y="868633"/>
                </a:lnTo>
                <a:lnTo>
                  <a:pt x="252491" y="871722"/>
                </a:lnTo>
                <a:lnTo>
                  <a:pt x="250590" y="874810"/>
                </a:lnTo>
                <a:lnTo>
                  <a:pt x="249402" y="877899"/>
                </a:lnTo>
                <a:lnTo>
                  <a:pt x="248452" y="880988"/>
                </a:lnTo>
                <a:lnTo>
                  <a:pt x="247977" y="884076"/>
                </a:lnTo>
                <a:lnTo>
                  <a:pt x="247977" y="887165"/>
                </a:lnTo>
                <a:lnTo>
                  <a:pt x="248452" y="890016"/>
                </a:lnTo>
                <a:lnTo>
                  <a:pt x="249402" y="893105"/>
                </a:lnTo>
                <a:lnTo>
                  <a:pt x="250075" y="895572"/>
                </a:lnTo>
                <a:lnTo>
                  <a:pt x="474750" y="895572"/>
                </a:lnTo>
                <a:lnTo>
                  <a:pt x="475827" y="894768"/>
                </a:lnTo>
                <a:lnTo>
                  <a:pt x="486993" y="882889"/>
                </a:lnTo>
                <a:lnTo>
                  <a:pt x="497210" y="870296"/>
                </a:lnTo>
                <a:lnTo>
                  <a:pt x="506951" y="857942"/>
                </a:lnTo>
                <a:lnTo>
                  <a:pt x="515742" y="844636"/>
                </a:lnTo>
                <a:lnTo>
                  <a:pt x="523820" y="831094"/>
                </a:lnTo>
                <a:lnTo>
                  <a:pt x="531898" y="816838"/>
                </a:lnTo>
                <a:lnTo>
                  <a:pt x="539026" y="802583"/>
                </a:lnTo>
                <a:lnTo>
                  <a:pt x="545678" y="788565"/>
                </a:lnTo>
                <a:lnTo>
                  <a:pt x="552331" y="773359"/>
                </a:lnTo>
                <a:lnTo>
                  <a:pt x="558033" y="758628"/>
                </a:lnTo>
                <a:lnTo>
                  <a:pt x="563498" y="743185"/>
                </a:lnTo>
                <a:lnTo>
                  <a:pt x="568725" y="727979"/>
                </a:lnTo>
                <a:lnTo>
                  <a:pt x="573714" y="712298"/>
                </a:lnTo>
                <a:lnTo>
                  <a:pt x="577991" y="696855"/>
                </a:lnTo>
                <a:lnTo>
                  <a:pt x="586544" y="665255"/>
                </a:lnTo>
                <a:lnTo>
                  <a:pt x="586069" y="663117"/>
                </a:lnTo>
                <a:lnTo>
                  <a:pt x="584881" y="660266"/>
                </a:lnTo>
                <a:lnTo>
                  <a:pt x="582980" y="657177"/>
                </a:lnTo>
                <a:lnTo>
                  <a:pt x="580367" y="654088"/>
                </a:lnTo>
                <a:lnTo>
                  <a:pt x="574902" y="647911"/>
                </a:lnTo>
                <a:lnTo>
                  <a:pt x="570150" y="642922"/>
                </a:lnTo>
                <a:lnTo>
                  <a:pt x="565636" y="636744"/>
                </a:lnTo>
                <a:lnTo>
                  <a:pt x="560647" y="631517"/>
                </a:lnTo>
                <a:lnTo>
                  <a:pt x="555420" y="626053"/>
                </a:lnTo>
                <a:lnTo>
                  <a:pt x="550193" y="621301"/>
                </a:lnTo>
                <a:lnTo>
                  <a:pt x="544253" y="616787"/>
                </a:lnTo>
                <a:lnTo>
                  <a:pt x="538075" y="612272"/>
                </a:lnTo>
                <a:lnTo>
                  <a:pt x="525721" y="603719"/>
                </a:lnTo>
                <a:lnTo>
                  <a:pt x="563023" y="619875"/>
                </a:lnTo>
                <a:lnTo>
                  <a:pt x="581317" y="628191"/>
                </a:lnTo>
                <a:lnTo>
                  <a:pt x="599374" y="636744"/>
                </a:lnTo>
                <a:lnTo>
                  <a:pt x="607927" y="641259"/>
                </a:lnTo>
                <a:lnTo>
                  <a:pt x="616718" y="646010"/>
                </a:lnTo>
                <a:lnTo>
                  <a:pt x="625271" y="651000"/>
                </a:lnTo>
                <a:lnTo>
                  <a:pt x="633349" y="656227"/>
                </a:lnTo>
                <a:lnTo>
                  <a:pt x="641665" y="662167"/>
                </a:lnTo>
                <a:lnTo>
                  <a:pt x="649268" y="668344"/>
                </a:lnTo>
                <a:lnTo>
                  <a:pt x="656871" y="674996"/>
                </a:lnTo>
                <a:lnTo>
                  <a:pt x="664474" y="682124"/>
                </a:lnTo>
                <a:lnTo>
                  <a:pt x="668988" y="686163"/>
                </a:lnTo>
                <a:lnTo>
                  <a:pt x="672790" y="690202"/>
                </a:lnTo>
                <a:lnTo>
                  <a:pt x="677304" y="693291"/>
                </a:lnTo>
                <a:lnTo>
                  <a:pt x="682293" y="696855"/>
                </a:lnTo>
                <a:lnTo>
                  <a:pt x="686570" y="699468"/>
                </a:lnTo>
                <a:lnTo>
                  <a:pt x="691559" y="702082"/>
                </a:lnTo>
                <a:lnTo>
                  <a:pt x="696549" y="703983"/>
                </a:lnTo>
                <a:lnTo>
                  <a:pt x="701300" y="705646"/>
                </a:lnTo>
                <a:lnTo>
                  <a:pt x="706290" y="707071"/>
                </a:lnTo>
                <a:lnTo>
                  <a:pt x="711042" y="708497"/>
                </a:lnTo>
                <a:lnTo>
                  <a:pt x="716506" y="708734"/>
                </a:lnTo>
                <a:lnTo>
                  <a:pt x="721258" y="708734"/>
                </a:lnTo>
                <a:lnTo>
                  <a:pt x="726723" y="708497"/>
                </a:lnTo>
                <a:lnTo>
                  <a:pt x="731712" y="707546"/>
                </a:lnTo>
                <a:lnTo>
                  <a:pt x="736939" y="706121"/>
                </a:lnTo>
                <a:lnTo>
                  <a:pt x="742166" y="704458"/>
                </a:lnTo>
                <a:lnTo>
                  <a:pt x="749294" y="702082"/>
                </a:lnTo>
                <a:lnTo>
                  <a:pt x="756184" y="699468"/>
                </a:lnTo>
                <a:lnTo>
                  <a:pt x="762361" y="696380"/>
                </a:lnTo>
                <a:lnTo>
                  <a:pt x="768063" y="692816"/>
                </a:lnTo>
                <a:lnTo>
                  <a:pt x="773528" y="689252"/>
                </a:lnTo>
                <a:lnTo>
                  <a:pt x="778755" y="684738"/>
                </a:lnTo>
                <a:lnTo>
                  <a:pt x="783269" y="680461"/>
                </a:lnTo>
                <a:lnTo>
                  <a:pt x="787308" y="674996"/>
                </a:lnTo>
                <a:lnTo>
                  <a:pt x="791110" y="669769"/>
                </a:lnTo>
                <a:lnTo>
                  <a:pt x="794436" y="663830"/>
                </a:lnTo>
                <a:lnTo>
                  <a:pt x="797050" y="657652"/>
                </a:lnTo>
                <a:lnTo>
                  <a:pt x="799188" y="651000"/>
                </a:lnTo>
                <a:lnTo>
                  <a:pt x="801089" y="643872"/>
                </a:lnTo>
                <a:lnTo>
                  <a:pt x="802277" y="636744"/>
                </a:lnTo>
                <a:lnTo>
                  <a:pt x="803227" y="628666"/>
                </a:lnTo>
                <a:lnTo>
                  <a:pt x="803227" y="620826"/>
                </a:lnTo>
                <a:lnTo>
                  <a:pt x="801089" y="622489"/>
                </a:lnTo>
                <a:lnTo>
                  <a:pt x="798238" y="623914"/>
                </a:lnTo>
                <a:lnTo>
                  <a:pt x="793011" y="626053"/>
                </a:lnTo>
                <a:lnTo>
                  <a:pt x="790397" y="627478"/>
                </a:lnTo>
                <a:lnTo>
                  <a:pt x="788496" y="628191"/>
                </a:lnTo>
                <a:lnTo>
                  <a:pt x="787308" y="630092"/>
                </a:lnTo>
                <a:lnTo>
                  <a:pt x="786833" y="631755"/>
                </a:lnTo>
                <a:lnTo>
                  <a:pt x="785408" y="635794"/>
                </a:lnTo>
                <a:lnTo>
                  <a:pt x="784220" y="639833"/>
                </a:lnTo>
                <a:lnTo>
                  <a:pt x="780656" y="646485"/>
                </a:lnTo>
                <a:lnTo>
                  <a:pt x="776617" y="653138"/>
                </a:lnTo>
                <a:lnTo>
                  <a:pt x="772103" y="659078"/>
                </a:lnTo>
                <a:lnTo>
                  <a:pt x="762361" y="670007"/>
                </a:lnTo>
                <a:lnTo>
                  <a:pt x="757847" y="675947"/>
                </a:lnTo>
                <a:lnTo>
                  <a:pt x="753333" y="682124"/>
                </a:lnTo>
                <a:lnTo>
                  <a:pt x="750244" y="684738"/>
                </a:lnTo>
                <a:lnTo>
                  <a:pt x="747155" y="687589"/>
                </a:lnTo>
                <a:lnTo>
                  <a:pt x="744067" y="689252"/>
                </a:lnTo>
                <a:lnTo>
                  <a:pt x="740978" y="690915"/>
                </a:lnTo>
                <a:lnTo>
                  <a:pt x="737890" y="691865"/>
                </a:lnTo>
                <a:lnTo>
                  <a:pt x="734801" y="692816"/>
                </a:lnTo>
                <a:lnTo>
                  <a:pt x="731950" y="693291"/>
                </a:lnTo>
                <a:lnTo>
                  <a:pt x="728861" y="693291"/>
                </a:lnTo>
                <a:lnTo>
                  <a:pt x="723634" y="692816"/>
                </a:lnTo>
                <a:lnTo>
                  <a:pt x="718169" y="691390"/>
                </a:lnTo>
                <a:lnTo>
                  <a:pt x="713418" y="689727"/>
                </a:lnTo>
                <a:lnTo>
                  <a:pt x="708903" y="687826"/>
                </a:lnTo>
                <a:lnTo>
                  <a:pt x="706765" y="687589"/>
                </a:lnTo>
                <a:lnTo>
                  <a:pt x="704864" y="687114"/>
                </a:lnTo>
                <a:lnTo>
                  <a:pt x="703201" y="686163"/>
                </a:lnTo>
                <a:lnTo>
                  <a:pt x="701776" y="684738"/>
                </a:lnTo>
                <a:lnTo>
                  <a:pt x="698687" y="681649"/>
                </a:lnTo>
                <a:lnTo>
                  <a:pt x="696549" y="678085"/>
                </a:lnTo>
                <a:lnTo>
                  <a:pt x="694648" y="673571"/>
                </a:lnTo>
                <a:lnTo>
                  <a:pt x="693460" y="668819"/>
                </a:lnTo>
                <a:lnTo>
                  <a:pt x="692510" y="664305"/>
                </a:lnTo>
                <a:lnTo>
                  <a:pt x="692510" y="659790"/>
                </a:lnTo>
                <a:lnTo>
                  <a:pt x="692510" y="647436"/>
                </a:lnTo>
                <a:lnTo>
                  <a:pt x="693460" y="635319"/>
                </a:lnTo>
                <a:lnTo>
                  <a:pt x="694173" y="624389"/>
                </a:lnTo>
                <a:lnTo>
                  <a:pt x="695598" y="612748"/>
                </a:lnTo>
                <a:lnTo>
                  <a:pt x="699162" y="591364"/>
                </a:lnTo>
                <a:lnTo>
                  <a:pt x="703676" y="570456"/>
                </a:lnTo>
                <a:lnTo>
                  <a:pt x="720070" y="574971"/>
                </a:lnTo>
                <a:lnTo>
                  <a:pt x="736939" y="579247"/>
                </a:lnTo>
                <a:lnTo>
                  <a:pt x="770677" y="589226"/>
                </a:lnTo>
                <a:lnTo>
                  <a:pt x="788021" y="593503"/>
                </a:lnTo>
                <a:lnTo>
                  <a:pt x="805365" y="597542"/>
                </a:lnTo>
                <a:lnTo>
                  <a:pt x="823660" y="601106"/>
                </a:lnTo>
                <a:lnTo>
                  <a:pt x="841954" y="603719"/>
                </a:lnTo>
                <a:lnTo>
                  <a:pt x="861437" y="606570"/>
                </a:lnTo>
                <a:lnTo>
                  <a:pt x="880682" y="608233"/>
                </a:lnTo>
                <a:lnTo>
                  <a:pt x="889948" y="608708"/>
                </a:lnTo>
                <a:lnTo>
                  <a:pt x="898976" y="608708"/>
                </a:lnTo>
                <a:lnTo>
                  <a:pt x="908242" y="608708"/>
                </a:lnTo>
                <a:lnTo>
                  <a:pt x="916795" y="608233"/>
                </a:lnTo>
                <a:lnTo>
                  <a:pt x="925586" y="607283"/>
                </a:lnTo>
                <a:lnTo>
                  <a:pt x="934140" y="606095"/>
                </a:lnTo>
                <a:lnTo>
                  <a:pt x="942455" y="604669"/>
                </a:lnTo>
                <a:lnTo>
                  <a:pt x="950533" y="603006"/>
                </a:lnTo>
                <a:lnTo>
                  <a:pt x="958611" y="600630"/>
                </a:lnTo>
                <a:lnTo>
                  <a:pt x="966452" y="598017"/>
                </a:lnTo>
                <a:lnTo>
                  <a:pt x="974055" y="595403"/>
                </a:lnTo>
                <a:lnTo>
                  <a:pt x="981658" y="591840"/>
                </a:lnTo>
                <a:lnTo>
                  <a:pt x="989261" y="588276"/>
                </a:lnTo>
                <a:lnTo>
                  <a:pt x="996388" y="584237"/>
                </a:lnTo>
                <a:lnTo>
                  <a:pt x="1003041" y="579247"/>
                </a:lnTo>
                <a:lnTo>
                  <a:pt x="1009694" y="574495"/>
                </a:lnTo>
                <a:lnTo>
                  <a:pt x="1016346" y="569031"/>
                </a:lnTo>
                <a:lnTo>
                  <a:pt x="1022998" y="562853"/>
                </a:lnTo>
                <a:lnTo>
                  <a:pt x="1029176" y="556676"/>
                </a:lnTo>
                <a:lnTo>
                  <a:pt x="1035116" y="549548"/>
                </a:lnTo>
                <a:lnTo>
                  <a:pt x="1040818" y="541945"/>
                </a:lnTo>
                <a:lnTo>
                  <a:pt x="1046520" y="534342"/>
                </a:lnTo>
                <a:lnTo>
                  <a:pt x="1051985" y="526027"/>
                </a:lnTo>
                <a:lnTo>
                  <a:pt x="1056737" y="516523"/>
                </a:lnTo>
                <a:lnTo>
                  <a:pt x="1061726" y="507257"/>
                </a:lnTo>
                <a:lnTo>
                  <a:pt x="1066715" y="497041"/>
                </a:lnTo>
                <a:lnTo>
                  <a:pt x="1070992" y="486349"/>
                </a:lnTo>
                <a:lnTo>
                  <a:pt x="1075506" y="475182"/>
                </a:lnTo>
                <a:lnTo>
                  <a:pt x="1079070" y="462828"/>
                </a:lnTo>
                <a:lnTo>
                  <a:pt x="1082634" y="449998"/>
                </a:lnTo>
                <a:lnTo>
                  <a:pt x="1084772" y="437405"/>
                </a:lnTo>
                <a:lnTo>
                  <a:pt x="1087148" y="425050"/>
                </a:lnTo>
                <a:lnTo>
                  <a:pt x="1088811" y="411983"/>
                </a:lnTo>
                <a:lnTo>
                  <a:pt x="1089762" y="399628"/>
                </a:lnTo>
                <a:lnTo>
                  <a:pt x="1090712" y="386798"/>
                </a:lnTo>
                <a:lnTo>
                  <a:pt x="1090712" y="373731"/>
                </a:lnTo>
                <a:lnTo>
                  <a:pt x="1090712" y="360901"/>
                </a:lnTo>
                <a:lnTo>
                  <a:pt x="1089762" y="348071"/>
                </a:lnTo>
                <a:lnTo>
                  <a:pt x="1088811" y="335004"/>
                </a:lnTo>
                <a:lnTo>
                  <a:pt x="1088099" y="321698"/>
                </a:lnTo>
                <a:lnTo>
                  <a:pt x="1084772" y="295563"/>
                </a:lnTo>
                <a:lnTo>
                  <a:pt x="1080971" y="268478"/>
                </a:lnTo>
                <a:lnTo>
                  <a:pt x="1078595" y="258262"/>
                </a:lnTo>
                <a:lnTo>
                  <a:pt x="1075981" y="248283"/>
                </a:lnTo>
                <a:lnTo>
                  <a:pt x="1072417" y="238542"/>
                </a:lnTo>
                <a:lnTo>
                  <a:pt x="1069329" y="229275"/>
                </a:lnTo>
                <a:lnTo>
                  <a:pt x="1061251" y="210031"/>
                </a:lnTo>
                <a:lnTo>
                  <a:pt x="1053173" y="190073"/>
                </a:lnTo>
                <a:lnTo>
                  <a:pt x="1051034" y="186034"/>
                </a:lnTo>
                <a:lnTo>
                  <a:pt x="1048896" y="182470"/>
                </a:lnTo>
                <a:lnTo>
                  <a:pt x="1046045" y="179381"/>
                </a:lnTo>
                <a:lnTo>
                  <a:pt x="1043906" y="176768"/>
                </a:lnTo>
                <a:lnTo>
                  <a:pt x="1041293" y="174630"/>
                </a:lnTo>
                <a:lnTo>
                  <a:pt x="1038680" y="172729"/>
                </a:lnTo>
                <a:lnTo>
                  <a:pt x="1035828" y="171303"/>
                </a:lnTo>
                <a:lnTo>
                  <a:pt x="1032740" y="170591"/>
                </a:lnTo>
                <a:lnTo>
                  <a:pt x="1030126" y="170591"/>
                </a:lnTo>
                <a:lnTo>
                  <a:pt x="1027038" y="170591"/>
                </a:lnTo>
                <a:lnTo>
                  <a:pt x="1024424" y="171303"/>
                </a:lnTo>
                <a:lnTo>
                  <a:pt x="1021335" y="172729"/>
                </a:lnTo>
                <a:lnTo>
                  <a:pt x="1018247" y="174867"/>
                </a:lnTo>
                <a:lnTo>
                  <a:pt x="1014920" y="177718"/>
                </a:lnTo>
                <a:lnTo>
                  <a:pt x="1011832" y="180807"/>
                </a:lnTo>
                <a:lnTo>
                  <a:pt x="1008743" y="184846"/>
                </a:lnTo>
                <a:lnTo>
                  <a:pt x="991874" y="201240"/>
                </a:lnTo>
                <a:lnTo>
                  <a:pt x="983321" y="209318"/>
                </a:lnTo>
                <a:lnTo>
                  <a:pt x="974530" y="216683"/>
                </a:lnTo>
                <a:lnTo>
                  <a:pt x="965739" y="223811"/>
                </a:lnTo>
                <a:lnTo>
                  <a:pt x="956236" y="230226"/>
                </a:lnTo>
                <a:lnTo>
                  <a:pt x="946494" y="235928"/>
                </a:lnTo>
                <a:lnTo>
                  <a:pt x="941505" y="238066"/>
                </a:lnTo>
                <a:lnTo>
                  <a:pt x="936753" y="240442"/>
                </a:lnTo>
                <a:lnTo>
                  <a:pt x="932239" y="242581"/>
                </a:lnTo>
                <a:lnTo>
                  <a:pt x="928675" y="245669"/>
                </a:lnTo>
                <a:lnTo>
                  <a:pt x="925111" y="249233"/>
                </a:lnTo>
                <a:lnTo>
                  <a:pt x="922022" y="252797"/>
                </a:lnTo>
                <a:lnTo>
                  <a:pt x="919884" y="257311"/>
                </a:lnTo>
                <a:lnTo>
                  <a:pt x="918934" y="259925"/>
                </a:lnTo>
                <a:lnTo>
                  <a:pt x="918459" y="262538"/>
                </a:lnTo>
                <a:lnTo>
                  <a:pt x="918459" y="265389"/>
                </a:lnTo>
                <a:lnTo>
                  <a:pt x="918459" y="268003"/>
                </a:lnTo>
                <a:lnTo>
                  <a:pt x="918934" y="271091"/>
                </a:lnTo>
                <a:lnTo>
                  <a:pt x="919884" y="274180"/>
                </a:lnTo>
                <a:lnTo>
                  <a:pt x="921547" y="282258"/>
                </a:lnTo>
                <a:lnTo>
                  <a:pt x="922973" y="290574"/>
                </a:lnTo>
                <a:lnTo>
                  <a:pt x="923923" y="299127"/>
                </a:lnTo>
                <a:lnTo>
                  <a:pt x="924161" y="307443"/>
                </a:lnTo>
                <a:lnTo>
                  <a:pt x="924161" y="315996"/>
                </a:lnTo>
                <a:lnTo>
                  <a:pt x="923923" y="324550"/>
                </a:lnTo>
                <a:lnTo>
                  <a:pt x="922973" y="332865"/>
                </a:lnTo>
                <a:lnTo>
                  <a:pt x="922022" y="340943"/>
                </a:lnTo>
                <a:lnTo>
                  <a:pt x="920597" y="349259"/>
                </a:lnTo>
                <a:lnTo>
                  <a:pt x="918934" y="357812"/>
                </a:lnTo>
                <a:lnTo>
                  <a:pt x="914420" y="374681"/>
                </a:lnTo>
                <a:lnTo>
                  <a:pt x="909192" y="391075"/>
                </a:lnTo>
                <a:lnTo>
                  <a:pt x="903253" y="408182"/>
                </a:lnTo>
                <a:lnTo>
                  <a:pt x="903253" y="397965"/>
                </a:lnTo>
                <a:lnTo>
                  <a:pt x="904203" y="387274"/>
                </a:lnTo>
                <a:lnTo>
                  <a:pt x="906104" y="367078"/>
                </a:lnTo>
                <a:lnTo>
                  <a:pt x="907767" y="347596"/>
                </a:lnTo>
                <a:lnTo>
                  <a:pt x="908717" y="338567"/>
                </a:lnTo>
                <a:lnTo>
                  <a:pt x="908717" y="329777"/>
                </a:lnTo>
                <a:lnTo>
                  <a:pt x="908717" y="325738"/>
                </a:lnTo>
                <a:lnTo>
                  <a:pt x="907767" y="322649"/>
                </a:lnTo>
                <a:lnTo>
                  <a:pt x="906817" y="319560"/>
                </a:lnTo>
                <a:lnTo>
                  <a:pt x="905154" y="316471"/>
                </a:lnTo>
                <a:lnTo>
                  <a:pt x="903728" y="314096"/>
                </a:lnTo>
                <a:lnTo>
                  <a:pt x="901590" y="311957"/>
                </a:lnTo>
                <a:lnTo>
                  <a:pt x="897551" y="307443"/>
                </a:lnTo>
                <a:lnTo>
                  <a:pt x="895412" y="309344"/>
                </a:lnTo>
                <a:lnTo>
                  <a:pt x="892561" y="310769"/>
                </a:lnTo>
                <a:lnTo>
                  <a:pt x="887334" y="313383"/>
                </a:lnTo>
                <a:lnTo>
                  <a:pt x="884721" y="314096"/>
                </a:lnTo>
                <a:lnTo>
                  <a:pt x="882820" y="315521"/>
                </a:lnTo>
                <a:lnTo>
                  <a:pt x="881632" y="316947"/>
                </a:lnTo>
                <a:lnTo>
                  <a:pt x="881157" y="318610"/>
                </a:lnTo>
                <a:lnTo>
                  <a:pt x="872604" y="331915"/>
                </a:lnTo>
                <a:lnTo>
                  <a:pt x="864288" y="346646"/>
                </a:lnTo>
                <a:lnTo>
                  <a:pt x="856210" y="361376"/>
                </a:lnTo>
                <a:lnTo>
                  <a:pt x="847656" y="374681"/>
                </a:lnTo>
                <a:lnTo>
                  <a:pt x="841954" y="374681"/>
                </a:lnTo>
                <a:lnTo>
                  <a:pt x="846468" y="357812"/>
                </a:lnTo>
                <a:lnTo>
                  <a:pt x="850508" y="339518"/>
                </a:lnTo>
                <a:lnTo>
                  <a:pt x="854784" y="319560"/>
                </a:lnTo>
                <a:lnTo>
                  <a:pt x="858823" y="296514"/>
                </a:lnTo>
                <a:lnTo>
                  <a:pt x="848132" y="303879"/>
                </a:lnTo>
                <a:lnTo>
                  <a:pt x="840054" y="310294"/>
                </a:lnTo>
                <a:lnTo>
                  <a:pt x="833163" y="316947"/>
                </a:lnTo>
                <a:lnTo>
                  <a:pt x="825560" y="324550"/>
                </a:lnTo>
                <a:lnTo>
                  <a:pt x="823185" y="326688"/>
                </a:lnTo>
                <a:lnTo>
                  <a:pt x="821522" y="329301"/>
                </a:lnTo>
                <a:lnTo>
                  <a:pt x="817007" y="335954"/>
                </a:lnTo>
                <a:lnTo>
                  <a:pt x="812968" y="344032"/>
                </a:lnTo>
                <a:lnTo>
                  <a:pt x="808929" y="352585"/>
                </a:lnTo>
                <a:lnTo>
                  <a:pt x="809880" y="343557"/>
                </a:lnTo>
                <a:lnTo>
                  <a:pt x="811305" y="335479"/>
                </a:lnTo>
                <a:lnTo>
                  <a:pt x="812493" y="328826"/>
                </a:lnTo>
                <a:lnTo>
                  <a:pt x="814394" y="323124"/>
                </a:lnTo>
                <a:lnTo>
                  <a:pt x="816532" y="317659"/>
                </a:lnTo>
                <a:lnTo>
                  <a:pt x="819146" y="313383"/>
                </a:lnTo>
                <a:lnTo>
                  <a:pt x="822709" y="309344"/>
                </a:lnTo>
                <a:lnTo>
                  <a:pt x="826748" y="306255"/>
                </a:lnTo>
                <a:lnTo>
                  <a:pt x="832213" y="303166"/>
                </a:lnTo>
                <a:lnTo>
                  <a:pt x="838390" y="300315"/>
                </a:lnTo>
                <a:lnTo>
                  <a:pt x="845518" y="298177"/>
                </a:lnTo>
                <a:lnTo>
                  <a:pt x="854071" y="295563"/>
                </a:lnTo>
                <a:lnTo>
                  <a:pt x="875217" y="290574"/>
                </a:lnTo>
                <a:lnTo>
                  <a:pt x="903253" y="285347"/>
                </a:lnTo>
                <a:lnTo>
                  <a:pt x="886384" y="268478"/>
                </a:lnTo>
                <a:lnTo>
                  <a:pt x="879731" y="270141"/>
                </a:lnTo>
                <a:lnTo>
                  <a:pt x="873079" y="271091"/>
                </a:lnTo>
                <a:lnTo>
                  <a:pt x="867376" y="271567"/>
                </a:lnTo>
                <a:lnTo>
                  <a:pt x="862387" y="271091"/>
                </a:lnTo>
                <a:lnTo>
                  <a:pt x="857398" y="269666"/>
                </a:lnTo>
                <a:lnTo>
                  <a:pt x="853596" y="268003"/>
                </a:lnTo>
                <a:lnTo>
                  <a:pt x="849557" y="265627"/>
                </a:lnTo>
                <a:lnTo>
                  <a:pt x="846468" y="262538"/>
                </a:lnTo>
                <a:lnTo>
                  <a:pt x="843380" y="259450"/>
                </a:lnTo>
                <a:lnTo>
                  <a:pt x="840529" y="255411"/>
                </a:lnTo>
                <a:lnTo>
                  <a:pt x="838390" y="251134"/>
                </a:lnTo>
                <a:lnTo>
                  <a:pt x="836490" y="246620"/>
                </a:lnTo>
                <a:lnTo>
                  <a:pt x="834827" y="241155"/>
                </a:lnTo>
                <a:lnTo>
                  <a:pt x="833401" y="235453"/>
                </a:lnTo>
                <a:lnTo>
                  <a:pt x="831263" y="223336"/>
                </a:lnTo>
                <a:lnTo>
                  <a:pt x="897551" y="206942"/>
                </a:lnTo>
                <a:lnTo>
                  <a:pt x="888997" y="194112"/>
                </a:lnTo>
                <a:lnTo>
                  <a:pt x="880682" y="181282"/>
                </a:lnTo>
                <a:lnTo>
                  <a:pt x="871416" y="168690"/>
                </a:lnTo>
                <a:lnTo>
                  <a:pt x="866901" y="162988"/>
                </a:lnTo>
                <a:lnTo>
                  <a:pt x="861437" y="157048"/>
                </a:lnTo>
                <a:lnTo>
                  <a:pt x="856210" y="151821"/>
                </a:lnTo>
                <a:lnTo>
                  <a:pt x="850745" y="146831"/>
                </a:lnTo>
                <a:lnTo>
                  <a:pt x="844568" y="142555"/>
                </a:lnTo>
                <a:lnTo>
                  <a:pt x="838390" y="138516"/>
                </a:lnTo>
                <a:lnTo>
                  <a:pt x="831738" y="134952"/>
                </a:lnTo>
                <a:lnTo>
                  <a:pt x="824610" y="132338"/>
                </a:lnTo>
                <a:lnTo>
                  <a:pt x="817007" y="129963"/>
                </a:lnTo>
                <a:lnTo>
                  <a:pt x="808929" y="128774"/>
                </a:lnTo>
                <a:lnTo>
                  <a:pt x="806791" y="128299"/>
                </a:lnTo>
                <a:lnTo>
                  <a:pt x="804652" y="127824"/>
                </a:lnTo>
                <a:lnTo>
                  <a:pt x="802752" y="126399"/>
                </a:lnTo>
                <a:lnTo>
                  <a:pt x="801089" y="125211"/>
                </a:lnTo>
                <a:lnTo>
                  <a:pt x="799663" y="123310"/>
                </a:lnTo>
                <a:lnTo>
                  <a:pt x="798713" y="121647"/>
                </a:lnTo>
                <a:lnTo>
                  <a:pt x="798000" y="119271"/>
                </a:lnTo>
                <a:lnTo>
                  <a:pt x="798000" y="117608"/>
                </a:lnTo>
                <a:lnTo>
                  <a:pt x="785408" y="106916"/>
                </a:lnTo>
                <a:lnTo>
                  <a:pt x="772578" y="95749"/>
                </a:lnTo>
                <a:lnTo>
                  <a:pt x="747155" y="72703"/>
                </a:lnTo>
                <a:lnTo>
                  <a:pt x="733850" y="61061"/>
                </a:lnTo>
                <a:lnTo>
                  <a:pt x="720545" y="49894"/>
                </a:lnTo>
                <a:lnTo>
                  <a:pt x="706765" y="38728"/>
                </a:lnTo>
                <a:lnTo>
                  <a:pt x="692510" y="28036"/>
                </a:lnTo>
                <a:lnTo>
                  <a:pt x="679442" y="21859"/>
                </a:lnTo>
                <a:lnTo>
                  <a:pt x="666137" y="16632"/>
                </a:lnTo>
                <a:lnTo>
                  <a:pt x="652832" y="11642"/>
                </a:lnTo>
                <a:lnTo>
                  <a:pt x="639527" y="7603"/>
                </a:lnTo>
                <a:lnTo>
                  <a:pt x="626222" y="4514"/>
                </a:lnTo>
                <a:lnTo>
                  <a:pt x="612917" y="1901"/>
                </a:lnTo>
                <a:lnTo>
                  <a:pt x="599374" y="475"/>
                </a:lnTo>
                <a:close/>
              </a:path>
            </a:pathLst>
          </a:custGeom>
          <a:solidFill>
            <a:schemeClr val="bg1">
              <a:alpha val="25000"/>
            </a:schemeClr>
          </a:solidFill>
          <a:ln>
            <a:noFill/>
          </a:ln>
        </p:spPr>
        <p:txBody>
          <a:bodyPr vert="horz" wrap="square" lIns="89642" tIns="44821" rIns="89642" bIns="44821" numCol="1" anchor="t" anchorCtr="0" compatLnSpc="1">
            <a:prstTxWarp prst="textNoShape">
              <a:avLst/>
            </a:prstTxWarp>
            <a:noAutofit/>
          </a:bodyPr>
          <a:lstStyle/>
          <a:p>
            <a:pPr defTabSz="914367"/>
            <a:endParaRPr lang="en-IN" sz="1765" dirty="0">
              <a:solidFill>
                <a:srgbClr val="000000"/>
              </a:solidFill>
            </a:endParaRPr>
          </a:p>
        </p:txBody>
      </p:sp>
      <p:sp>
        <p:nvSpPr>
          <p:cNvPr id="7" name="Rectangle 6"/>
          <p:cNvSpPr/>
          <p:nvPr/>
        </p:nvSpPr>
        <p:spPr>
          <a:xfrm>
            <a:off x="8929" y="1213304"/>
            <a:ext cx="5220355" cy="1558760"/>
          </a:xfrm>
          <a:prstGeom prst="rect">
            <a:avLst/>
          </a:prstGeom>
        </p:spPr>
        <p:txBody>
          <a:bodyPr wrap="square" lIns="268927">
            <a:spAutoFit/>
          </a:bodyPr>
          <a:lstStyle/>
          <a:p>
            <a:pPr defTabSz="914102" fontAlgn="base">
              <a:lnSpc>
                <a:spcPct val="90000"/>
              </a:lnSpc>
              <a:spcBef>
                <a:spcPct val="0"/>
              </a:spcBef>
              <a:spcAft>
                <a:spcPct val="0"/>
              </a:spcAft>
            </a:pPr>
            <a:r>
              <a:rPr lang="en-US" sz="5294" dirty="0" smtClean="0">
                <a:solidFill>
                  <a:srgbClr val="FFFFFF"/>
                </a:solidFill>
                <a:latin typeface="Segoe UI Light"/>
                <a:ea typeface="Segoe UI" pitchFamily="34" charset="0"/>
                <a:cs typeface="Segoe UI" pitchFamily="34" charset="0"/>
              </a:rPr>
              <a:t>Apache Spark Overview</a:t>
            </a:r>
            <a:endParaRPr lang="en-US" sz="5294" dirty="0">
              <a:solidFill>
                <a:srgbClr val="FFFFFF"/>
              </a:solidFill>
              <a:latin typeface="Segoe UI Light"/>
              <a:ea typeface="Segoe UI" pitchFamily="34" charset="0"/>
              <a:cs typeface="Segoe UI" pitchFamily="34" charset="0"/>
            </a:endParaRPr>
          </a:p>
        </p:txBody>
      </p:sp>
      <p:sp>
        <p:nvSpPr>
          <p:cNvPr id="2" name="Slide Number Placeholder 1"/>
          <p:cNvSpPr>
            <a:spLocks noGrp="1"/>
          </p:cNvSpPr>
          <p:nvPr>
            <p:ph type="sldNum" sz="quarter" idx="11"/>
          </p:nvPr>
        </p:nvSpPr>
        <p:spPr/>
        <p:txBody>
          <a:bodyPr/>
          <a:lstStyle/>
          <a:p>
            <a:pPr>
              <a:defRPr/>
            </a:pPr>
            <a:fld id="{F8A0AC42-AA1D-4944-8D96-660DE70C7E1B}" type="slidenum">
              <a:rPr lang="en-IN"/>
              <a:pPr>
                <a:defRPr/>
              </a:pPr>
              <a:t>3</a:t>
            </a:fld>
            <a:endParaRPr lang="en-IN" dirty="0"/>
          </a:p>
        </p:txBody>
      </p:sp>
      <p:sp>
        <p:nvSpPr>
          <p:cNvPr id="8" name="TextBox 7"/>
          <p:cNvSpPr txBox="1"/>
          <p:nvPr/>
        </p:nvSpPr>
        <p:spPr>
          <a:xfrm>
            <a:off x="5238212" y="1642114"/>
            <a:ext cx="6553002" cy="3820963"/>
          </a:xfrm>
          <a:prstGeom prst="rect">
            <a:avLst/>
          </a:prstGeom>
          <a:noFill/>
        </p:spPr>
        <p:txBody>
          <a:bodyPr wrap="square" lIns="268927" tIns="143428" rIns="179285" bIns="143428" rtlCol="0">
            <a:noAutofit/>
          </a:bodyPr>
          <a:lstStyle/>
          <a:p>
            <a:pPr marL="52912" lvl="1" defTabSz="913770" fontAlgn="base">
              <a:spcBef>
                <a:spcPts val="1176"/>
              </a:spcBef>
              <a:buClr>
                <a:srgbClr val="68217A">
                  <a:lumMod val="50000"/>
                </a:srgbClr>
              </a:buClr>
            </a:pPr>
            <a:r>
              <a:rPr lang="en-US" sz="3137" dirty="0" smtClean="0">
                <a:ln>
                  <a:solidFill>
                    <a:srgbClr val="FFFFFF">
                      <a:alpha val="0"/>
                    </a:srgbClr>
                  </a:solidFill>
                </a:ln>
                <a:solidFill>
                  <a:srgbClr val="68217A"/>
                </a:solidFill>
                <a:latin typeface="Segoe UI Light"/>
                <a:ea typeface="Segoe UI" pitchFamily="34" charset="0"/>
                <a:cs typeface="Segoe UI" pitchFamily="34" charset="0"/>
              </a:rPr>
              <a:t>Agenda</a:t>
            </a:r>
            <a:endParaRPr lang="en-US" sz="3137" dirty="0">
              <a:ln>
                <a:solidFill>
                  <a:srgbClr val="FFFFFF">
                    <a:alpha val="0"/>
                  </a:srgbClr>
                </a:solidFill>
              </a:ln>
              <a:solidFill>
                <a:srgbClr val="68217A"/>
              </a:solidFill>
              <a:latin typeface="Segoe UI Light"/>
              <a:ea typeface="Segoe UI" pitchFamily="34" charset="0"/>
              <a:cs typeface="Segoe UI" pitchFamily="34" charset="0"/>
            </a:endParaRPr>
          </a:p>
          <a:p>
            <a:pPr marL="558686" lvl="1" indent="-448193" defTabSz="913770" fontAlgn="base">
              <a:buClr>
                <a:srgbClr val="68217A">
                  <a:lumMod val="50000"/>
                </a:srgbClr>
              </a:buClr>
              <a:buBlip>
                <a:blip r:embed="rId2"/>
              </a:buBlip>
            </a:pPr>
            <a:r>
              <a:rPr lang="en-US" sz="2353" dirty="0" smtClean="0">
                <a:ln>
                  <a:solidFill>
                    <a:srgbClr val="FFFFFF">
                      <a:alpha val="0"/>
                    </a:srgbClr>
                  </a:solidFill>
                </a:ln>
                <a:gradFill>
                  <a:gsLst>
                    <a:gs pos="85321">
                      <a:srgbClr val="505050"/>
                    </a:gs>
                    <a:gs pos="57000">
                      <a:srgbClr val="505050"/>
                    </a:gs>
                  </a:gsLst>
                </a:gradFill>
                <a:ea typeface="Segoe UI" pitchFamily="34" charset="0"/>
                <a:cs typeface="Segoe UI" pitchFamily="34" charset="0"/>
              </a:rPr>
              <a:t>Overview</a:t>
            </a:r>
          </a:p>
          <a:p>
            <a:pPr marL="558686" lvl="1" indent="-448193" defTabSz="913770" fontAlgn="base">
              <a:buClr>
                <a:srgbClr val="68217A">
                  <a:lumMod val="50000"/>
                </a:srgbClr>
              </a:buClr>
              <a:buBlip>
                <a:blip r:embed="rId2"/>
              </a:buBlip>
            </a:pPr>
            <a:r>
              <a:rPr lang="en-US" sz="2353" dirty="0" smtClean="0">
                <a:ln>
                  <a:solidFill>
                    <a:srgbClr val="FFFFFF">
                      <a:alpha val="0"/>
                    </a:srgbClr>
                  </a:solidFill>
                </a:ln>
                <a:gradFill>
                  <a:gsLst>
                    <a:gs pos="85321">
                      <a:srgbClr val="505050"/>
                    </a:gs>
                    <a:gs pos="57000">
                      <a:srgbClr val="505050"/>
                    </a:gs>
                  </a:gsLst>
                </a:gradFill>
                <a:ea typeface="Segoe UI" pitchFamily="34" charset="0"/>
                <a:cs typeface="Segoe UI" pitchFamily="34" charset="0"/>
              </a:rPr>
              <a:t>Benefits</a:t>
            </a:r>
          </a:p>
          <a:p>
            <a:pPr marL="558686" lvl="1" indent="-448193" defTabSz="913770" fontAlgn="base">
              <a:buClr>
                <a:srgbClr val="68217A">
                  <a:lumMod val="50000"/>
                </a:srgbClr>
              </a:buClr>
              <a:buBlip>
                <a:blip r:embed="rId2"/>
              </a:buBlip>
            </a:pPr>
            <a:r>
              <a:rPr lang="en-US" sz="2353" dirty="0" smtClean="0">
                <a:ln>
                  <a:solidFill>
                    <a:srgbClr val="FFFFFF">
                      <a:alpha val="0"/>
                    </a:srgbClr>
                  </a:solidFill>
                </a:ln>
                <a:gradFill>
                  <a:gsLst>
                    <a:gs pos="85321">
                      <a:srgbClr val="505050"/>
                    </a:gs>
                    <a:gs pos="57000">
                      <a:srgbClr val="505050"/>
                    </a:gs>
                  </a:gsLst>
                </a:gradFill>
                <a:ea typeface="Segoe UI" pitchFamily="34" charset="0"/>
                <a:cs typeface="Segoe UI" pitchFamily="34" charset="0"/>
              </a:rPr>
              <a:t>Unified Platform</a:t>
            </a:r>
          </a:p>
          <a:p>
            <a:pPr marL="558686" lvl="1" indent="-448193" defTabSz="913770" fontAlgn="base">
              <a:buClr>
                <a:srgbClr val="68217A">
                  <a:lumMod val="50000"/>
                </a:srgbClr>
              </a:buClr>
              <a:buBlip>
                <a:blip r:embed="rId2"/>
              </a:buBlip>
            </a:pPr>
            <a:r>
              <a:rPr lang="en-US" sz="2353" dirty="0" smtClean="0">
                <a:ln>
                  <a:solidFill>
                    <a:srgbClr val="FFFFFF">
                      <a:alpha val="0"/>
                    </a:srgbClr>
                  </a:solidFill>
                </a:ln>
                <a:gradFill>
                  <a:gsLst>
                    <a:gs pos="85321">
                      <a:srgbClr val="505050"/>
                    </a:gs>
                    <a:gs pos="57000">
                      <a:srgbClr val="505050"/>
                    </a:gs>
                  </a:gsLst>
                </a:gradFill>
                <a:ea typeface="Segoe UI" pitchFamily="34" charset="0"/>
                <a:cs typeface="Segoe UI" pitchFamily="34" charset="0"/>
              </a:rPr>
              <a:t>Use Cases</a:t>
            </a:r>
          </a:p>
          <a:p>
            <a:pPr marL="558686" lvl="1" indent="-448193" defTabSz="913770" fontAlgn="base">
              <a:buClr>
                <a:srgbClr val="68217A">
                  <a:lumMod val="50000"/>
                </a:srgbClr>
              </a:buClr>
              <a:buBlip>
                <a:blip r:embed="rId2"/>
              </a:buBlip>
            </a:pPr>
            <a:r>
              <a:rPr lang="en-US" sz="2353" dirty="0" smtClean="0">
                <a:ln>
                  <a:solidFill>
                    <a:srgbClr val="FFFFFF">
                      <a:alpha val="0"/>
                    </a:srgbClr>
                  </a:solidFill>
                </a:ln>
                <a:gradFill>
                  <a:gsLst>
                    <a:gs pos="85321">
                      <a:srgbClr val="505050"/>
                    </a:gs>
                    <a:gs pos="57000">
                      <a:srgbClr val="505050"/>
                    </a:gs>
                  </a:gsLst>
                </a:gradFill>
                <a:ea typeface="Segoe UI" pitchFamily="34" charset="0"/>
                <a:cs typeface="Segoe UI" pitchFamily="34" charset="0"/>
              </a:rPr>
              <a:t>Spark and Hadoop</a:t>
            </a:r>
          </a:p>
          <a:p>
            <a:pPr marL="558686" lvl="1" indent="-448193" defTabSz="913770" fontAlgn="base">
              <a:buClr>
                <a:srgbClr val="68217A">
                  <a:lumMod val="50000"/>
                </a:srgbClr>
              </a:buClr>
              <a:buBlip>
                <a:blip r:embed="rId2"/>
              </a:buBlip>
            </a:pPr>
            <a:r>
              <a:rPr lang="en-US" sz="2353" dirty="0" smtClean="0">
                <a:ln>
                  <a:solidFill>
                    <a:srgbClr val="FFFFFF">
                      <a:alpha val="0"/>
                    </a:srgbClr>
                  </a:solidFill>
                </a:ln>
                <a:gradFill>
                  <a:gsLst>
                    <a:gs pos="85321">
                      <a:srgbClr val="505050"/>
                    </a:gs>
                    <a:gs pos="57000">
                      <a:srgbClr val="505050"/>
                    </a:gs>
                  </a:gsLst>
                </a:gradFill>
                <a:ea typeface="Segoe UI" pitchFamily="34" charset="0"/>
                <a:cs typeface="Segoe UI" pitchFamily="34" charset="0"/>
              </a:rPr>
              <a:t>Performance</a:t>
            </a:r>
          </a:p>
        </p:txBody>
      </p:sp>
    </p:spTree>
    <p:extLst>
      <p:ext uri="{BB962C8B-B14F-4D97-AF65-F5344CB8AC3E}">
        <p14:creationId xmlns:p14="http://schemas.microsoft.com/office/powerpoint/2010/main" val="2214480240"/>
      </p:ext>
    </p:extLst>
  </p:cSld>
  <p:clrMapOvr>
    <a:masterClrMapping/>
  </p:clrMapOvr>
  <p:transition spd="med">
    <p:fade/>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tream Processing</a:t>
            </a:r>
            <a:endParaRPr lang="en-US" dirty="0"/>
          </a:p>
        </p:txBody>
      </p:sp>
      <p:sp>
        <p:nvSpPr>
          <p:cNvPr id="3" name="Slide Number Placeholder 2"/>
          <p:cNvSpPr>
            <a:spLocks noGrp="1"/>
          </p:cNvSpPr>
          <p:nvPr>
            <p:ph type="sldNum" sz="quarter" idx="11"/>
          </p:nvPr>
        </p:nvSpPr>
        <p:spPr/>
        <p:txBody>
          <a:bodyPr/>
          <a:lstStyle/>
          <a:p>
            <a:pPr>
              <a:defRPr/>
            </a:pPr>
            <a:fld id="{F8A0AC42-AA1D-4944-8D96-660DE70C7E1B}" type="slidenum">
              <a:rPr lang="en-US" smtClean="0"/>
              <a:pPr>
                <a:defRPr/>
              </a:pPr>
              <a:t>30</a:t>
            </a:fld>
            <a:endParaRPr lang="en-US" dirty="0"/>
          </a:p>
        </p:txBody>
      </p:sp>
      <p:sp>
        <p:nvSpPr>
          <p:cNvPr id="4" name="TextBox 3"/>
          <p:cNvSpPr txBox="1"/>
          <p:nvPr/>
        </p:nvSpPr>
        <p:spPr>
          <a:xfrm>
            <a:off x="268927" y="1214321"/>
            <a:ext cx="11227663" cy="5001369"/>
          </a:xfrm>
          <a:prstGeom prst="rect">
            <a:avLst/>
          </a:prstGeom>
        </p:spPr>
        <p:txBody>
          <a:bodyPr wrap="square">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2"/>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lvl="1"/>
            <a:r>
              <a:rPr lang="en-US" sz="2000" dirty="0" smtClean="0"/>
              <a:t>Some data lose much of their value if not analyzed within milliseconds (or seconds) of being generated.</a:t>
            </a:r>
          </a:p>
          <a:p>
            <a:pPr lvl="1"/>
            <a:r>
              <a:rPr lang="en-US" sz="2000" dirty="0" smtClean="0"/>
              <a:t>Examples: Stock tickers, twitter streams, device events, network signals </a:t>
            </a:r>
          </a:p>
          <a:p>
            <a:pPr lvl="1"/>
            <a:r>
              <a:rPr lang="en-US" sz="1800" dirty="0" smtClean="0"/>
              <a:t>Stream processing is about analyzing events in-flight (as it they are streaming by) rather than storing in a database first.</a:t>
            </a:r>
          </a:p>
          <a:p>
            <a:pPr lvl="1"/>
            <a:r>
              <a:rPr lang="en-US" sz="2000" dirty="0" smtClean="0"/>
              <a:t>Use cases fro Stream Processing:</a:t>
            </a:r>
          </a:p>
          <a:p>
            <a:pPr marL="1200150" lvl="2" indent="-285750">
              <a:buFont typeface="Arial" panose="020B0604020202020204" pitchFamily="34" charset="0"/>
              <a:buChar char="•"/>
            </a:pPr>
            <a:r>
              <a:rPr lang="en-US" dirty="0">
                <a:ln>
                  <a:solidFill>
                    <a:srgbClr val="FFFFFF">
                      <a:alpha val="0"/>
                    </a:srgbClr>
                  </a:solidFill>
                </a:ln>
                <a:gradFill>
                  <a:gsLst>
                    <a:gs pos="85321">
                      <a:srgbClr val="505050"/>
                    </a:gs>
                    <a:gs pos="57000">
                      <a:srgbClr val="505050"/>
                    </a:gs>
                  </a:gsLst>
                </a:gradFill>
                <a:ea typeface="Segoe UI" pitchFamily="34" charset="0"/>
                <a:cs typeface="Segoe UI" pitchFamily="34" charset="0"/>
              </a:rPr>
              <a:t>Network monitoring</a:t>
            </a:r>
          </a:p>
          <a:p>
            <a:pPr marL="1200150" lvl="2" indent="-285750">
              <a:buFont typeface="Arial" panose="020B0604020202020204" pitchFamily="34" charset="0"/>
              <a:buChar char="•"/>
            </a:pPr>
            <a:r>
              <a:rPr lang="en-US" dirty="0">
                <a:ln>
                  <a:solidFill>
                    <a:srgbClr val="FFFFFF">
                      <a:alpha val="0"/>
                    </a:srgbClr>
                  </a:solidFill>
                </a:ln>
                <a:gradFill>
                  <a:gsLst>
                    <a:gs pos="85321">
                      <a:srgbClr val="505050"/>
                    </a:gs>
                    <a:gs pos="57000">
                      <a:srgbClr val="505050"/>
                    </a:gs>
                  </a:gsLst>
                </a:gradFill>
                <a:ea typeface="Segoe UI" pitchFamily="34" charset="0"/>
                <a:cs typeface="Segoe UI" pitchFamily="34" charset="0"/>
              </a:rPr>
              <a:t>Intelligence and surveillance</a:t>
            </a:r>
          </a:p>
          <a:p>
            <a:pPr marL="1200150" lvl="2" indent="-285750">
              <a:buFont typeface="Arial" panose="020B0604020202020204" pitchFamily="34" charset="0"/>
              <a:buChar char="•"/>
            </a:pPr>
            <a:r>
              <a:rPr lang="en-US" dirty="0">
                <a:ln>
                  <a:solidFill>
                    <a:srgbClr val="FFFFFF">
                      <a:alpha val="0"/>
                    </a:srgbClr>
                  </a:solidFill>
                </a:ln>
                <a:gradFill>
                  <a:gsLst>
                    <a:gs pos="85321">
                      <a:srgbClr val="505050"/>
                    </a:gs>
                    <a:gs pos="57000">
                      <a:srgbClr val="505050"/>
                    </a:gs>
                  </a:gsLst>
                </a:gradFill>
                <a:ea typeface="Segoe UI" pitchFamily="34" charset="0"/>
                <a:cs typeface="Segoe UI" pitchFamily="34" charset="0"/>
              </a:rPr>
              <a:t>Fraud detection, Risk management</a:t>
            </a:r>
          </a:p>
          <a:p>
            <a:pPr marL="1200150" lvl="2" indent="-285750">
              <a:buFont typeface="Arial" panose="020B0604020202020204" pitchFamily="34" charset="0"/>
              <a:buChar char="•"/>
            </a:pPr>
            <a:r>
              <a:rPr lang="en-US" dirty="0">
                <a:ln>
                  <a:solidFill>
                    <a:srgbClr val="FFFFFF">
                      <a:alpha val="0"/>
                    </a:srgbClr>
                  </a:solidFill>
                </a:ln>
                <a:gradFill>
                  <a:gsLst>
                    <a:gs pos="85321">
                      <a:srgbClr val="505050"/>
                    </a:gs>
                    <a:gs pos="57000">
                      <a:srgbClr val="505050"/>
                    </a:gs>
                  </a:gsLst>
                </a:gradFill>
                <a:ea typeface="Segoe UI" pitchFamily="34" charset="0"/>
                <a:cs typeface="Segoe UI" pitchFamily="34" charset="0"/>
              </a:rPr>
              <a:t>E-commerce</a:t>
            </a:r>
          </a:p>
          <a:p>
            <a:pPr marL="1200150" lvl="2" indent="-285750">
              <a:buFont typeface="Arial" panose="020B0604020202020204" pitchFamily="34" charset="0"/>
              <a:buChar char="•"/>
            </a:pPr>
            <a:r>
              <a:rPr lang="en-US" dirty="0">
                <a:ln>
                  <a:solidFill>
                    <a:srgbClr val="FFFFFF">
                      <a:alpha val="0"/>
                    </a:srgbClr>
                  </a:solidFill>
                </a:ln>
                <a:gradFill>
                  <a:gsLst>
                    <a:gs pos="85321">
                      <a:srgbClr val="505050"/>
                    </a:gs>
                    <a:gs pos="57000">
                      <a:srgbClr val="505050"/>
                    </a:gs>
                  </a:gsLst>
                </a:gradFill>
                <a:ea typeface="Segoe UI" pitchFamily="34" charset="0"/>
                <a:cs typeface="Segoe UI" pitchFamily="34" charset="0"/>
              </a:rPr>
              <a:t>Smart order routing</a:t>
            </a:r>
          </a:p>
          <a:p>
            <a:pPr marL="1200150" lvl="2" indent="-285750">
              <a:buFont typeface="Arial" panose="020B0604020202020204" pitchFamily="34" charset="0"/>
              <a:buChar char="•"/>
            </a:pPr>
            <a:r>
              <a:rPr lang="en-US" dirty="0">
                <a:ln>
                  <a:solidFill>
                    <a:srgbClr val="FFFFFF">
                      <a:alpha val="0"/>
                    </a:srgbClr>
                  </a:solidFill>
                </a:ln>
                <a:gradFill>
                  <a:gsLst>
                    <a:gs pos="85321">
                      <a:srgbClr val="505050"/>
                    </a:gs>
                    <a:gs pos="57000">
                      <a:srgbClr val="505050"/>
                    </a:gs>
                  </a:gsLst>
                </a:gradFill>
                <a:ea typeface="Segoe UI" pitchFamily="34" charset="0"/>
                <a:cs typeface="Segoe UI" pitchFamily="34" charset="0"/>
              </a:rPr>
              <a:t>Transaction cost analysis</a:t>
            </a:r>
          </a:p>
          <a:p>
            <a:pPr marL="1200150" lvl="2" indent="-285750">
              <a:buFont typeface="Arial" panose="020B0604020202020204" pitchFamily="34" charset="0"/>
              <a:buChar char="•"/>
            </a:pPr>
            <a:r>
              <a:rPr lang="en-US" dirty="0">
                <a:ln>
                  <a:solidFill>
                    <a:srgbClr val="FFFFFF">
                      <a:alpha val="0"/>
                    </a:srgbClr>
                  </a:solidFill>
                </a:ln>
                <a:gradFill>
                  <a:gsLst>
                    <a:gs pos="85321">
                      <a:srgbClr val="505050"/>
                    </a:gs>
                    <a:gs pos="57000">
                      <a:srgbClr val="505050"/>
                    </a:gs>
                  </a:gsLst>
                </a:gradFill>
                <a:ea typeface="Segoe UI" pitchFamily="34" charset="0"/>
                <a:cs typeface="Segoe UI" pitchFamily="34" charset="0"/>
              </a:rPr>
              <a:t>Pricing and analytics</a:t>
            </a:r>
          </a:p>
          <a:p>
            <a:pPr marL="1200150" lvl="2" indent="-285750">
              <a:buFont typeface="Arial" panose="020B0604020202020204" pitchFamily="34" charset="0"/>
              <a:buChar char="•"/>
            </a:pPr>
            <a:r>
              <a:rPr lang="en-US" dirty="0">
                <a:ln>
                  <a:solidFill>
                    <a:srgbClr val="FFFFFF">
                      <a:alpha val="0"/>
                    </a:srgbClr>
                  </a:solidFill>
                </a:ln>
                <a:gradFill>
                  <a:gsLst>
                    <a:gs pos="85321">
                      <a:srgbClr val="505050"/>
                    </a:gs>
                    <a:gs pos="57000">
                      <a:srgbClr val="505050"/>
                    </a:gs>
                  </a:gsLst>
                </a:gradFill>
                <a:ea typeface="Segoe UI" pitchFamily="34" charset="0"/>
                <a:cs typeface="Segoe UI" pitchFamily="34" charset="0"/>
              </a:rPr>
              <a:t>Algorithmic trading</a:t>
            </a:r>
          </a:p>
          <a:p>
            <a:pPr marL="1200150" lvl="2" indent="-285750">
              <a:buFont typeface="Arial" panose="020B0604020202020204" pitchFamily="34" charset="0"/>
              <a:buChar char="•"/>
            </a:pPr>
            <a:r>
              <a:rPr lang="en-US" dirty="0">
                <a:ln>
                  <a:solidFill>
                    <a:srgbClr val="FFFFFF">
                      <a:alpha val="0"/>
                    </a:srgbClr>
                  </a:solidFill>
                </a:ln>
                <a:gradFill>
                  <a:gsLst>
                    <a:gs pos="85321">
                      <a:srgbClr val="505050"/>
                    </a:gs>
                    <a:gs pos="57000">
                      <a:srgbClr val="505050"/>
                    </a:gs>
                  </a:gsLst>
                </a:gradFill>
                <a:ea typeface="Segoe UI" pitchFamily="34" charset="0"/>
                <a:cs typeface="Segoe UI" pitchFamily="34" charset="0"/>
              </a:rPr>
              <a:t>Data warehouse augmentation</a:t>
            </a:r>
          </a:p>
          <a:p>
            <a:pPr marL="110493" lvl="1" indent="0">
              <a:buNone/>
            </a:pPr>
            <a:endParaRPr lang="en-US" sz="1000" i="1" dirty="0" smtClean="0"/>
          </a:p>
        </p:txBody>
      </p:sp>
      <p:grpSp>
        <p:nvGrpSpPr>
          <p:cNvPr id="54" name="Group 53"/>
          <p:cNvGrpSpPr/>
          <p:nvPr/>
        </p:nvGrpSpPr>
        <p:grpSpPr>
          <a:xfrm>
            <a:off x="5537572" y="3633997"/>
            <a:ext cx="5630564" cy="1795146"/>
            <a:chOff x="5976959" y="3715005"/>
            <a:chExt cx="5630564" cy="1795146"/>
          </a:xfrm>
        </p:grpSpPr>
        <p:pic>
          <p:nvPicPr>
            <p:cNvPr id="31" name="Picture 30"/>
            <p:cNvPicPr>
              <a:picLocks noChangeAspect="1"/>
            </p:cNvPicPr>
            <p:nvPr/>
          </p:nvPicPr>
          <p:blipFill rotWithShape="1">
            <a:blip r:embed="rId3" cstate="print">
              <a:extLst>
                <a:ext uri="{28A0092B-C50C-407E-A947-70E740481C1C}">
                  <a14:useLocalDpi xmlns:a14="http://schemas.microsoft.com/office/drawing/2010/main" val="0"/>
                </a:ext>
              </a:extLst>
            </a:blip>
            <a:srcRect t="5933" r="10927" b="9443"/>
            <a:stretch/>
          </p:blipFill>
          <p:spPr>
            <a:xfrm>
              <a:off x="5976959" y="4599524"/>
              <a:ext cx="1405664" cy="886649"/>
            </a:xfrm>
            <a:prstGeom prst="rect">
              <a:avLst/>
            </a:prstGeom>
          </p:spPr>
        </p:pic>
        <p:pic>
          <p:nvPicPr>
            <p:cNvPr id="35" name="Picture 34"/>
            <p:cNvPicPr>
              <a:picLocks noChangeAspect="1"/>
            </p:cNvPicPr>
            <p:nvPr/>
          </p:nvPicPr>
          <p:blipFill rotWithShape="1">
            <a:blip r:embed="rId4" cstate="print">
              <a:extLst>
                <a:ext uri="{28A0092B-C50C-407E-A947-70E740481C1C}">
                  <a14:useLocalDpi xmlns:a14="http://schemas.microsoft.com/office/drawing/2010/main" val="0"/>
                </a:ext>
              </a:extLst>
            </a:blip>
            <a:srcRect t="1269" b="1269"/>
            <a:stretch/>
          </p:blipFill>
          <p:spPr>
            <a:xfrm>
              <a:off x="8799551" y="4606995"/>
              <a:ext cx="1416013" cy="893178"/>
            </a:xfrm>
            <a:prstGeom prst="rect">
              <a:avLst/>
            </a:prstGeom>
          </p:spPr>
        </p:pic>
        <p:pic>
          <p:nvPicPr>
            <p:cNvPr id="43" name="Picture 42"/>
            <p:cNvPicPr>
              <a:picLocks noChangeAspect="1"/>
            </p:cNvPicPr>
            <p:nvPr/>
          </p:nvPicPr>
          <p:blipFill rotWithShape="1">
            <a:blip r:embed="rId5" cstate="print">
              <a:extLst>
                <a:ext uri="{28A0092B-C50C-407E-A947-70E740481C1C}">
                  <a14:useLocalDpi xmlns:a14="http://schemas.microsoft.com/office/drawing/2010/main" val="0"/>
                </a:ext>
              </a:extLst>
            </a:blip>
            <a:srcRect l="14116" t="22004" r="6757" b="6265"/>
            <a:stretch/>
          </p:blipFill>
          <p:spPr>
            <a:xfrm>
              <a:off x="8799551" y="3725634"/>
              <a:ext cx="1388676" cy="889620"/>
            </a:xfrm>
            <a:prstGeom prst="rect">
              <a:avLst/>
            </a:prstGeom>
          </p:spPr>
        </p:pic>
        <p:pic>
          <p:nvPicPr>
            <p:cNvPr id="44" name="Picture 43"/>
            <p:cNvPicPr>
              <a:picLocks noChangeAspect="1"/>
            </p:cNvPicPr>
            <p:nvPr/>
          </p:nvPicPr>
          <p:blipFill rotWithShape="1">
            <a:blip r:embed="rId6" cstate="print">
              <a:extLst>
                <a:ext uri="{28A0092B-C50C-407E-A947-70E740481C1C}">
                  <a14:useLocalDpi xmlns:a14="http://schemas.microsoft.com/office/drawing/2010/main" val="0"/>
                </a:ext>
              </a:extLst>
            </a:blip>
            <a:srcRect l="9497" t="16373" r="11311" b="9102"/>
            <a:stretch/>
          </p:blipFill>
          <p:spPr>
            <a:xfrm>
              <a:off x="7382624" y="4606995"/>
              <a:ext cx="1408632" cy="902406"/>
            </a:xfrm>
            <a:prstGeom prst="rect">
              <a:avLst/>
            </a:prstGeom>
          </p:spPr>
        </p:pic>
        <p:pic>
          <p:nvPicPr>
            <p:cNvPr id="45" name="Picture 44"/>
            <p:cNvPicPr>
              <a:picLocks noChangeAspect="1"/>
            </p:cNvPicPr>
            <p:nvPr/>
          </p:nvPicPr>
          <p:blipFill rotWithShape="1">
            <a:blip r:embed="rId7" cstate="print">
              <a:extLst>
                <a:ext uri="{28A0092B-C50C-407E-A947-70E740481C1C}">
                  <a14:useLocalDpi xmlns:a14="http://schemas.microsoft.com/office/drawing/2010/main" val="0"/>
                </a:ext>
              </a:extLst>
            </a:blip>
            <a:srcRect t="8134" b="1047"/>
            <a:stretch/>
          </p:blipFill>
          <p:spPr>
            <a:xfrm>
              <a:off x="5977356" y="3715005"/>
              <a:ext cx="1405267" cy="900249"/>
            </a:xfrm>
            <a:prstGeom prst="rect">
              <a:avLst/>
            </a:prstGeom>
          </p:spPr>
        </p:pic>
        <p:pic>
          <p:nvPicPr>
            <p:cNvPr id="47" name="Picture 46"/>
            <p:cNvPicPr>
              <a:picLocks noChangeAspect="1"/>
            </p:cNvPicPr>
            <p:nvPr/>
          </p:nvPicPr>
          <p:blipFill rotWithShape="1">
            <a:blip r:embed="rId8" cstate="print">
              <a:extLst>
                <a:ext uri="{28A0092B-C50C-407E-A947-70E740481C1C}">
                  <a14:useLocalDpi xmlns:a14="http://schemas.microsoft.com/office/drawing/2010/main" val="0"/>
                </a:ext>
              </a:extLst>
            </a:blip>
            <a:srcRect b="3780"/>
            <a:stretch/>
          </p:blipFill>
          <p:spPr>
            <a:xfrm>
              <a:off x="10188226" y="4606995"/>
              <a:ext cx="1409805" cy="903156"/>
            </a:xfrm>
            <a:prstGeom prst="rect">
              <a:avLst/>
            </a:prstGeom>
          </p:spPr>
        </p:pic>
        <p:pic>
          <p:nvPicPr>
            <p:cNvPr id="48" name="Picture 47"/>
            <p:cNvPicPr>
              <a:picLocks noChangeAspect="1"/>
            </p:cNvPicPr>
            <p:nvPr/>
          </p:nvPicPr>
          <p:blipFill rotWithShape="1">
            <a:blip r:embed="rId9" cstate="print">
              <a:extLst>
                <a:ext uri="{28A0092B-C50C-407E-A947-70E740481C1C}">
                  <a14:useLocalDpi xmlns:a14="http://schemas.microsoft.com/office/drawing/2010/main" val="0"/>
                </a:ext>
              </a:extLst>
            </a:blip>
            <a:srcRect t="32939" r="30709" b="444"/>
            <a:stretch/>
          </p:blipFill>
          <p:spPr>
            <a:xfrm>
              <a:off x="10215564" y="3723530"/>
              <a:ext cx="1391959" cy="891724"/>
            </a:xfrm>
            <a:prstGeom prst="rect">
              <a:avLst/>
            </a:prstGeom>
            <a:noFill/>
            <a:ln>
              <a:noFill/>
            </a:ln>
          </p:spPr>
        </p:pic>
        <p:pic>
          <p:nvPicPr>
            <p:cNvPr id="50" name="Picture 49"/>
            <p:cNvPicPr>
              <a:picLocks noChangeAspect="1"/>
            </p:cNvPicPr>
            <p:nvPr/>
          </p:nvPicPr>
          <p:blipFill rotWithShape="1">
            <a:blip r:embed="rId10" cstate="print">
              <a:extLst>
                <a:ext uri="{28A0092B-C50C-407E-A947-70E740481C1C}">
                  <a14:useLocalDpi xmlns:a14="http://schemas.microsoft.com/office/drawing/2010/main" val="0"/>
                </a:ext>
              </a:extLst>
            </a:blip>
            <a:srcRect t="7292" b="7292"/>
            <a:stretch/>
          </p:blipFill>
          <p:spPr>
            <a:xfrm>
              <a:off x="7382623" y="3718163"/>
              <a:ext cx="1400337" cy="897091"/>
            </a:xfrm>
            <a:prstGeom prst="rect">
              <a:avLst/>
            </a:prstGeom>
          </p:spPr>
        </p:pic>
      </p:grpSp>
    </p:spTree>
    <p:extLst>
      <p:ext uri="{BB962C8B-B14F-4D97-AF65-F5344CB8AC3E}">
        <p14:creationId xmlns:p14="http://schemas.microsoft.com/office/powerpoint/2010/main" val="382109190"/>
      </p:ext>
    </p:extLst>
  </p:cSld>
  <p:clrMapOvr>
    <a:masterClrMapping/>
  </p:clrMapOvr>
  <p:transition spd="med">
    <p:fade/>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at is Spark Streaming?</a:t>
            </a:r>
            <a:endParaRPr lang="en-US" dirty="0"/>
          </a:p>
        </p:txBody>
      </p:sp>
      <p:sp>
        <p:nvSpPr>
          <p:cNvPr id="3" name="Slide Number Placeholder 2"/>
          <p:cNvSpPr>
            <a:spLocks noGrp="1"/>
          </p:cNvSpPr>
          <p:nvPr>
            <p:ph type="sldNum" sz="quarter" idx="11"/>
          </p:nvPr>
        </p:nvSpPr>
        <p:spPr/>
        <p:txBody>
          <a:bodyPr/>
          <a:lstStyle/>
          <a:p>
            <a:pPr>
              <a:defRPr/>
            </a:pPr>
            <a:fld id="{F8A0AC42-AA1D-4944-8D96-660DE70C7E1B}" type="slidenum">
              <a:rPr lang="en-US" smtClean="0"/>
              <a:pPr>
                <a:defRPr/>
              </a:pPr>
              <a:t>31</a:t>
            </a:fld>
            <a:endParaRPr lang="en-US" dirty="0"/>
          </a:p>
        </p:txBody>
      </p:sp>
      <p:sp>
        <p:nvSpPr>
          <p:cNvPr id="4" name="TextBox 3"/>
          <p:cNvSpPr txBox="1"/>
          <p:nvPr/>
        </p:nvSpPr>
        <p:spPr>
          <a:xfrm>
            <a:off x="800839" y="1402338"/>
            <a:ext cx="10844124" cy="646331"/>
          </a:xfrm>
          <a:prstGeom prst="rect">
            <a:avLst/>
          </a:prstGeom>
          <a:solidFill>
            <a:schemeClr val="bg1"/>
          </a:solidFill>
          <a:ln>
            <a:solidFill>
              <a:schemeClr val="bg1">
                <a:lumMod val="85000"/>
              </a:schemeClr>
            </a:solidFill>
          </a:ln>
        </p:spPr>
        <p:txBody>
          <a:bodyPr wrap="square">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2"/>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93" lvl="1" indent="0" algn="ctr">
              <a:buNone/>
            </a:pPr>
            <a:r>
              <a:rPr lang="en-US" sz="2000" dirty="0"/>
              <a:t>Spark Streaming is an extension of the core Spark API that allows enables high-throughput, fault-tolerant stream processing of live data streams</a:t>
            </a:r>
            <a:endParaRPr lang="en-US" sz="2000" dirty="0" smtClean="0"/>
          </a:p>
        </p:txBody>
      </p:sp>
      <p:pic>
        <p:nvPicPr>
          <p:cNvPr id="13316" name="Picture 4" descr="http://spark.apache.org/docs/1.0.0/img/streaming-arch.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393223" y="2853115"/>
            <a:ext cx="6251740" cy="2336402"/>
          </a:xfrm>
          <a:prstGeom prst="rect">
            <a:avLst/>
          </a:prstGeom>
          <a:noFill/>
          <a:ln>
            <a:solidFill>
              <a:schemeClr val="bg1">
                <a:lumMod val="85000"/>
              </a:schemeClr>
            </a:solidFill>
          </a:ln>
          <a:extLst>
            <a:ext uri="{909E8E84-426E-40DD-AFC4-6F175D3DCCD1}">
              <a14:hiddenFill xmlns:a14="http://schemas.microsoft.com/office/drawing/2010/main">
                <a:solidFill>
                  <a:srgbClr val="FFFFFF"/>
                </a:solidFill>
              </a14:hiddenFill>
            </a:ext>
          </a:extLst>
        </p:spPr>
      </p:pic>
      <p:sp>
        <p:nvSpPr>
          <p:cNvPr id="7" name="TextBox 6"/>
          <p:cNvSpPr txBox="1"/>
          <p:nvPr/>
        </p:nvSpPr>
        <p:spPr>
          <a:xfrm>
            <a:off x="800839" y="2211442"/>
            <a:ext cx="4626184" cy="3794885"/>
          </a:xfrm>
          <a:prstGeom prst="rect">
            <a:avLst/>
          </a:prstGeom>
          <a:solidFill>
            <a:schemeClr val="bg1"/>
          </a:solidFill>
          <a:ln>
            <a:solidFill>
              <a:schemeClr val="bg1">
                <a:lumMod val="85000"/>
              </a:schemeClr>
            </a:solidFill>
          </a:ln>
        </p:spPr>
        <p:txBody>
          <a:bodyPr wrap="square">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2"/>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lvl="1">
              <a:spcBef>
                <a:spcPts val="600"/>
              </a:spcBef>
            </a:pPr>
            <a:r>
              <a:rPr lang="en-US" sz="1800" dirty="0"/>
              <a:t>Data can be ingested from many sources like Kafka, Flume, Twitter, ZeroMQ or plain old TCP sockets.</a:t>
            </a:r>
          </a:p>
          <a:p>
            <a:pPr lvl="1">
              <a:spcBef>
                <a:spcPts val="600"/>
              </a:spcBef>
            </a:pPr>
            <a:r>
              <a:rPr lang="en-US" sz="1800" dirty="0"/>
              <a:t>Events can be processed using complex algorithms expressed with high-level functions like map, reduce, join and window. </a:t>
            </a:r>
          </a:p>
          <a:p>
            <a:pPr lvl="1">
              <a:spcBef>
                <a:spcPts val="600"/>
              </a:spcBef>
            </a:pPr>
            <a:r>
              <a:rPr lang="en-US" sz="1800" dirty="0"/>
              <a:t>Processed data can be pushed out to filesystems, databases, and live dashboards. </a:t>
            </a:r>
          </a:p>
          <a:p>
            <a:pPr lvl="1">
              <a:spcBef>
                <a:spcPts val="600"/>
              </a:spcBef>
            </a:pPr>
            <a:r>
              <a:rPr lang="en-US" sz="1800" dirty="0"/>
              <a:t>C</a:t>
            </a:r>
            <a:r>
              <a:rPr lang="en-US" sz="1800" dirty="0" smtClean="0"/>
              <a:t>an </a:t>
            </a:r>
            <a:r>
              <a:rPr lang="en-US" sz="1800" dirty="0"/>
              <a:t>apply Spark’s in-built machine learning algorithms, and graph processing algorithms on data stream</a:t>
            </a:r>
          </a:p>
        </p:txBody>
      </p:sp>
    </p:spTree>
    <p:extLst>
      <p:ext uri="{BB962C8B-B14F-4D97-AF65-F5344CB8AC3E}">
        <p14:creationId xmlns:p14="http://schemas.microsoft.com/office/powerpoint/2010/main" val="1378483616"/>
      </p:ext>
    </p:extLst>
  </p:cSld>
  <p:clrMapOvr>
    <a:masterClrMapping/>
  </p:clrMapOvr>
  <p:transition spd="med">
    <p:fade/>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How it works – High level Overview</a:t>
            </a:r>
            <a:endParaRPr lang="en-US" dirty="0"/>
          </a:p>
        </p:txBody>
      </p:sp>
      <p:sp>
        <p:nvSpPr>
          <p:cNvPr id="3" name="Slide Number Placeholder 2"/>
          <p:cNvSpPr>
            <a:spLocks noGrp="1"/>
          </p:cNvSpPr>
          <p:nvPr>
            <p:ph type="sldNum" sz="quarter" idx="11"/>
          </p:nvPr>
        </p:nvSpPr>
        <p:spPr/>
        <p:txBody>
          <a:bodyPr/>
          <a:lstStyle/>
          <a:p>
            <a:pPr>
              <a:defRPr/>
            </a:pPr>
            <a:fld id="{F8A0AC42-AA1D-4944-8D96-660DE70C7E1B}" type="slidenum">
              <a:rPr lang="en-US" smtClean="0"/>
              <a:pPr>
                <a:defRPr/>
              </a:pPr>
              <a:t>32</a:t>
            </a:fld>
            <a:endParaRPr lang="en-US" dirty="0"/>
          </a:p>
        </p:txBody>
      </p:sp>
      <p:sp>
        <p:nvSpPr>
          <p:cNvPr id="4" name="TextBox 3"/>
          <p:cNvSpPr txBox="1"/>
          <p:nvPr/>
        </p:nvSpPr>
        <p:spPr>
          <a:xfrm>
            <a:off x="392502" y="1356418"/>
            <a:ext cx="11074486" cy="1354217"/>
          </a:xfrm>
          <a:prstGeom prst="rect">
            <a:avLst/>
          </a:prstGeom>
          <a:solidFill>
            <a:schemeClr val="bg1"/>
          </a:solidFill>
          <a:ln>
            <a:noFill/>
          </a:ln>
        </p:spPr>
        <p:txBody>
          <a:bodyPr wrap="square">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2"/>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lvl="1"/>
            <a:r>
              <a:rPr lang="en-US" sz="2000" dirty="0"/>
              <a:t>Spark Streaming receives live input data streams and divides them into (mini) batches called </a:t>
            </a:r>
            <a:r>
              <a:rPr lang="en-US" sz="2000" b="1" dirty="0" smtClean="0"/>
              <a:t>DStreams</a:t>
            </a:r>
            <a:r>
              <a:rPr lang="en-US" sz="2000" dirty="0" smtClean="0"/>
              <a:t> </a:t>
            </a:r>
            <a:r>
              <a:rPr lang="en-US" sz="2000" dirty="0"/>
              <a:t>(discretized streams). </a:t>
            </a:r>
          </a:p>
          <a:p>
            <a:pPr lvl="1"/>
            <a:r>
              <a:rPr lang="en-US" sz="2000" dirty="0" smtClean="0"/>
              <a:t>The </a:t>
            </a:r>
            <a:r>
              <a:rPr lang="en-US" sz="2000" dirty="0"/>
              <a:t>DStreams are then processed by the Spark engine to generate the final stream of results in </a:t>
            </a:r>
            <a:r>
              <a:rPr lang="en-US" sz="2000" dirty="0" smtClean="0"/>
              <a:t>batches.</a:t>
            </a:r>
          </a:p>
        </p:txBody>
      </p:sp>
      <p:pic>
        <p:nvPicPr>
          <p:cNvPr id="5" name="Picture 4"/>
          <p:cNvPicPr>
            <a:picLocks noChangeAspect="1"/>
          </p:cNvPicPr>
          <p:nvPr/>
        </p:nvPicPr>
        <p:blipFill>
          <a:blip r:embed="rId3"/>
          <a:stretch>
            <a:fillRect/>
          </a:stretch>
        </p:blipFill>
        <p:spPr>
          <a:xfrm>
            <a:off x="2393867" y="2962919"/>
            <a:ext cx="6858000" cy="1466850"/>
          </a:xfrm>
          <a:prstGeom prst="rect">
            <a:avLst/>
          </a:prstGeom>
          <a:ln>
            <a:solidFill>
              <a:schemeClr val="bg1">
                <a:lumMod val="85000"/>
              </a:schemeClr>
            </a:solidFill>
          </a:ln>
        </p:spPr>
      </p:pic>
      <p:sp>
        <p:nvSpPr>
          <p:cNvPr id="6" name="TextBox 5"/>
          <p:cNvSpPr txBox="1"/>
          <p:nvPr/>
        </p:nvSpPr>
        <p:spPr>
          <a:xfrm>
            <a:off x="392502" y="4981070"/>
            <a:ext cx="11074486" cy="1354217"/>
          </a:xfrm>
          <a:prstGeom prst="rect">
            <a:avLst/>
          </a:prstGeom>
          <a:solidFill>
            <a:schemeClr val="bg1"/>
          </a:solidFill>
          <a:ln>
            <a:noFill/>
          </a:ln>
        </p:spPr>
        <p:txBody>
          <a:bodyPr wrap="square">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2"/>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lvl="1"/>
            <a:r>
              <a:rPr lang="en-US" sz="2000" dirty="0" smtClean="0"/>
              <a:t>Developing a Spark Streaming application involves implementing callback function that are invoked for every DStream. </a:t>
            </a:r>
          </a:p>
          <a:p>
            <a:pPr lvl="1"/>
            <a:r>
              <a:rPr lang="en-US" sz="2000" dirty="0" smtClean="0"/>
              <a:t>The callback function can apply DStream-specific ‘transformations’ on the incoming DStreams.</a:t>
            </a:r>
            <a:endParaRPr lang="en-US" sz="2000" dirty="0"/>
          </a:p>
        </p:txBody>
      </p:sp>
    </p:spTree>
    <p:extLst>
      <p:ext uri="{BB962C8B-B14F-4D97-AF65-F5344CB8AC3E}">
        <p14:creationId xmlns:p14="http://schemas.microsoft.com/office/powerpoint/2010/main" val="3988930544"/>
      </p:ext>
    </p:extLst>
  </p:cSld>
  <p:clrMapOvr>
    <a:masterClrMapping/>
  </p:clrMapOvr>
  <p:transition spd="med">
    <p:fade/>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re Abstraction: DStream</a:t>
            </a:r>
            <a:endParaRPr lang="en-US" dirty="0"/>
          </a:p>
        </p:txBody>
      </p:sp>
      <p:sp>
        <p:nvSpPr>
          <p:cNvPr id="3" name="Slide Number Placeholder 2"/>
          <p:cNvSpPr>
            <a:spLocks noGrp="1"/>
          </p:cNvSpPr>
          <p:nvPr>
            <p:ph type="sldNum" sz="quarter" idx="11"/>
          </p:nvPr>
        </p:nvSpPr>
        <p:spPr/>
        <p:txBody>
          <a:bodyPr/>
          <a:lstStyle/>
          <a:p>
            <a:pPr>
              <a:defRPr/>
            </a:pPr>
            <a:fld id="{F8A0AC42-AA1D-4944-8D96-660DE70C7E1B}" type="slidenum">
              <a:rPr lang="en-US" smtClean="0"/>
              <a:pPr>
                <a:defRPr/>
              </a:pPr>
              <a:t>33</a:t>
            </a:fld>
            <a:endParaRPr lang="en-US" dirty="0"/>
          </a:p>
        </p:txBody>
      </p:sp>
      <p:sp>
        <p:nvSpPr>
          <p:cNvPr id="4" name="TextBox 3"/>
          <p:cNvSpPr txBox="1"/>
          <p:nvPr/>
        </p:nvSpPr>
        <p:spPr>
          <a:xfrm>
            <a:off x="292679" y="1331287"/>
            <a:ext cx="11074486" cy="1508105"/>
          </a:xfrm>
          <a:prstGeom prst="rect">
            <a:avLst/>
          </a:prstGeom>
          <a:solidFill>
            <a:schemeClr val="bg1"/>
          </a:solidFill>
          <a:ln>
            <a:noFill/>
          </a:ln>
        </p:spPr>
        <p:txBody>
          <a:bodyPr wrap="square">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lvl="1"/>
            <a:r>
              <a:rPr lang="en-US" sz="2000" dirty="0"/>
              <a:t>Discretized Stream or DStream is the basic abstraction provided by Spark Streaming. </a:t>
            </a:r>
          </a:p>
          <a:p>
            <a:pPr lvl="1"/>
            <a:r>
              <a:rPr lang="en-US" sz="2000" dirty="0" smtClean="0"/>
              <a:t>Immutable, partitioned, fault-tolerant</a:t>
            </a:r>
          </a:p>
          <a:p>
            <a:pPr lvl="1"/>
            <a:r>
              <a:rPr lang="en-US" sz="2000" dirty="0" smtClean="0"/>
              <a:t> Internally</a:t>
            </a:r>
            <a:r>
              <a:rPr lang="en-US" sz="2000" dirty="0"/>
              <a:t>, </a:t>
            </a:r>
            <a:r>
              <a:rPr lang="en-US" sz="2000" dirty="0" smtClean="0"/>
              <a:t>represented </a:t>
            </a:r>
            <a:r>
              <a:rPr lang="en-US" sz="2000" dirty="0"/>
              <a:t>by a continuous sequence of RDD. Each RDD in a DStream contains data from a certain interval</a:t>
            </a:r>
            <a:r>
              <a:rPr lang="en-US" sz="2000" dirty="0" smtClean="0"/>
              <a:t>. </a:t>
            </a:r>
          </a:p>
        </p:txBody>
      </p:sp>
      <p:grpSp>
        <p:nvGrpSpPr>
          <p:cNvPr id="14" name="Group 13"/>
          <p:cNvGrpSpPr/>
          <p:nvPr/>
        </p:nvGrpSpPr>
        <p:grpSpPr>
          <a:xfrm>
            <a:off x="1791039" y="3104448"/>
            <a:ext cx="8633361" cy="1452520"/>
            <a:chOff x="2268187" y="3451989"/>
            <a:chExt cx="8633361" cy="1452520"/>
          </a:xfrm>
        </p:grpSpPr>
        <p:sp>
          <p:nvSpPr>
            <p:cNvPr id="5" name="Rectangle 4"/>
            <p:cNvSpPr/>
            <p:nvPr/>
          </p:nvSpPr>
          <p:spPr bwMode="auto">
            <a:xfrm>
              <a:off x="2268187" y="3451989"/>
              <a:ext cx="8633361" cy="145252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smtClean="0">
                <a:solidFill>
                  <a:schemeClr val="bg1"/>
                </a:solidFill>
                <a:latin typeface="+mj-lt"/>
                <a:ea typeface="Segoe UI" pitchFamily="34" charset="0"/>
                <a:cs typeface="Segoe UI" pitchFamily="34" charset="0"/>
              </a:endParaRPr>
            </a:p>
          </p:txBody>
        </p:sp>
        <p:sp>
          <p:nvSpPr>
            <p:cNvPr id="6" name="Rounded Rectangle 5"/>
            <p:cNvSpPr/>
            <p:nvPr/>
          </p:nvSpPr>
          <p:spPr bwMode="auto">
            <a:xfrm>
              <a:off x="2764978" y="4013851"/>
              <a:ext cx="2086097" cy="498764"/>
            </a:xfrm>
            <a:prstGeom prst="roundRect">
              <a:avLst/>
            </a:prstGeom>
            <a:solidFill>
              <a:schemeClr val="accent6">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000" dirty="0" smtClean="0">
                  <a:solidFill>
                    <a:schemeClr val="bg1">
                      <a:lumMod val="95000"/>
                    </a:schemeClr>
                  </a:solidFill>
                  <a:ea typeface="Segoe UI" pitchFamily="34" charset="0"/>
                  <a:cs typeface="Segoe UI" pitchFamily="34" charset="0"/>
                </a:rPr>
                <a:t>RDD</a:t>
              </a:r>
            </a:p>
          </p:txBody>
        </p:sp>
        <p:sp>
          <p:nvSpPr>
            <p:cNvPr id="7" name="Rounded Rectangle 6"/>
            <p:cNvSpPr/>
            <p:nvPr/>
          </p:nvSpPr>
          <p:spPr bwMode="auto">
            <a:xfrm>
              <a:off x="5452753" y="4013851"/>
              <a:ext cx="2264228" cy="498764"/>
            </a:xfrm>
            <a:prstGeom prst="roundRect">
              <a:avLst/>
            </a:prstGeom>
            <a:solidFill>
              <a:schemeClr val="accent6">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000" dirty="0" smtClean="0">
                  <a:solidFill>
                    <a:schemeClr val="bg1">
                      <a:lumMod val="95000"/>
                    </a:schemeClr>
                  </a:solidFill>
                  <a:ea typeface="Segoe UI" pitchFamily="34" charset="0"/>
                  <a:cs typeface="Segoe UI" pitchFamily="34" charset="0"/>
                </a:rPr>
                <a:t>RDD</a:t>
              </a:r>
            </a:p>
          </p:txBody>
        </p:sp>
        <p:sp>
          <p:nvSpPr>
            <p:cNvPr id="8" name="Rounded Rectangle 7"/>
            <p:cNvSpPr/>
            <p:nvPr/>
          </p:nvSpPr>
          <p:spPr bwMode="auto">
            <a:xfrm>
              <a:off x="8332521" y="4013851"/>
              <a:ext cx="2200893" cy="498764"/>
            </a:xfrm>
            <a:prstGeom prst="roundRect">
              <a:avLst/>
            </a:prstGeom>
            <a:solidFill>
              <a:schemeClr val="accent6">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000" dirty="0" smtClean="0">
                  <a:solidFill>
                    <a:schemeClr val="bg1">
                      <a:lumMod val="95000"/>
                    </a:schemeClr>
                  </a:solidFill>
                  <a:ea typeface="Segoe UI" pitchFamily="34" charset="0"/>
                  <a:cs typeface="Segoe UI" pitchFamily="34" charset="0"/>
                </a:rPr>
                <a:t>RDD</a:t>
              </a:r>
            </a:p>
          </p:txBody>
        </p:sp>
        <p:sp>
          <p:nvSpPr>
            <p:cNvPr id="9" name="TextBox 8"/>
            <p:cNvSpPr txBox="1"/>
            <p:nvPr/>
          </p:nvSpPr>
          <p:spPr>
            <a:xfrm>
              <a:off x="2705603" y="4522432"/>
              <a:ext cx="2086097" cy="304800"/>
            </a:xfrm>
            <a:prstGeom prst="rect">
              <a:avLst/>
            </a:prstGeom>
            <a:noFill/>
          </p:spPr>
          <p:txBody>
            <a:bodyPr wrap="none" lIns="182880" tIns="146304" rIns="182880" bIns="146304" rtlCol="0" anchor="ctr">
              <a:noAutofit/>
            </a:bodyPr>
            <a:lstStyle/>
            <a:p>
              <a:pPr>
                <a:lnSpc>
                  <a:spcPct val="90000"/>
                </a:lnSpc>
                <a:spcAft>
                  <a:spcPts val="600"/>
                </a:spcAft>
              </a:pPr>
              <a:r>
                <a:rPr lang="en-US" sz="1400" dirty="0" smtClean="0">
                  <a:solidFill>
                    <a:schemeClr val="tx1">
                      <a:lumMod val="75000"/>
                      <a:lumOff val="25000"/>
                    </a:schemeClr>
                  </a:solidFill>
                </a:rPr>
                <a:t>Data from Time T0 to T1 </a:t>
              </a:r>
            </a:p>
          </p:txBody>
        </p:sp>
        <p:sp>
          <p:nvSpPr>
            <p:cNvPr id="10" name="TextBox 9"/>
            <p:cNvSpPr txBox="1"/>
            <p:nvPr/>
          </p:nvSpPr>
          <p:spPr>
            <a:xfrm>
              <a:off x="5482444" y="4520454"/>
              <a:ext cx="2086097" cy="304800"/>
            </a:xfrm>
            <a:prstGeom prst="rect">
              <a:avLst/>
            </a:prstGeom>
            <a:noFill/>
          </p:spPr>
          <p:txBody>
            <a:bodyPr wrap="none" lIns="182880" tIns="146304" rIns="182880" bIns="146304" rtlCol="0" anchor="ctr">
              <a:noAutofit/>
            </a:bodyPr>
            <a:lstStyle/>
            <a:p>
              <a:pPr>
                <a:lnSpc>
                  <a:spcPct val="90000"/>
                </a:lnSpc>
                <a:spcAft>
                  <a:spcPts val="600"/>
                </a:spcAft>
              </a:pPr>
              <a:r>
                <a:rPr lang="en-US" sz="1400" dirty="0" smtClean="0">
                  <a:solidFill>
                    <a:schemeClr val="tx1">
                      <a:lumMod val="75000"/>
                      <a:lumOff val="25000"/>
                    </a:schemeClr>
                  </a:solidFill>
                </a:rPr>
                <a:t>Data from Time T1 to T2 </a:t>
              </a:r>
            </a:p>
          </p:txBody>
        </p:sp>
        <p:sp>
          <p:nvSpPr>
            <p:cNvPr id="11" name="TextBox 10"/>
            <p:cNvSpPr txBox="1"/>
            <p:nvPr/>
          </p:nvSpPr>
          <p:spPr>
            <a:xfrm>
              <a:off x="8330544" y="4520454"/>
              <a:ext cx="2086097" cy="304800"/>
            </a:xfrm>
            <a:prstGeom prst="rect">
              <a:avLst/>
            </a:prstGeom>
            <a:noFill/>
          </p:spPr>
          <p:txBody>
            <a:bodyPr wrap="none" lIns="182880" tIns="146304" rIns="182880" bIns="146304" rtlCol="0" anchor="ctr">
              <a:noAutofit/>
            </a:bodyPr>
            <a:lstStyle/>
            <a:p>
              <a:pPr>
                <a:lnSpc>
                  <a:spcPct val="90000"/>
                </a:lnSpc>
                <a:spcAft>
                  <a:spcPts val="600"/>
                </a:spcAft>
              </a:pPr>
              <a:r>
                <a:rPr lang="en-US" sz="1400" dirty="0" smtClean="0">
                  <a:solidFill>
                    <a:schemeClr val="tx1">
                      <a:lumMod val="75000"/>
                      <a:lumOff val="25000"/>
                    </a:schemeClr>
                  </a:solidFill>
                </a:rPr>
                <a:t>Data from Time T2 to T3 </a:t>
              </a:r>
            </a:p>
          </p:txBody>
        </p:sp>
        <p:sp>
          <p:nvSpPr>
            <p:cNvPr id="12" name="TextBox 11"/>
            <p:cNvSpPr txBox="1"/>
            <p:nvPr/>
          </p:nvSpPr>
          <p:spPr>
            <a:xfrm>
              <a:off x="5944589" y="3487727"/>
              <a:ext cx="1280557" cy="304800"/>
            </a:xfrm>
            <a:prstGeom prst="rect">
              <a:avLst/>
            </a:prstGeom>
            <a:noFill/>
          </p:spPr>
          <p:txBody>
            <a:bodyPr wrap="none" lIns="182880" tIns="146304" rIns="182880" bIns="146304" rtlCol="0" anchor="ctr">
              <a:noAutofit/>
            </a:bodyPr>
            <a:lstStyle/>
            <a:p>
              <a:pPr>
                <a:lnSpc>
                  <a:spcPct val="90000"/>
                </a:lnSpc>
                <a:spcAft>
                  <a:spcPts val="600"/>
                </a:spcAft>
              </a:pPr>
              <a:r>
                <a:rPr lang="en-US" sz="200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DStream</a:t>
              </a:r>
              <a:r>
                <a:rPr lang="en-US" sz="1600" dirty="0" smtClean="0"/>
                <a:t> </a:t>
              </a:r>
            </a:p>
          </p:txBody>
        </p:sp>
      </p:grpSp>
      <p:sp>
        <p:nvSpPr>
          <p:cNvPr id="13" name="TextBox 12"/>
          <p:cNvSpPr txBox="1"/>
          <p:nvPr/>
        </p:nvSpPr>
        <p:spPr>
          <a:xfrm>
            <a:off x="399557" y="4777123"/>
            <a:ext cx="10501991" cy="1631216"/>
          </a:xfrm>
          <a:prstGeom prst="rect">
            <a:avLst/>
          </a:prstGeom>
          <a:solidFill>
            <a:schemeClr val="bg1"/>
          </a:solidFill>
          <a:ln>
            <a:noFill/>
          </a:ln>
        </p:spPr>
        <p:txBody>
          <a:bodyPr wrap="square">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lvl="1"/>
            <a:r>
              <a:rPr lang="en-US" sz="2000" dirty="0"/>
              <a:t>Any </a:t>
            </a:r>
            <a:r>
              <a:rPr lang="en-US" sz="2000" dirty="0" smtClean="0"/>
              <a:t>operations </a:t>
            </a:r>
            <a:r>
              <a:rPr lang="en-US" sz="2000" dirty="0"/>
              <a:t>applied on a DStream translates to operations </a:t>
            </a:r>
            <a:r>
              <a:rPr lang="en-US" sz="2000" i="1" dirty="0"/>
              <a:t>on the underlying </a:t>
            </a:r>
            <a:r>
              <a:rPr lang="en-US" sz="2000" i="1" dirty="0" smtClean="0"/>
              <a:t>RDDs</a:t>
            </a:r>
            <a:r>
              <a:rPr lang="en-US" sz="2000" dirty="0" smtClean="0"/>
              <a:t>. </a:t>
            </a:r>
            <a:r>
              <a:rPr lang="en-US" sz="2000" dirty="0"/>
              <a:t>These underlying RDD </a:t>
            </a:r>
            <a:r>
              <a:rPr lang="en-US" sz="2000" dirty="0" smtClean="0"/>
              <a:t>operations </a:t>
            </a:r>
            <a:r>
              <a:rPr lang="en-US" sz="2000" dirty="0"/>
              <a:t>are computed by the Spark </a:t>
            </a:r>
            <a:r>
              <a:rPr lang="en-US" sz="2000" dirty="0" smtClean="0"/>
              <a:t>engine. DStream </a:t>
            </a:r>
            <a:r>
              <a:rPr lang="en-US" sz="2000" dirty="0"/>
              <a:t>operations hide most of these details and provides the developer with higher-level API for </a:t>
            </a:r>
            <a:r>
              <a:rPr lang="en-US" sz="2000" dirty="0" smtClean="0"/>
              <a:t>convenience</a:t>
            </a:r>
          </a:p>
          <a:p>
            <a:pPr lvl="1"/>
            <a:r>
              <a:rPr lang="en-US" sz="2000" dirty="0" smtClean="0"/>
              <a:t>The size of the batch which determines the ‘width’ of the Dstream can be configured</a:t>
            </a:r>
            <a:endParaRPr lang="en-US" sz="2000" dirty="0"/>
          </a:p>
        </p:txBody>
      </p:sp>
    </p:spTree>
    <p:extLst>
      <p:ext uri="{BB962C8B-B14F-4D97-AF65-F5344CB8AC3E}">
        <p14:creationId xmlns:p14="http://schemas.microsoft.com/office/powerpoint/2010/main" val="3172270634"/>
      </p:ext>
    </p:extLst>
  </p:cSld>
  <p:clrMapOvr>
    <a:overrideClrMapping bg1="lt1" tx1="dk1" bg2="lt2" tx2="dk2" accent1="accent1" accent2="accent2" accent3="accent3" accent4="accent4" accent5="accent5" accent6="accent6" hlink="hlink" folHlink="folHlink"/>
  </p:clrMapOvr>
  <p:transition spd="med">
    <p:fade/>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Stream - Operations</a:t>
            </a:r>
            <a:endParaRPr lang="en-US" dirty="0"/>
          </a:p>
        </p:txBody>
      </p:sp>
      <p:sp>
        <p:nvSpPr>
          <p:cNvPr id="3" name="Slide Number Placeholder 2"/>
          <p:cNvSpPr>
            <a:spLocks noGrp="1"/>
          </p:cNvSpPr>
          <p:nvPr>
            <p:ph type="sldNum" sz="quarter" idx="11"/>
          </p:nvPr>
        </p:nvSpPr>
        <p:spPr/>
        <p:txBody>
          <a:bodyPr/>
          <a:lstStyle/>
          <a:p>
            <a:pPr>
              <a:defRPr/>
            </a:pPr>
            <a:fld id="{F8A0AC42-AA1D-4944-8D96-660DE70C7E1B}" type="slidenum">
              <a:rPr lang="en-US" smtClean="0"/>
              <a:pPr>
                <a:defRPr/>
              </a:pPr>
              <a:t>34</a:t>
            </a:fld>
            <a:endParaRPr lang="en-US" dirty="0"/>
          </a:p>
        </p:txBody>
      </p:sp>
      <p:sp>
        <p:nvSpPr>
          <p:cNvPr id="4" name="TextBox 3"/>
          <p:cNvSpPr txBox="1"/>
          <p:nvPr/>
        </p:nvSpPr>
        <p:spPr>
          <a:xfrm>
            <a:off x="292679" y="1723173"/>
            <a:ext cx="11074486" cy="3293209"/>
          </a:xfrm>
          <a:prstGeom prst="rect">
            <a:avLst/>
          </a:prstGeom>
          <a:solidFill>
            <a:schemeClr val="bg1"/>
          </a:solidFill>
          <a:ln>
            <a:noFill/>
          </a:ln>
        </p:spPr>
        <p:txBody>
          <a:bodyPr wrap="square">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2"/>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lvl="1">
              <a:spcBef>
                <a:spcPts val="600"/>
              </a:spcBef>
            </a:pPr>
            <a:r>
              <a:rPr lang="en-US" sz="2400" dirty="0" smtClean="0"/>
              <a:t>Two kinds of DStreams operations—</a:t>
            </a:r>
            <a:r>
              <a:rPr lang="en-US" sz="2400" i="1" dirty="0" smtClean="0"/>
              <a:t>transformations and output operations</a:t>
            </a:r>
          </a:p>
          <a:p>
            <a:pPr lvl="1">
              <a:spcBef>
                <a:spcPts val="600"/>
              </a:spcBef>
            </a:pPr>
            <a:r>
              <a:rPr lang="en-US" sz="2400" dirty="0"/>
              <a:t>Similar to RDD transformations, DStream transformations operate on one or more DStreams to create new DStreams with transformed data</a:t>
            </a:r>
            <a:r>
              <a:rPr lang="en-US" sz="2400" dirty="0" smtClean="0"/>
              <a:t>.</a:t>
            </a:r>
          </a:p>
          <a:p>
            <a:pPr marL="1200150" lvl="2" indent="-285750">
              <a:spcBef>
                <a:spcPts val="600"/>
              </a:spcBef>
              <a:spcAft>
                <a:spcPts val="600"/>
              </a:spcAft>
              <a:buFont typeface="Arial" panose="020B0604020202020204" pitchFamily="34" charset="0"/>
              <a:buChar char="•"/>
            </a:pPr>
            <a:r>
              <a:rPr lang="en-US" sz="2000" dirty="0" smtClean="0">
                <a:ln>
                  <a:solidFill>
                    <a:srgbClr val="FFFFFF">
                      <a:alpha val="0"/>
                    </a:srgbClr>
                  </a:solidFill>
                </a:ln>
                <a:gradFill>
                  <a:gsLst>
                    <a:gs pos="85321">
                      <a:srgbClr val="505050"/>
                    </a:gs>
                    <a:gs pos="57000">
                      <a:srgbClr val="505050"/>
                    </a:gs>
                  </a:gsLst>
                </a:gradFill>
                <a:ea typeface="Segoe UI" pitchFamily="34" charset="0"/>
                <a:cs typeface="Segoe UI" pitchFamily="34" charset="0"/>
              </a:rPr>
              <a:t>Examples: map(), </a:t>
            </a:r>
            <a:r>
              <a:rPr lang="en-US" sz="2000" dirty="0" err="1" smtClean="0">
                <a:ln>
                  <a:solidFill>
                    <a:srgbClr val="FFFFFF">
                      <a:alpha val="0"/>
                    </a:srgbClr>
                  </a:solidFill>
                </a:ln>
                <a:gradFill>
                  <a:gsLst>
                    <a:gs pos="85321">
                      <a:srgbClr val="505050"/>
                    </a:gs>
                    <a:gs pos="57000">
                      <a:srgbClr val="505050"/>
                    </a:gs>
                  </a:gsLst>
                </a:gradFill>
                <a:ea typeface="Segoe UI" pitchFamily="34" charset="0"/>
                <a:cs typeface="Segoe UI" pitchFamily="34" charset="0"/>
              </a:rPr>
              <a:t>flatmap</a:t>
            </a:r>
            <a:r>
              <a:rPr lang="en-US" sz="2000" dirty="0" smtClean="0">
                <a:ln>
                  <a:solidFill>
                    <a:srgbClr val="FFFFFF">
                      <a:alpha val="0"/>
                    </a:srgbClr>
                  </a:solidFill>
                </a:ln>
                <a:gradFill>
                  <a:gsLst>
                    <a:gs pos="85321">
                      <a:srgbClr val="505050"/>
                    </a:gs>
                    <a:gs pos="57000">
                      <a:srgbClr val="505050"/>
                    </a:gs>
                  </a:gsLst>
                </a:gradFill>
                <a:ea typeface="Segoe UI" pitchFamily="34" charset="0"/>
                <a:cs typeface="Segoe UI" pitchFamily="34" charset="0"/>
              </a:rPr>
              <a:t>(), repartition(), join(), union(), count(), upDateStateBykey(), </a:t>
            </a:r>
            <a:r>
              <a:rPr lang="en-US" sz="200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a:t>
            </a:r>
          </a:p>
          <a:p>
            <a:pPr lvl="1">
              <a:spcBef>
                <a:spcPts val="600"/>
              </a:spcBef>
            </a:pPr>
            <a:r>
              <a:rPr lang="en-US" sz="2400" dirty="0"/>
              <a:t>O</a:t>
            </a:r>
            <a:r>
              <a:rPr lang="en-US" sz="2400" dirty="0" smtClean="0"/>
              <a:t>utput </a:t>
            </a:r>
            <a:r>
              <a:rPr lang="en-US" sz="2400" dirty="0"/>
              <a:t>operations </a:t>
            </a:r>
            <a:r>
              <a:rPr lang="en-US" sz="2400" dirty="0" smtClean="0"/>
              <a:t>write </a:t>
            </a:r>
            <a:r>
              <a:rPr lang="en-US" sz="2400" dirty="0"/>
              <a:t>data out to an external data sink, such as a filesystem or a database</a:t>
            </a:r>
            <a:r>
              <a:rPr lang="en-US" sz="2400" dirty="0" smtClean="0"/>
              <a:t>.</a:t>
            </a:r>
          </a:p>
          <a:p>
            <a:pPr marL="1200150" lvl="2" indent="-285750">
              <a:spcBef>
                <a:spcPts val="600"/>
              </a:spcBef>
              <a:spcAft>
                <a:spcPts val="600"/>
              </a:spcAft>
              <a:buFont typeface="Arial" panose="020B0604020202020204" pitchFamily="34" charset="0"/>
              <a:buChar char="•"/>
            </a:pPr>
            <a:r>
              <a:rPr lang="en-US" sz="200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Examples: </a:t>
            </a:r>
            <a:r>
              <a:rPr lang="en-US" sz="2000" dirty="0" smtClean="0">
                <a:ln>
                  <a:solidFill>
                    <a:srgbClr val="FFFFFF">
                      <a:alpha val="0"/>
                    </a:srgbClr>
                  </a:solidFill>
                </a:ln>
                <a:gradFill>
                  <a:gsLst>
                    <a:gs pos="85321">
                      <a:srgbClr val="505050"/>
                    </a:gs>
                    <a:gs pos="57000">
                      <a:srgbClr val="505050"/>
                    </a:gs>
                  </a:gsLst>
                </a:gradFill>
                <a:ea typeface="Segoe UI" pitchFamily="34" charset="0"/>
                <a:cs typeface="Segoe UI" pitchFamily="34" charset="0"/>
              </a:rPr>
              <a:t>print(), foreachRDD(), saveAsObjectFiles(), saveAsTextFiles(), saveAsHadoopFiles()</a:t>
            </a:r>
            <a:endParaRPr lang="en-US" sz="2000" dirty="0">
              <a:ln>
                <a:solidFill>
                  <a:srgbClr val="FFFFFF">
                    <a:alpha val="0"/>
                  </a:srgbClr>
                </a:solidFill>
              </a:ln>
              <a:gradFill>
                <a:gsLst>
                  <a:gs pos="85321">
                    <a:srgbClr val="505050"/>
                  </a:gs>
                  <a:gs pos="57000">
                    <a:srgbClr val="505050"/>
                  </a:gs>
                </a:gsLst>
              </a:gradFill>
              <a:ea typeface="Segoe UI" pitchFamily="34" charset="0"/>
              <a:cs typeface="Segoe UI" pitchFamily="34" charset="0"/>
            </a:endParaRPr>
          </a:p>
        </p:txBody>
      </p:sp>
    </p:spTree>
    <p:extLst>
      <p:ext uri="{BB962C8B-B14F-4D97-AF65-F5344CB8AC3E}">
        <p14:creationId xmlns:p14="http://schemas.microsoft.com/office/powerpoint/2010/main" val="1336705087"/>
      </p:ext>
    </p:extLst>
  </p:cSld>
  <p:clrMapOvr>
    <a:masterClrMapping/>
  </p:clrMapOvr>
  <p:transition spd="med">
    <p:fade/>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ample Code</a:t>
            </a:r>
            <a:endParaRPr lang="en-US" dirty="0"/>
          </a:p>
        </p:txBody>
      </p:sp>
      <p:sp>
        <p:nvSpPr>
          <p:cNvPr id="3" name="Slide Number Placeholder 2"/>
          <p:cNvSpPr>
            <a:spLocks noGrp="1"/>
          </p:cNvSpPr>
          <p:nvPr>
            <p:ph type="sldNum" sz="quarter" idx="11"/>
          </p:nvPr>
        </p:nvSpPr>
        <p:spPr/>
        <p:txBody>
          <a:bodyPr/>
          <a:lstStyle/>
          <a:p>
            <a:pPr>
              <a:defRPr/>
            </a:pPr>
            <a:fld id="{F8A0AC42-AA1D-4944-8D96-660DE70C7E1B}" type="slidenum">
              <a:rPr lang="en-US" smtClean="0"/>
              <a:pPr>
                <a:defRPr/>
              </a:pPr>
              <a:t>35</a:t>
            </a:fld>
            <a:endParaRPr lang="en-US" dirty="0"/>
          </a:p>
        </p:txBody>
      </p:sp>
      <p:sp>
        <p:nvSpPr>
          <p:cNvPr id="4" name="TextBox 3"/>
          <p:cNvSpPr txBox="1"/>
          <p:nvPr/>
        </p:nvSpPr>
        <p:spPr>
          <a:xfrm>
            <a:off x="292679" y="1385539"/>
            <a:ext cx="7762750" cy="4624343"/>
          </a:xfrm>
          <a:prstGeom prst="rect">
            <a:avLst/>
          </a:prstGeom>
          <a:solidFill>
            <a:schemeClr val="bg1"/>
          </a:solidFill>
          <a:ln>
            <a:noFill/>
          </a:ln>
        </p:spPr>
        <p:txBody>
          <a:bodyPr wrap="square">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2"/>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93" lvl="1" indent="0">
              <a:spcBef>
                <a:spcPts val="600"/>
              </a:spcBef>
              <a:buNone/>
            </a:pPr>
            <a:r>
              <a:rPr lang="en-US" sz="1700" dirty="0" smtClean="0"/>
              <a:t>//</a:t>
            </a:r>
            <a:r>
              <a:rPr lang="en-US" sz="1700" dirty="0" smtClean="0">
                <a:solidFill>
                  <a:schemeClr val="accent1"/>
                </a:solidFill>
              </a:rPr>
              <a:t>StreamingContext</a:t>
            </a:r>
            <a:r>
              <a:rPr lang="en-US" sz="1700" dirty="0"/>
              <a:t> </a:t>
            </a:r>
            <a:r>
              <a:rPr lang="en-US" sz="1700" dirty="0">
                <a:solidFill>
                  <a:schemeClr val="accent2">
                    <a:lumMod val="75000"/>
                  </a:schemeClr>
                </a:solidFill>
              </a:rPr>
              <a:t>is the main entry point for all streaming functionality.</a:t>
            </a:r>
            <a:r>
              <a:rPr lang="en-US" sz="1700" dirty="0" smtClean="0">
                <a:solidFill>
                  <a:schemeClr val="accent2">
                    <a:lumMod val="75000"/>
                  </a:schemeClr>
                </a:solidFill>
              </a:rPr>
              <a:t> </a:t>
            </a:r>
            <a:br>
              <a:rPr lang="en-US" sz="1700" dirty="0" smtClean="0">
                <a:solidFill>
                  <a:schemeClr val="accent2">
                    <a:lumMod val="75000"/>
                  </a:schemeClr>
                </a:solidFill>
              </a:rPr>
            </a:br>
            <a:r>
              <a:rPr lang="en-US" sz="1700" dirty="0" smtClean="0">
                <a:solidFill>
                  <a:schemeClr val="accent2">
                    <a:lumMod val="75000"/>
                  </a:schemeClr>
                </a:solidFill>
              </a:rPr>
              <a:t>//First create </a:t>
            </a:r>
            <a:r>
              <a:rPr lang="en-US" sz="1700" dirty="0">
                <a:solidFill>
                  <a:schemeClr val="accent2">
                    <a:lumMod val="75000"/>
                  </a:schemeClr>
                </a:solidFill>
              </a:rPr>
              <a:t>a StreamingContext with a local </a:t>
            </a:r>
            <a:r>
              <a:rPr lang="en-US" sz="1700" dirty="0" smtClean="0">
                <a:solidFill>
                  <a:schemeClr val="accent2">
                    <a:lumMod val="75000"/>
                  </a:schemeClr>
                </a:solidFill>
              </a:rPr>
              <a:t>master</a:t>
            </a:r>
            <a:endParaRPr lang="en-US" sz="1700" dirty="0">
              <a:solidFill>
                <a:schemeClr val="accent2">
                  <a:lumMod val="75000"/>
                </a:schemeClr>
              </a:solidFill>
            </a:endParaRPr>
          </a:p>
          <a:p>
            <a:pPr marL="110493" lvl="1" indent="0">
              <a:spcBef>
                <a:spcPts val="0"/>
              </a:spcBef>
              <a:buNone/>
            </a:pPr>
            <a:r>
              <a:rPr lang="en-US" sz="1700" dirty="0" smtClean="0">
                <a:latin typeface="Arial" panose="020B0604020202020204" pitchFamily="34" charset="0"/>
                <a:cs typeface="Arial" panose="020B0604020202020204" pitchFamily="34" charset="0"/>
              </a:rPr>
              <a:t>val </a:t>
            </a:r>
            <a:r>
              <a:rPr lang="en-US" sz="1700" dirty="0">
                <a:latin typeface="Arial" panose="020B0604020202020204" pitchFamily="34" charset="0"/>
                <a:cs typeface="Arial" panose="020B0604020202020204" pitchFamily="34" charset="0"/>
              </a:rPr>
              <a:t>ssc = new </a:t>
            </a:r>
            <a:r>
              <a:rPr lang="en-US" sz="1700" dirty="0">
                <a:solidFill>
                  <a:schemeClr val="accent1"/>
                </a:solidFill>
                <a:latin typeface="Arial" panose="020B0604020202020204" pitchFamily="34" charset="0"/>
                <a:cs typeface="Arial" panose="020B0604020202020204" pitchFamily="34" charset="0"/>
              </a:rPr>
              <a:t>StreamingContext</a:t>
            </a:r>
            <a:r>
              <a:rPr lang="en-US" sz="1700" dirty="0">
                <a:latin typeface="Arial" panose="020B0604020202020204" pitchFamily="34" charset="0"/>
                <a:cs typeface="Arial" panose="020B0604020202020204" pitchFamily="34" charset="0"/>
              </a:rPr>
              <a:t>("local", "NetworkWordCount", </a:t>
            </a:r>
            <a:r>
              <a:rPr lang="en-US" sz="1700" dirty="0">
                <a:solidFill>
                  <a:schemeClr val="accent1"/>
                </a:solidFill>
                <a:latin typeface="Arial" panose="020B0604020202020204" pitchFamily="34" charset="0"/>
                <a:cs typeface="Arial" panose="020B0604020202020204" pitchFamily="34" charset="0"/>
              </a:rPr>
              <a:t>Seconds</a:t>
            </a:r>
            <a:r>
              <a:rPr lang="en-US" sz="1700" dirty="0">
                <a:latin typeface="Arial" panose="020B0604020202020204" pitchFamily="34" charset="0"/>
                <a:cs typeface="Arial" panose="020B0604020202020204" pitchFamily="34" charset="0"/>
              </a:rPr>
              <a:t>(1</a:t>
            </a:r>
            <a:r>
              <a:rPr lang="en-US" sz="1700" dirty="0" smtClean="0">
                <a:latin typeface="Arial" panose="020B0604020202020204" pitchFamily="34" charset="0"/>
                <a:cs typeface="Arial" panose="020B0604020202020204" pitchFamily="34" charset="0"/>
              </a:rPr>
              <a:t>))</a:t>
            </a:r>
          </a:p>
          <a:p>
            <a:pPr marL="110493" lvl="1" indent="0">
              <a:spcBef>
                <a:spcPts val="600"/>
              </a:spcBef>
              <a:buNone/>
            </a:pPr>
            <a:r>
              <a:rPr lang="en-US" sz="1700" dirty="0">
                <a:solidFill>
                  <a:schemeClr val="accent2">
                    <a:lumMod val="75000"/>
                  </a:schemeClr>
                </a:solidFill>
              </a:rPr>
              <a:t>// Create a DStream that will connect to serverIP:serverPort, like </a:t>
            </a:r>
            <a:r>
              <a:rPr lang="en-US" sz="1700" dirty="0" smtClean="0">
                <a:solidFill>
                  <a:schemeClr val="accent2">
                    <a:lumMod val="75000"/>
                  </a:schemeClr>
                </a:solidFill>
              </a:rPr>
              <a:t>localhost:9999</a:t>
            </a:r>
            <a:endParaRPr lang="en-US" sz="1700" dirty="0">
              <a:solidFill>
                <a:schemeClr val="accent2">
                  <a:lumMod val="75000"/>
                </a:schemeClr>
              </a:solidFill>
            </a:endParaRPr>
          </a:p>
          <a:p>
            <a:pPr marL="110493" lvl="1" indent="0">
              <a:spcBef>
                <a:spcPts val="0"/>
              </a:spcBef>
              <a:spcAft>
                <a:spcPts val="0"/>
              </a:spcAft>
              <a:buNone/>
            </a:pPr>
            <a:r>
              <a:rPr lang="en-US" sz="1700" dirty="0" smtClean="0">
                <a:latin typeface="Arial" panose="020B0604020202020204" pitchFamily="34" charset="0"/>
                <a:cs typeface="Arial" panose="020B0604020202020204" pitchFamily="34" charset="0"/>
              </a:rPr>
              <a:t>val </a:t>
            </a:r>
            <a:r>
              <a:rPr lang="en-US" sz="1700" dirty="0">
                <a:latin typeface="Arial" panose="020B0604020202020204" pitchFamily="34" charset="0"/>
                <a:cs typeface="Arial" panose="020B0604020202020204" pitchFamily="34" charset="0"/>
              </a:rPr>
              <a:t>lines = ssc.socketTextStream("localhost", 9999</a:t>
            </a:r>
            <a:r>
              <a:rPr lang="en-US" sz="1700" dirty="0" smtClean="0">
                <a:latin typeface="Arial" panose="020B0604020202020204" pitchFamily="34" charset="0"/>
                <a:cs typeface="Arial" panose="020B0604020202020204" pitchFamily="34" charset="0"/>
              </a:rPr>
              <a:t>)</a:t>
            </a:r>
          </a:p>
          <a:p>
            <a:pPr marL="110493" lvl="1" indent="0">
              <a:spcBef>
                <a:spcPts val="1200"/>
              </a:spcBef>
              <a:buNone/>
            </a:pPr>
            <a:r>
              <a:rPr lang="en-US" sz="1700" dirty="0">
                <a:solidFill>
                  <a:schemeClr val="accent2">
                    <a:lumMod val="75000"/>
                  </a:schemeClr>
                </a:solidFill>
              </a:rPr>
              <a:t>// Split each line into </a:t>
            </a:r>
            <a:r>
              <a:rPr lang="en-US" sz="1700" dirty="0" smtClean="0">
                <a:solidFill>
                  <a:schemeClr val="accent2">
                    <a:lumMod val="75000"/>
                  </a:schemeClr>
                </a:solidFill>
              </a:rPr>
              <a:t>words using the flatMap function</a:t>
            </a:r>
          </a:p>
          <a:p>
            <a:pPr marL="110493" lvl="1" indent="0">
              <a:spcBef>
                <a:spcPts val="0"/>
              </a:spcBef>
              <a:spcAft>
                <a:spcPts val="0"/>
              </a:spcAft>
              <a:buNone/>
            </a:pPr>
            <a:r>
              <a:rPr lang="en-US" sz="1700" dirty="0" smtClean="0">
                <a:latin typeface="Arial" panose="020B0604020202020204" pitchFamily="34" charset="0"/>
                <a:cs typeface="Arial" panose="020B0604020202020204" pitchFamily="34" charset="0"/>
              </a:rPr>
              <a:t>val </a:t>
            </a:r>
            <a:r>
              <a:rPr lang="en-US" sz="1700" dirty="0">
                <a:latin typeface="Arial" panose="020B0604020202020204" pitchFamily="34" charset="0"/>
                <a:cs typeface="Arial" panose="020B0604020202020204" pitchFamily="34" charset="0"/>
              </a:rPr>
              <a:t>words = lines.flatMap(_.split(" </a:t>
            </a:r>
            <a:r>
              <a:rPr lang="en-US" sz="1700" dirty="0" smtClean="0">
                <a:latin typeface="Arial" panose="020B0604020202020204" pitchFamily="34" charset="0"/>
                <a:cs typeface="Arial" panose="020B0604020202020204" pitchFamily="34" charset="0"/>
              </a:rPr>
              <a:t>"))</a:t>
            </a:r>
          </a:p>
          <a:p>
            <a:pPr marL="110493" lvl="1" indent="0">
              <a:spcBef>
                <a:spcPts val="1200"/>
              </a:spcBef>
              <a:buNone/>
            </a:pPr>
            <a:r>
              <a:rPr lang="en-US" sz="1700" dirty="0">
                <a:solidFill>
                  <a:schemeClr val="accent2">
                    <a:lumMod val="75000"/>
                  </a:schemeClr>
                </a:solidFill>
              </a:rPr>
              <a:t>// Count each word in each </a:t>
            </a:r>
            <a:r>
              <a:rPr lang="en-US" sz="1700" dirty="0" smtClean="0">
                <a:solidFill>
                  <a:schemeClr val="accent2">
                    <a:lumMod val="75000"/>
                  </a:schemeClr>
                </a:solidFill>
              </a:rPr>
              <a:t>batch</a:t>
            </a:r>
            <a:r>
              <a:rPr lang="en-US" sz="1700" dirty="0" smtClean="0">
                <a:solidFill>
                  <a:schemeClr val="accent4">
                    <a:lumMod val="75000"/>
                  </a:schemeClr>
                </a:solidFill>
              </a:rPr>
              <a:t/>
            </a:r>
            <a:br>
              <a:rPr lang="en-US" sz="1700" dirty="0" smtClean="0">
                <a:solidFill>
                  <a:schemeClr val="accent4">
                    <a:lumMod val="75000"/>
                  </a:schemeClr>
                </a:solidFill>
              </a:rPr>
            </a:br>
            <a:r>
              <a:rPr lang="en-US" sz="1700" dirty="0" smtClean="0">
                <a:latin typeface="Arial" panose="020B0604020202020204" pitchFamily="34" charset="0"/>
                <a:cs typeface="Arial" panose="020B0604020202020204" pitchFamily="34" charset="0"/>
              </a:rPr>
              <a:t>val </a:t>
            </a:r>
            <a:r>
              <a:rPr lang="en-US" sz="1700" dirty="0">
                <a:latin typeface="Arial" panose="020B0604020202020204" pitchFamily="34" charset="0"/>
                <a:cs typeface="Arial" panose="020B0604020202020204" pitchFamily="34" charset="0"/>
              </a:rPr>
              <a:t>pairs = words.map(word =&gt; (word, 1</a:t>
            </a:r>
            <a:r>
              <a:rPr lang="en-US" sz="1700" dirty="0" smtClean="0">
                <a:latin typeface="Arial" panose="020B0604020202020204" pitchFamily="34" charset="0"/>
                <a:cs typeface="Arial" panose="020B0604020202020204" pitchFamily="34" charset="0"/>
              </a:rPr>
              <a:t>))</a:t>
            </a:r>
            <a:br>
              <a:rPr lang="en-US" sz="1700" dirty="0" smtClean="0">
                <a:latin typeface="Arial" panose="020B0604020202020204" pitchFamily="34" charset="0"/>
                <a:cs typeface="Arial" panose="020B0604020202020204" pitchFamily="34" charset="0"/>
              </a:rPr>
            </a:br>
            <a:r>
              <a:rPr lang="en-US" sz="1700" dirty="0" smtClean="0">
                <a:latin typeface="Arial" panose="020B0604020202020204" pitchFamily="34" charset="0"/>
                <a:cs typeface="Arial" panose="020B0604020202020204" pitchFamily="34" charset="0"/>
              </a:rPr>
              <a:t>val </a:t>
            </a:r>
            <a:r>
              <a:rPr lang="en-US" sz="1700" dirty="0">
                <a:latin typeface="Arial" panose="020B0604020202020204" pitchFamily="34" charset="0"/>
                <a:cs typeface="Arial" panose="020B0604020202020204" pitchFamily="34" charset="0"/>
              </a:rPr>
              <a:t>wordCounts = pairs.reduceByKey(_ + </a:t>
            </a:r>
            <a:r>
              <a:rPr lang="en-US" sz="1700" dirty="0" smtClean="0">
                <a:latin typeface="Arial" panose="020B0604020202020204" pitchFamily="34" charset="0"/>
                <a:cs typeface="Arial" panose="020B0604020202020204" pitchFamily="34" charset="0"/>
              </a:rPr>
              <a:t>_)</a:t>
            </a:r>
            <a:br>
              <a:rPr lang="en-US" sz="1700" dirty="0" smtClean="0">
                <a:latin typeface="Arial" panose="020B0604020202020204" pitchFamily="34" charset="0"/>
                <a:cs typeface="Arial" panose="020B0604020202020204" pitchFamily="34" charset="0"/>
              </a:rPr>
            </a:br>
            <a:r>
              <a:rPr lang="en-US" sz="1700" dirty="0" smtClean="0">
                <a:latin typeface="Arial" panose="020B0604020202020204" pitchFamily="34" charset="0"/>
                <a:cs typeface="Arial" panose="020B0604020202020204" pitchFamily="34" charset="0"/>
              </a:rPr>
              <a:t>wordCounts.print</a:t>
            </a:r>
            <a:r>
              <a:rPr lang="en-US" sz="1700" dirty="0">
                <a:latin typeface="Arial" panose="020B0604020202020204" pitchFamily="34" charset="0"/>
                <a:cs typeface="Arial" panose="020B0604020202020204" pitchFamily="34" charset="0"/>
              </a:rPr>
              <a:t>()</a:t>
            </a:r>
            <a:endParaRPr lang="en-US" sz="1700" dirty="0" smtClean="0">
              <a:latin typeface="Arial" panose="020B0604020202020204" pitchFamily="34" charset="0"/>
              <a:cs typeface="Arial" panose="020B0604020202020204" pitchFamily="34" charset="0"/>
            </a:endParaRPr>
          </a:p>
          <a:p>
            <a:pPr marL="110493" lvl="1" indent="0">
              <a:spcBef>
                <a:spcPts val="600"/>
              </a:spcBef>
              <a:spcAft>
                <a:spcPts val="0"/>
              </a:spcAft>
              <a:buNone/>
            </a:pPr>
            <a:r>
              <a:rPr lang="en-US" sz="1700" i="1" dirty="0" smtClean="0">
                <a:solidFill>
                  <a:schemeClr val="accent2">
                    <a:lumMod val="75000"/>
                  </a:schemeClr>
                </a:solidFill>
              </a:rPr>
              <a:t>//When </a:t>
            </a:r>
            <a:r>
              <a:rPr lang="en-US" sz="1700" i="1" dirty="0">
                <a:solidFill>
                  <a:schemeClr val="accent2">
                    <a:lumMod val="75000"/>
                  </a:schemeClr>
                </a:solidFill>
              </a:rPr>
              <a:t>these lines are executed, Spark Streaming only sets up the computation </a:t>
            </a:r>
            <a:r>
              <a:rPr lang="en-US" sz="1700" i="1" dirty="0" smtClean="0">
                <a:solidFill>
                  <a:schemeClr val="accent2">
                    <a:lumMod val="75000"/>
                  </a:schemeClr>
                </a:solidFill>
              </a:rPr>
              <a:t/>
            </a:r>
            <a:br>
              <a:rPr lang="en-US" sz="1700" i="1" dirty="0" smtClean="0">
                <a:solidFill>
                  <a:schemeClr val="accent2">
                    <a:lumMod val="75000"/>
                  </a:schemeClr>
                </a:solidFill>
              </a:rPr>
            </a:br>
            <a:r>
              <a:rPr lang="en-US" sz="1700" i="1" dirty="0" smtClean="0">
                <a:solidFill>
                  <a:schemeClr val="accent2">
                    <a:lumMod val="75000"/>
                  </a:schemeClr>
                </a:solidFill>
              </a:rPr>
              <a:t>//Processing only starts when the following calls are made </a:t>
            </a:r>
            <a:r>
              <a:rPr lang="en-US" sz="1700" i="1" dirty="0">
                <a:solidFill>
                  <a:schemeClr val="accent2">
                    <a:lumMod val="75000"/>
                  </a:schemeClr>
                </a:solidFill>
              </a:rPr>
              <a:t>call</a:t>
            </a:r>
            <a:endParaRPr lang="en-US" sz="1700" i="1" dirty="0" smtClean="0">
              <a:solidFill>
                <a:schemeClr val="accent2">
                  <a:lumMod val="75000"/>
                </a:schemeClr>
              </a:solidFill>
            </a:endParaRPr>
          </a:p>
          <a:p>
            <a:pPr marL="110493" lvl="1" indent="0">
              <a:spcBef>
                <a:spcPts val="600"/>
              </a:spcBef>
              <a:buNone/>
            </a:pPr>
            <a:r>
              <a:rPr lang="en-US" sz="1700" dirty="0" smtClean="0">
                <a:latin typeface="Arial" panose="020B0604020202020204" pitchFamily="34" charset="0"/>
                <a:cs typeface="Arial" panose="020B0604020202020204" pitchFamily="34" charset="0"/>
              </a:rPr>
              <a:t>ssc.start</a:t>
            </a:r>
            <a:r>
              <a:rPr lang="en-US" sz="1700" dirty="0">
                <a:latin typeface="Arial" panose="020B0604020202020204" pitchFamily="34" charset="0"/>
                <a:cs typeface="Arial" panose="020B0604020202020204" pitchFamily="34" charset="0"/>
              </a:rPr>
              <a:t>()             </a:t>
            </a:r>
            <a:r>
              <a:rPr lang="en-US" sz="1700" dirty="0" smtClean="0">
                <a:latin typeface="Arial" panose="020B0604020202020204" pitchFamily="34" charset="0"/>
                <a:cs typeface="Arial" panose="020B0604020202020204" pitchFamily="34" charset="0"/>
              </a:rPr>
              <a:t>          </a:t>
            </a:r>
            <a:r>
              <a:rPr lang="en-US" sz="1700" dirty="0" smtClean="0">
                <a:solidFill>
                  <a:schemeClr val="accent2">
                    <a:lumMod val="75000"/>
                  </a:schemeClr>
                </a:solidFill>
              </a:rPr>
              <a:t>// </a:t>
            </a:r>
            <a:r>
              <a:rPr lang="en-US" sz="1700" dirty="0">
                <a:solidFill>
                  <a:schemeClr val="accent2">
                    <a:lumMod val="75000"/>
                  </a:schemeClr>
                </a:solidFill>
              </a:rPr>
              <a:t>Start the </a:t>
            </a:r>
            <a:r>
              <a:rPr lang="en-US" sz="1700" dirty="0" smtClean="0">
                <a:solidFill>
                  <a:schemeClr val="accent2">
                    <a:lumMod val="75000"/>
                  </a:schemeClr>
                </a:solidFill>
              </a:rPr>
              <a:t>computation</a:t>
            </a:r>
            <a:r>
              <a:rPr lang="en-US" sz="1700" dirty="0" smtClean="0"/>
              <a:t/>
            </a:r>
            <a:br>
              <a:rPr lang="en-US" sz="1700" dirty="0" smtClean="0"/>
            </a:br>
            <a:r>
              <a:rPr lang="en-US" sz="1700" dirty="0" smtClean="0">
                <a:latin typeface="Arial" panose="020B0604020202020204" pitchFamily="34" charset="0"/>
                <a:cs typeface="Arial" panose="020B0604020202020204" pitchFamily="34" charset="0"/>
              </a:rPr>
              <a:t>ssc.awaitTermination</a:t>
            </a:r>
            <a:r>
              <a:rPr lang="en-US" sz="1700" dirty="0">
                <a:latin typeface="Arial" panose="020B0604020202020204" pitchFamily="34" charset="0"/>
                <a:cs typeface="Arial" panose="020B0604020202020204" pitchFamily="34" charset="0"/>
              </a:rPr>
              <a:t>()  </a:t>
            </a:r>
            <a:r>
              <a:rPr lang="en-US" sz="1700" dirty="0">
                <a:solidFill>
                  <a:schemeClr val="accent2">
                    <a:lumMod val="75000"/>
                  </a:schemeClr>
                </a:solidFill>
              </a:rPr>
              <a:t>// Wait for the computation to terminate</a:t>
            </a:r>
            <a:endParaRPr lang="en-US" sz="1700" dirty="0" smtClean="0">
              <a:ln>
                <a:solidFill>
                  <a:srgbClr val="FFFFFF">
                    <a:alpha val="0"/>
                  </a:srgbClr>
                </a:solidFill>
              </a:ln>
              <a:solidFill>
                <a:schemeClr val="accent2">
                  <a:lumMod val="75000"/>
                </a:schemeClr>
              </a:solidFill>
            </a:endParaRPr>
          </a:p>
        </p:txBody>
      </p:sp>
      <p:sp>
        <p:nvSpPr>
          <p:cNvPr id="11" name="TextBox 10"/>
          <p:cNvSpPr txBox="1"/>
          <p:nvPr/>
        </p:nvSpPr>
        <p:spPr>
          <a:xfrm>
            <a:off x="8055429" y="1385539"/>
            <a:ext cx="3867021" cy="4862870"/>
          </a:xfrm>
          <a:prstGeom prst="rect">
            <a:avLst/>
          </a:prstGeom>
          <a:solidFill>
            <a:schemeClr val="bg1"/>
          </a:solidFill>
          <a:ln>
            <a:solidFill>
              <a:schemeClr val="bg1">
                <a:lumMod val="85000"/>
              </a:schemeClr>
            </a:solidFill>
          </a:ln>
        </p:spPr>
        <p:txBody>
          <a:bodyPr wrap="square">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2"/>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lvl="1">
              <a:spcBef>
                <a:spcPts val="600"/>
              </a:spcBef>
            </a:pPr>
            <a:r>
              <a:rPr lang="en-US" sz="2000" dirty="0" smtClean="0"/>
              <a:t>This scala program prints out the frequency of words in an incoming text stream.</a:t>
            </a:r>
            <a:endParaRPr lang="en-US" sz="2000" i="1" dirty="0" smtClean="0"/>
          </a:p>
          <a:p>
            <a:pPr lvl="1">
              <a:spcBef>
                <a:spcPts val="600"/>
              </a:spcBef>
            </a:pPr>
            <a:r>
              <a:rPr lang="en-US" sz="2000" dirty="0" smtClean="0"/>
              <a:t>The streams from a socketinput and prints the result to the console</a:t>
            </a:r>
          </a:p>
          <a:p>
            <a:pPr lvl="1">
              <a:spcBef>
                <a:spcPts val="600"/>
              </a:spcBef>
            </a:pPr>
            <a:r>
              <a:rPr lang="en-US" sz="2000" dirty="0" smtClean="0"/>
              <a:t>Note that the frequency is counted for each batch</a:t>
            </a:r>
          </a:p>
          <a:p>
            <a:pPr lvl="1">
              <a:spcBef>
                <a:spcPts val="600"/>
              </a:spcBef>
            </a:pPr>
            <a:r>
              <a:rPr lang="en-US" sz="2000" dirty="0" smtClean="0">
                <a:solidFill>
                  <a:schemeClr val="accent1"/>
                </a:solidFill>
              </a:rPr>
              <a:t>flatMap</a:t>
            </a:r>
            <a:r>
              <a:rPr lang="en-US" sz="2000" dirty="0" smtClean="0"/>
              <a:t> is similar </a:t>
            </a:r>
            <a:r>
              <a:rPr lang="en-US" sz="2000" dirty="0"/>
              <a:t>to map, but each input item can be mapped to 0 or more output items</a:t>
            </a:r>
            <a:r>
              <a:rPr lang="en-US" sz="2000" dirty="0" smtClean="0"/>
              <a:t>.</a:t>
            </a:r>
          </a:p>
          <a:p>
            <a:pPr lvl="1">
              <a:spcBef>
                <a:spcPts val="600"/>
              </a:spcBef>
            </a:pPr>
            <a:r>
              <a:rPr lang="en-US" sz="2000" dirty="0" smtClean="0"/>
              <a:t>The program runs forever waiting for input until terminated</a:t>
            </a:r>
          </a:p>
        </p:txBody>
      </p:sp>
    </p:spTree>
    <p:extLst>
      <p:ext uri="{BB962C8B-B14F-4D97-AF65-F5344CB8AC3E}">
        <p14:creationId xmlns:p14="http://schemas.microsoft.com/office/powerpoint/2010/main" val="4066295409"/>
      </p:ext>
    </p:extLst>
  </p:cSld>
  <p:clrMapOvr>
    <a:masterClrMapping/>
  </p:clrMapOvr>
  <p:transition spd="med">
    <p:fade/>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 name="Rectangle 67"/>
          <p:cNvSpPr/>
          <p:nvPr/>
        </p:nvSpPr>
        <p:spPr bwMode="auto">
          <a:xfrm>
            <a:off x="726283" y="3084412"/>
            <a:ext cx="10759592" cy="3301375"/>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smtClean="0">
              <a:solidFill>
                <a:schemeClr val="bg1"/>
              </a:solidFill>
              <a:latin typeface="+mj-lt"/>
              <a:ea typeface="Segoe UI" pitchFamily="34" charset="0"/>
              <a:cs typeface="Segoe UI" pitchFamily="34" charset="0"/>
            </a:endParaRPr>
          </a:p>
        </p:txBody>
      </p:sp>
      <p:cxnSp>
        <p:nvCxnSpPr>
          <p:cNvPr id="25" name="Straight Arrow Connector 24"/>
          <p:cNvCxnSpPr/>
          <p:nvPr/>
        </p:nvCxnSpPr>
        <p:spPr>
          <a:xfrm>
            <a:off x="1265874" y="4085939"/>
            <a:ext cx="9971314" cy="0"/>
          </a:xfrm>
          <a:prstGeom prst="straightConnector1">
            <a:avLst/>
          </a:prstGeom>
          <a:ln w="57150">
            <a:solidFill>
              <a:schemeClr val="bg1">
                <a:lumMod val="95000"/>
              </a:schemeClr>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p:txBody>
          <a:bodyPr/>
          <a:lstStyle/>
          <a:p>
            <a:r>
              <a:rPr lang="en-US" dirty="0" smtClean="0"/>
              <a:t>Windowing in Spark</a:t>
            </a:r>
            <a:endParaRPr lang="en-US" dirty="0"/>
          </a:p>
        </p:txBody>
      </p:sp>
      <p:sp>
        <p:nvSpPr>
          <p:cNvPr id="3" name="Slide Number Placeholder 2"/>
          <p:cNvSpPr>
            <a:spLocks noGrp="1"/>
          </p:cNvSpPr>
          <p:nvPr>
            <p:ph type="sldNum" sz="quarter" idx="11"/>
          </p:nvPr>
        </p:nvSpPr>
        <p:spPr/>
        <p:txBody>
          <a:bodyPr/>
          <a:lstStyle/>
          <a:p>
            <a:pPr>
              <a:defRPr/>
            </a:pPr>
            <a:fld id="{F8A0AC42-AA1D-4944-8D96-660DE70C7E1B}" type="slidenum">
              <a:rPr lang="en-US" smtClean="0"/>
              <a:pPr>
                <a:defRPr/>
              </a:pPr>
              <a:t>36</a:t>
            </a:fld>
            <a:endParaRPr lang="en-US" dirty="0"/>
          </a:p>
        </p:txBody>
      </p:sp>
      <p:sp>
        <p:nvSpPr>
          <p:cNvPr id="4" name="TextBox 3"/>
          <p:cNvSpPr txBox="1"/>
          <p:nvPr/>
        </p:nvSpPr>
        <p:spPr>
          <a:xfrm>
            <a:off x="292679" y="1723173"/>
            <a:ext cx="11074486" cy="369332"/>
          </a:xfrm>
          <a:prstGeom prst="rect">
            <a:avLst/>
          </a:prstGeom>
          <a:solidFill>
            <a:schemeClr val="bg1"/>
          </a:solidFill>
          <a:ln>
            <a:noFill/>
          </a:ln>
        </p:spPr>
        <p:txBody>
          <a:bodyPr wrap="square">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lvl="1">
              <a:spcBef>
                <a:spcPts val="600"/>
              </a:spcBef>
            </a:pPr>
            <a:endParaRPr lang="en-US" sz="2000" dirty="0">
              <a:ln>
                <a:solidFill>
                  <a:srgbClr val="FFFFFF">
                    <a:alpha val="0"/>
                  </a:srgbClr>
                </a:solidFill>
              </a:ln>
              <a:gradFill>
                <a:gsLst>
                  <a:gs pos="85321">
                    <a:srgbClr val="505050"/>
                  </a:gs>
                  <a:gs pos="57000">
                    <a:srgbClr val="505050"/>
                  </a:gs>
                </a:gsLst>
              </a:gradFill>
              <a:ea typeface="Segoe UI" pitchFamily="34" charset="0"/>
              <a:cs typeface="Segoe UI" pitchFamily="34" charset="0"/>
            </a:endParaRPr>
          </a:p>
        </p:txBody>
      </p:sp>
      <p:sp>
        <p:nvSpPr>
          <p:cNvPr id="5" name="TextBox 4"/>
          <p:cNvSpPr txBox="1"/>
          <p:nvPr/>
        </p:nvSpPr>
        <p:spPr>
          <a:xfrm>
            <a:off x="331780" y="1294236"/>
            <a:ext cx="11397802" cy="1785104"/>
          </a:xfrm>
          <a:prstGeom prst="rect">
            <a:avLst/>
          </a:prstGeom>
          <a:solidFill>
            <a:schemeClr val="bg1"/>
          </a:solidFill>
          <a:ln>
            <a:noFill/>
          </a:ln>
        </p:spPr>
        <p:txBody>
          <a:bodyPr wrap="square">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lvl="1">
              <a:spcBef>
                <a:spcPts val="600"/>
              </a:spcBef>
            </a:pPr>
            <a:r>
              <a:rPr lang="en-US" sz="2000" dirty="0" smtClean="0"/>
              <a:t>Spark provides a set of transformation that apply to a </a:t>
            </a:r>
            <a:r>
              <a:rPr lang="en-US" sz="2000" i="1" dirty="0" smtClean="0"/>
              <a:t>sliding window </a:t>
            </a:r>
            <a:r>
              <a:rPr lang="en-US" sz="2000" dirty="0" smtClean="0"/>
              <a:t>of data</a:t>
            </a:r>
          </a:p>
          <a:p>
            <a:pPr lvl="1">
              <a:spcBef>
                <a:spcPts val="600"/>
              </a:spcBef>
              <a:spcAft>
                <a:spcPts val="0"/>
              </a:spcAft>
            </a:pPr>
            <a:r>
              <a:rPr lang="en-US" sz="2000" dirty="0" smtClean="0"/>
              <a:t>A window is defined by two parameters:</a:t>
            </a:r>
          </a:p>
          <a:p>
            <a:pPr marL="1257300" lvl="2" indent="-342900">
              <a:buFont typeface="Arial" panose="020B0604020202020204" pitchFamily="34" charset="0"/>
              <a:buChar char="•"/>
            </a:pPr>
            <a:r>
              <a:rPr lang="en-US" i="1" dirty="0">
                <a:ln>
                  <a:solidFill>
                    <a:srgbClr val="FFFFFF">
                      <a:alpha val="0"/>
                    </a:srgbClr>
                  </a:solidFill>
                </a:ln>
                <a:gradFill>
                  <a:gsLst>
                    <a:gs pos="85321">
                      <a:srgbClr val="505050"/>
                    </a:gs>
                    <a:gs pos="57000">
                      <a:srgbClr val="505050"/>
                    </a:gs>
                  </a:gsLst>
                </a:gradFill>
                <a:ea typeface="Segoe UI" pitchFamily="34" charset="0"/>
                <a:cs typeface="Segoe UI" pitchFamily="34" charset="0"/>
              </a:rPr>
              <a:t>Window Length</a:t>
            </a:r>
            <a:r>
              <a:rPr lang="en-US" dirty="0">
                <a:ln>
                  <a:solidFill>
                    <a:srgbClr val="FFFFFF">
                      <a:alpha val="0"/>
                    </a:srgbClr>
                  </a:solidFill>
                </a:ln>
                <a:gradFill>
                  <a:gsLst>
                    <a:gs pos="85321">
                      <a:srgbClr val="505050"/>
                    </a:gs>
                    <a:gs pos="57000">
                      <a:srgbClr val="505050"/>
                    </a:gs>
                  </a:gsLst>
                </a:gradFill>
                <a:ea typeface="Segoe UI" pitchFamily="34" charset="0"/>
                <a:cs typeface="Segoe UI" pitchFamily="34" charset="0"/>
              </a:rPr>
              <a:t>: The duration of the window</a:t>
            </a:r>
          </a:p>
          <a:p>
            <a:pPr marL="1257300" lvl="2" indent="-342900">
              <a:spcBef>
                <a:spcPts val="600"/>
              </a:spcBef>
              <a:buFont typeface="Arial" panose="020B0604020202020204" pitchFamily="34" charset="0"/>
              <a:buChar char="•"/>
            </a:pPr>
            <a:r>
              <a:rPr lang="en-US" i="1" dirty="0">
                <a:ln>
                  <a:solidFill>
                    <a:srgbClr val="FFFFFF">
                      <a:alpha val="0"/>
                    </a:srgbClr>
                  </a:solidFill>
                </a:ln>
                <a:gradFill>
                  <a:gsLst>
                    <a:gs pos="85321">
                      <a:srgbClr val="505050"/>
                    </a:gs>
                    <a:gs pos="57000">
                      <a:srgbClr val="505050"/>
                    </a:gs>
                  </a:gsLst>
                </a:gradFill>
                <a:ea typeface="Segoe UI" pitchFamily="34" charset="0"/>
                <a:cs typeface="Segoe UI" pitchFamily="34" charset="0"/>
              </a:rPr>
              <a:t>Slide interval: </a:t>
            </a:r>
            <a:r>
              <a:rPr lang="en-US" i="1" dirty="0" smtClean="0">
                <a:ln>
                  <a:solidFill>
                    <a:srgbClr val="FFFFFF">
                      <a:alpha val="0"/>
                    </a:srgbClr>
                  </a:solidFill>
                </a:ln>
                <a:gradFill>
                  <a:gsLst>
                    <a:gs pos="85321">
                      <a:srgbClr val="505050"/>
                    </a:gs>
                    <a:gs pos="57000">
                      <a:srgbClr val="505050"/>
                    </a:gs>
                  </a:gsLst>
                </a:gradFill>
                <a:ea typeface="Segoe UI" pitchFamily="34" charset="0"/>
                <a:cs typeface="Segoe UI" pitchFamily="34" charset="0"/>
              </a:rPr>
              <a:t>    </a:t>
            </a:r>
            <a:r>
              <a:rPr lang="en-US" dirty="0" smtClean="0">
                <a:ln>
                  <a:solidFill>
                    <a:srgbClr val="FFFFFF">
                      <a:alpha val="0"/>
                    </a:srgbClr>
                  </a:solidFill>
                </a:ln>
                <a:gradFill>
                  <a:gsLst>
                    <a:gs pos="85321">
                      <a:srgbClr val="505050"/>
                    </a:gs>
                    <a:gs pos="57000">
                      <a:srgbClr val="505050"/>
                    </a:gs>
                  </a:gsLst>
                </a:gradFill>
                <a:ea typeface="Segoe UI" pitchFamily="34" charset="0"/>
                <a:cs typeface="Segoe UI" pitchFamily="34" charset="0"/>
              </a:rPr>
              <a:t>The </a:t>
            </a:r>
            <a:r>
              <a:rPr lang="en-US" dirty="0">
                <a:ln>
                  <a:solidFill>
                    <a:srgbClr val="FFFFFF">
                      <a:alpha val="0"/>
                    </a:srgbClr>
                  </a:solidFill>
                </a:ln>
                <a:gradFill>
                  <a:gsLst>
                    <a:gs pos="85321">
                      <a:srgbClr val="505050"/>
                    </a:gs>
                    <a:gs pos="57000">
                      <a:srgbClr val="505050"/>
                    </a:gs>
                  </a:gsLst>
                </a:gradFill>
                <a:ea typeface="Segoe UI" pitchFamily="34" charset="0"/>
                <a:cs typeface="Segoe UI" pitchFamily="34" charset="0"/>
              </a:rPr>
              <a:t>interval at which the window-based </a:t>
            </a:r>
            <a:r>
              <a:rPr lang="en-US" dirty="0" smtClean="0">
                <a:ln>
                  <a:solidFill>
                    <a:srgbClr val="FFFFFF">
                      <a:alpha val="0"/>
                    </a:srgbClr>
                  </a:solidFill>
                </a:ln>
                <a:gradFill>
                  <a:gsLst>
                    <a:gs pos="85321">
                      <a:srgbClr val="505050"/>
                    </a:gs>
                    <a:gs pos="57000">
                      <a:srgbClr val="505050"/>
                    </a:gs>
                  </a:gsLst>
                </a:gradFill>
                <a:ea typeface="Segoe UI" pitchFamily="34" charset="0"/>
                <a:cs typeface="Segoe UI" pitchFamily="34" charset="0"/>
              </a:rPr>
              <a:t>operation is performed</a:t>
            </a:r>
          </a:p>
          <a:p>
            <a:pPr lvl="1">
              <a:spcBef>
                <a:spcPts val="600"/>
              </a:spcBef>
            </a:pPr>
            <a:r>
              <a:rPr lang="en-US" sz="2000" dirty="0" smtClean="0"/>
              <a:t>Figure below shows window with length = 8 secs and slide interval = 4 secs</a:t>
            </a:r>
            <a:endParaRPr lang="en-US" sz="2000" dirty="0"/>
          </a:p>
        </p:txBody>
      </p:sp>
      <p:sp>
        <p:nvSpPr>
          <p:cNvPr id="6" name="Rectangle 5"/>
          <p:cNvSpPr/>
          <p:nvPr/>
        </p:nvSpPr>
        <p:spPr bwMode="auto">
          <a:xfrm>
            <a:off x="1229593" y="4252247"/>
            <a:ext cx="464457" cy="36285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smtClean="0">
              <a:solidFill>
                <a:schemeClr val="bg1"/>
              </a:solidFill>
              <a:latin typeface="+mj-lt"/>
              <a:ea typeface="Segoe UI" pitchFamily="34" charset="0"/>
              <a:cs typeface="Segoe UI" pitchFamily="34" charset="0"/>
            </a:endParaRPr>
          </a:p>
        </p:txBody>
      </p:sp>
      <p:sp>
        <p:nvSpPr>
          <p:cNvPr id="7" name="Rectangle 6"/>
          <p:cNvSpPr/>
          <p:nvPr/>
        </p:nvSpPr>
        <p:spPr bwMode="auto">
          <a:xfrm>
            <a:off x="1969811" y="4252247"/>
            <a:ext cx="464457" cy="36285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smtClean="0">
              <a:solidFill>
                <a:schemeClr val="bg1"/>
              </a:solidFill>
              <a:latin typeface="+mj-lt"/>
              <a:ea typeface="Segoe UI" pitchFamily="34" charset="0"/>
              <a:cs typeface="Segoe UI" pitchFamily="34" charset="0"/>
            </a:endParaRPr>
          </a:p>
        </p:txBody>
      </p:sp>
      <p:sp>
        <p:nvSpPr>
          <p:cNvPr id="9" name="Rectangle 8"/>
          <p:cNvSpPr/>
          <p:nvPr/>
        </p:nvSpPr>
        <p:spPr bwMode="auto">
          <a:xfrm>
            <a:off x="2695536" y="4252247"/>
            <a:ext cx="464457" cy="36285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smtClean="0">
              <a:solidFill>
                <a:schemeClr val="bg1"/>
              </a:solidFill>
              <a:latin typeface="+mj-lt"/>
              <a:ea typeface="Segoe UI" pitchFamily="34" charset="0"/>
              <a:cs typeface="Segoe UI" pitchFamily="34" charset="0"/>
            </a:endParaRPr>
          </a:p>
        </p:txBody>
      </p:sp>
      <p:sp>
        <p:nvSpPr>
          <p:cNvPr id="10" name="Rectangle 9"/>
          <p:cNvSpPr/>
          <p:nvPr/>
        </p:nvSpPr>
        <p:spPr bwMode="auto">
          <a:xfrm>
            <a:off x="3392217" y="4252247"/>
            <a:ext cx="464457" cy="36285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smtClean="0">
              <a:solidFill>
                <a:schemeClr val="bg1"/>
              </a:solidFill>
              <a:latin typeface="+mj-lt"/>
              <a:ea typeface="Segoe UI" pitchFamily="34" charset="0"/>
              <a:cs typeface="Segoe UI" pitchFamily="34" charset="0"/>
            </a:endParaRPr>
          </a:p>
        </p:txBody>
      </p:sp>
      <p:sp>
        <p:nvSpPr>
          <p:cNvPr id="11" name="Rectangle 10"/>
          <p:cNvSpPr/>
          <p:nvPr/>
        </p:nvSpPr>
        <p:spPr bwMode="auto">
          <a:xfrm>
            <a:off x="4103414" y="4252247"/>
            <a:ext cx="464457" cy="36285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smtClean="0">
              <a:solidFill>
                <a:schemeClr val="bg1"/>
              </a:solidFill>
              <a:latin typeface="+mj-lt"/>
              <a:ea typeface="Segoe UI" pitchFamily="34" charset="0"/>
              <a:cs typeface="Segoe UI" pitchFamily="34" charset="0"/>
            </a:endParaRPr>
          </a:p>
        </p:txBody>
      </p:sp>
      <p:sp>
        <p:nvSpPr>
          <p:cNvPr id="26" name="Rectangle 25"/>
          <p:cNvSpPr/>
          <p:nvPr/>
        </p:nvSpPr>
        <p:spPr bwMode="auto">
          <a:xfrm>
            <a:off x="4836397" y="4252247"/>
            <a:ext cx="464457" cy="36285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smtClean="0">
              <a:solidFill>
                <a:schemeClr val="bg1"/>
              </a:solidFill>
              <a:latin typeface="+mj-lt"/>
              <a:ea typeface="Segoe UI" pitchFamily="34" charset="0"/>
              <a:cs typeface="Segoe UI" pitchFamily="34" charset="0"/>
            </a:endParaRPr>
          </a:p>
        </p:txBody>
      </p:sp>
      <p:sp>
        <p:nvSpPr>
          <p:cNvPr id="27" name="Rectangle 26"/>
          <p:cNvSpPr/>
          <p:nvPr/>
        </p:nvSpPr>
        <p:spPr bwMode="auto">
          <a:xfrm>
            <a:off x="5576615" y="4252247"/>
            <a:ext cx="464457" cy="36285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smtClean="0">
              <a:solidFill>
                <a:schemeClr val="bg1"/>
              </a:solidFill>
              <a:latin typeface="+mj-lt"/>
              <a:ea typeface="Segoe UI" pitchFamily="34" charset="0"/>
              <a:cs typeface="Segoe UI" pitchFamily="34" charset="0"/>
            </a:endParaRPr>
          </a:p>
        </p:txBody>
      </p:sp>
      <p:sp>
        <p:nvSpPr>
          <p:cNvPr id="28" name="Rectangle 27"/>
          <p:cNvSpPr/>
          <p:nvPr/>
        </p:nvSpPr>
        <p:spPr bwMode="auto">
          <a:xfrm>
            <a:off x="6345882" y="4252247"/>
            <a:ext cx="464457" cy="36285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smtClean="0">
              <a:solidFill>
                <a:schemeClr val="bg1"/>
              </a:solidFill>
              <a:latin typeface="+mj-lt"/>
              <a:ea typeface="Segoe UI" pitchFamily="34" charset="0"/>
              <a:cs typeface="Segoe UI" pitchFamily="34" charset="0"/>
            </a:endParaRPr>
          </a:p>
        </p:txBody>
      </p:sp>
      <p:sp>
        <p:nvSpPr>
          <p:cNvPr id="29" name="Rectangle 28"/>
          <p:cNvSpPr/>
          <p:nvPr/>
        </p:nvSpPr>
        <p:spPr bwMode="auto">
          <a:xfrm>
            <a:off x="7042563" y="4252247"/>
            <a:ext cx="464457" cy="36285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smtClean="0">
              <a:solidFill>
                <a:schemeClr val="bg1"/>
              </a:solidFill>
              <a:latin typeface="+mj-lt"/>
              <a:ea typeface="Segoe UI" pitchFamily="34" charset="0"/>
              <a:cs typeface="Segoe UI" pitchFamily="34" charset="0"/>
            </a:endParaRPr>
          </a:p>
        </p:txBody>
      </p:sp>
      <p:sp>
        <p:nvSpPr>
          <p:cNvPr id="30" name="Rectangle 29"/>
          <p:cNvSpPr/>
          <p:nvPr/>
        </p:nvSpPr>
        <p:spPr bwMode="auto">
          <a:xfrm>
            <a:off x="7753760" y="4252247"/>
            <a:ext cx="464457" cy="36285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smtClean="0">
              <a:solidFill>
                <a:schemeClr val="bg1"/>
              </a:solidFill>
              <a:latin typeface="+mj-lt"/>
              <a:ea typeface="Segoe UI" pitchFamily="34" charset="0"/>
              <a:cs typeface="Segoe UI" pitchFamily="34" charset="0"/>
            </a:endParaRPr>
          </a:p>
        </p:txBody>
      </p:sp>
      <p:sp>
        <p:nvSpPr>
          <p:cNvPr id="31" name="Rectangle 30"/>
          <p:cNvSpPr/>
          <p:nvPr/>
        </p:nvSpPr>
        <p:spPr bwMode="auto">
          <a:xfrm>
            <a:off x="8392399" y="4252247"/>
            <a:ext cx="464457" cy="36285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smtClean="0">
              <a:solidFill>
                <a:schemeClr val="bg1"/>
              </a:solidFill>
              <a:latin typeface="+mj-lt"/>
              <a:ea typeface="Segoe UI" pitchFamily="34" charset="0"/>
              <a:cs typeface="Segoe UI" pitchFamily="34" charset="0"/>
            </a:endParaRPr>
          </a:p>
        </p:txBody>
      </p:sp>
      <p:sp>
        <p:nvSpPr>
          <p:cNvPr id="32" name="Rectangle 31"/>
          <p:cNvSpPr/>
          <p:nvPr/>
        </p:nvSpPr>
        <p:spPr bwMode="auto">
          <a:xfrm>
            <a:off x="9125355" y="4252247"/>
            <a:ext cx="464457" cy="36285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smtClean="0">
              <a:solidFill>
                <a:schemeClr val="bg1"/>
              </a:solidFill>
              <a:latin typeface="+mj-lt"/>
              <a:ea typeface="Segoe UI" pitchFamily="34" charset="0"/>
              <a:cs typeface="Segoe UI" pitchFamily="34" charset="0"/>
            </a:endParaRPr>
          </a:p>
        </p:txBody>
      </p:sp>
      <p:sp>
        <p:nvSpPr>
          <p:cNvPr id="36" name="TextBox 35"/>
          <p:cNvSpPr txBox="1"/>
          <p:nvPr/>
        </p:nvSpPr>
        <p:spPr>
          <a:xfrm>
            <a:off x="1265874" y="3915068"/>
            <a:ext cx="391894" cy="341742"/>
          </a:xfrm>
          <a:prstGeom prst="rect">
            <a:avLst/>
          </a:prstGeom>
          <a:noFill/>
        </p:spPr>
        <p:txBody>
          <a:bodyPr wrap="none" lIns="182880" tIns="146304" rIns="182880" bIns="146304" rtlCol="0" anchor="ctr">
            <a:noAutofit/>
          </a:bodyPr>
          <a:lstStyle/>
          <a:p>
            <a:pPr algn="ctr">
              <a:lnSpc>
                <a:spcPct val="90000"/>
              </a:lnSpc>
              <a:spcAft>
                <a:spcPts val="600"/>
              </a:spcAft>
            </a:pPr>
            <a:r>
              <a:rPr lang="en-US" sz="1600" dirty="0">
                <a:solidFill>
                  <a:schemeClr val="tx1">
                    <a:lumMod val="75000"/>
                    <a:lumOff val="25000"/>
                  </a:schemeClr>
                </a:solidFill>
              </a:rPr>
              <a:t>1</a:t>
            </a:r>
            <a:endParaRPr lang="en-US" sz="1600" dirty="0" smtClean="0">
              <a:solidFill>
                <a:schemeClr val="tx1">
                  <a:lumMod val="75000"/>
                  <a:lumOff val="25000"/>
                </a:schemeClr>
              </a:solidFill>
            </a:endParaRPr>
          </a:p>
        </p:txBody>
      </p:sp>
      <p:sp>
        <p:nvSpPr>
          <p:cNvPr id="37" name="TextBox 36"/>
          <p:cNvSpPr txBox="1"/>
          <p:nvPr/>
        </p:nvSpPr>
        <p:spPr>
          <a:xfrm>
            <a:off x="2006092" y="3915068"/>
            <a:ext cx="391894" cy="341742"/>
          </a:xfrm>
          <a:prstGeom prst="rect">
            <a:avLst/>
          </a:prstGeom>
          <a:noFill/>
        </p:spPr>
        <p:txBody>
          <a:bodyPr wrap="none" lIns="182880" tIns="146304" rIns="182880" bIns="146304" rtlCol="0" anchor="ctr">
            <a:noAutofit/>
          </a:bodyPr>
          <a:lstStyle/>
          <a:p>
            <a:pPr algn="ctr">
              <a:lnSpc>
                <a:spcPct val="90000"/>
              </a:lnSpc>
              <a:spcAft>
                <a:spcPts val="600"/>
              </a:spcAft>
            </a:pPr>
            <a:r>
              <a:rPr lang="en-US" sz="1600" dirty="0">
                <a:solidFill>
                  <a:schemeClr val="tx1">
                    <a:lumMod val="75000"/>
                    <a:lumOff val="25000"/>
                  </a:schemeClr>
                </a:solidFill>
              </a:rPr>
              <a:t>2</a:t>
            </a:r>
            <a:endParaRPr lang="en-US" sz="1600" dirty="0" smtClean="0">
              <a:solidFill>
                <a:schemeClr val="tx1">
                  <a:lumMod val="75000"/>
                  <a:lumOff val="25000"/>
                </a:schemeClr>
              </a:solidFill>
            </a:endParaRPr>
          </a:p>
        </p:txBody>
      </p:sp>
      <p:sp>
        <p:nvSpPr>
          <p:cNvPr id="38" name="TextBox 37"/>
          <p:cNvSpPr txBox="1"/>
          <p:nvPr/>
        </p:nvSpPr>
        <p:spPr>
          <a:xfrm>
            <a:off x="2731817" y="3915068"/>
            <a:ext cx="391894" cy="341742"/>
          </a:xfrm>
          <a:prstGeom prst="rect">
            <a:avLst/>
          </a:prstGeom>
          <a:noFill/>
        </p:spPr>
        <p:txBody>
          <a:bodyPr wrap="none" lIns="182880" tIns="146304" rIns="182880" bIns="146304" rtlCol="0" anchor="ctr">
            <a:noAutofit/>
          </a:bodyPr>
          <a:lstStyle/>
          <a:p>
            <a:pPr algn="ctr">
              <a:lnSpc>
                <a:spcPct val="90000"/>
              </a:lnSpc>
              <a:spcAft>
                <a:spcPts val="600"/>
              </a:spcAft>
            </a:pPr>
            <a:r>
              <a:rPr lang="en-US" sz="1600" dirty="0">
                <a:solidFill>
                  <a:schemeClr val="tx1">
                    <a:lumMod val="75000"/>
                    <a:lumOff val="25000"/>
                  </a:schemeClr>
                </a:solidFill>
              </a:rPr>
              <a:t>3</a:t>
            </a:r>
            <a:endParaRPr lang="en-US" sz="1600" dirty="0" smtClean="0">
              <a:solidFill>
                <a:schemeClr val="tx1">
                  <a:lumMod val="75000"/>
                  <a:lumOff val="25000"/>
                </a:schemeClr>
              </a:solidFill>
            </a:endParaRPr>
          </a:p>
        </p:txBody>
      </p:sp>
      <p:sp>
        <p:nvSpPr>
          <p:cNvPr id="39" name="TextBox 38"/>
          <p:cNvSpPr txBox="1"/>
          <p:nvPr/>
        </p:nvSpPr>
        <p:spPr>
          <a:xfrm>
            <a:off x="3428498" y="3915068"/>
            <a:ext cx="391894" cy="341742"/>
          </a:xfrm>
          <a:prstGeom prst="rect">
            <a:avLst/>
          </a:prstGeom>
          <a:noFill/>
        </p:spPr>
        <p:txBody>
          <a:bodyPr wrap="none" lIns="182880" tIns="146304" rIns="182880" bIns="146304" rtlCol="0" anchor="ctr">
            <a:noAutofit/>
          </a:bodyPr>
          <a:lstStyle/>
          <a:p>
            <a:pPr algn="ctr">
              <a:lnSpc>
                <a:spcPct val="90000"/>
              </a:lnSpc>
              <a:spcAft>
                <a:spcPts val="600"/>
              </a:spcAft>
            </a:pPr>
            <a:r>
              <a:rPr lang="en-US" sz="1600" dirty="0">
                <a:solidFill>
                  <a:schemeClr val="tx1">
                    <a:lumMod val="75000"/>
                    <a:lumOff val="25000"/>
                  </a:schemeClr>
                </a:solidFill>
              </a:rPr>
              <a:t>4</a:t>
            </a:r>
            <a:endParaRPr lang="en-US" sz="1600" dirty="0" smtClean="0">
              <a:solidFill>
                <a:schemeClr val="tx1">
                  <a:lumMod val="75000"/>
                  <a:lumOff val="25000"/>
                </a:schemeClr>
              </a:solidFill>
            </a:endParaRPr>
          </a:p>
        </p:txBody>
      </p:sp>
      <p:sp>
        <p:nvSpPr>
          <p:cNvPr id="40" name="TextBox 39"/>
          <p:cNvSpPr txBox="1"/>
          <p:nvPr/>
        </p:nvSpPr>
        <p:spPr>
          <a:xfrm>
            <a:off x="4139695" y="3915068"/>
            <a:ext cx="391894" cy="341742"/>
          </a:xfrm>
          <a:prstGeom prst="rect">
            <a:avLst/>
          </a:prstGeom>
          <a:noFill/>
        </p:spPr>
        <p:txBody>
          <a:bodyPr wrap="none" lIns="182880" tIns="146304" rIns="182880" bIns="146304" rtlCol="0" anchor="ctr">
            <a:noAutofit/>
          </a:bodyPr>
          <a:lstStyle/>
          <a:p>
            <a:pPr algn="ctr">
              <a:lnSpc>
                <a:spcPct val="90000"/>
              </a:lnSpc>
              <a:spcAft>
                <a:spcPts val="600"/>
              </a:spcAft>
            </a:pPr>
            <a:r>
              <a:rPr lang="en-US" sz="1600" dirty="0">
                <a:solidFill>
                  <a:schemeClr val="tx1">
                    <a:lumMod val="75000"/>
                    <a:lumOff val="25000"/>
                  </a:schemeClr>
                </a:solidFill>
              </a:rPr>
              <a:t>5</a:t>
            </a:r>
            <a:endParaRPr lang="en-US" sz="1600" dirty="0" smtClean="0">
              <a:solidFill>
                <a:schemeClr val="tx1">
                  <a:lumMod val="75000"/>
                  <a:lumOff val="25000"/>
                </a:schemeClr>
              </a:solidFill>
            </a:endParaRPr>
          </a:p>
        </p:txBody>
      </p:sp>
      <p:sp>
        <p:nvSpPr>
          <p:cNvPr id="41" name="TextBox 40"/>
          <p:cNvSpPr txBox="1"/>
          <p:nvPr/>
        </p:nvSpPr>
        <p:spPr>
          <a:xfrm>
            <a:off x="4872678" y="3915068"/>
            <a:ext cx="391894" cy="341742"/>
          </a:xfrm>
          <a:prstGeom prst="rect">
            <a:avLst/>
          </a:prstGeom>
          <a:noFill/>
        </p:spPr>
        <p:txBody>
          <a:bodyPr wrap="none" lIns="182880" tIns="146304" rIns="182880" bIns="146304" rtlCol="0" anchor="ctr">
            <a:noAutofit/>
          </a:bodyPr>
          <a:lstStyle/>
          <a:p>
            <a:pPr algn="ctr">
              <a:lnSpc>
                <a:spcPct val="90000"/>
              </a:lnSpc>
              <a:spcAft>
                <a:spcPts val="600"/>
              </a:spcAft>
            </a:pPr>
            <a:r>
              <a:rPr lang="en-US" sz="1600" dirty="0">
                <a:solidFill>
                  <a:schemeClr val="tx1">
                    <a:lumMod val="75000"/>
                    <a:lumOff val="25000"/>
                  </a:schemeClr>
                </a:solidFill>
              </a:rPr>
              <a:t>6</a:t>
            </a:r>
            <a:endParaRPr lang="en-US" sz="1600" dirty="0" smtClean="0">
              <a:solidFill>
                <a:schemeClr val="tx1">
                  <a:lumMod val="75000"/>
                  <a:lumOff val="25000"/>
                </a:schemeClr>
              </a:solidFill>
            </a:endParaRPr>
          </a:p>
        </p:txBody>
      </p:sp>
      <p:sp>
        <p:nvSpPr>
          <p:cNvPr id="42" name="TextBox 41"/>
          <p:cNvSpPr txBox="1"/>
          <p:nvPr/>
        </p:nvSpPr>
        <p:spPr>
          <a:xfrm>
            <a:off x="5612896" y="3915068"/>
            <a:ext cx="391894" cy="341742"/>
          </a:xfrm>
          <a:prstGeom prst="rect">
            <a:avLst/>
          </a:prstGeom>
          <a:noFill/>
        </p:spPr>
        <p:txBody>
          <a:bodyPr wrap="none" lIns="182880" tIns="146304" rIns="182880" bIns="146304" rtlCol="0" anchor="ctr">
            <a:noAutofit/>
          </a:bodyPr>
          <a:lstStyle/>
          <a:p>
            <a:pPr algn="ctr">
              <a:lnSpc>
                <a:spcPct val="90000"/>
              </a:lnSpc>
              <a:spcAft>
                <a:spcPts val="600"/>
              </a:spcAft>
            </a:pPr>
            <a:r>
              <a:rPr lang="en-US" sz="1600" dirty="0">
                <a:solidFill>
                  <a:schemeClr val="tx1">
                    <a:lumMod val="75000"/>
                    <a:lumOff val="25000"/>
                  </a:schemeClr>
                </a:solidFill>
              </a:rPr>
              <a:t>7</a:t>
            </a:r>
            <a:endParaRPr lang="en-US" sz="1600" dirty="0" smtClean="0">
              <a:solidFill>
                <a:schemeClr val="tx1">
                  <a:lumMod val="75000"/>
                  <a:lumOff val="25000"/>
                </a:schemeClr>
              </a:solidFill>
            </a:endParaRPr>
          </a:p>
        </p:txBody>
      </p:sp>
      <p:sp>
        <p:nvSpPr>
          <p:cNvPr id="43" name="TextBox 42"/>
          <p:cNvSpPr txBox="1"/>
          <p:nvPr/>
        </p:nvSpPr>
        <p:spPr>
          <a:xfrm>
            <a:off x="6382163" y="3915068"/>
            <a:ext cx="391894" cy="341742"/>
          </a:xfrm>
          <a:prstGeom prst="rect">
            <a:avLst/>
          </a:prstGeom>
          <a:noFill/>
        </p:spPr>
        <p:txBody>
          <a:bodyPr wrap="none" lIns="182880" tIns="146304" rIns="182880" bIns="146304" rtlCol="0" anchor="ctr">
            <a:noAutofit/>
          </a:bodyPr>
          <a:lstStyle/>
          <a:p>
            <a:pPr algn="ctr">
              <a:lnSpc>
                <a:spcPct val="90000"/>
              </a:lnSpc>
              <a:spcAft>
                <a:spcPts val="600"/>
              </a:spcAft>
            </a:pPr>
            <a:r>
              <a:rPr lang="en-US" sz="1600" dirty="0">
                <a:solidFill>
                  <a:schemeClr val="tx1">
                    <a:lumMod val="75000"/>
                    <a:lumOff val="25000"/>
                  </a:schemeClr>
                </a:solidFill>
              </a:rPr>
              <a:t>8</a:t>
            </a:r>
            <a:endParaRPr lang="en-US" sz="1600" dirty="0" smtClean="0">
              <a:solidFill>
                <a:schemeClr val="tx1">
                  <a:lumMod val="75000"/>
                  <a:lumOff val="25000"/>
                </a:schemeClr>
              </a:solidFill>
            </a:endParaRPr>
          </a:p>
        </p:txBody>
      </p:sp>
      <p:sp>
        <p:nvSpPr>
          <p:cNvPr id="44" name="TextBox 43"/>
          <p:cNvSpPr txBox="1"/>
          <p:nvPr/>
        </p:nvSpPr>
        <p:spPr>
          <a:xfrm>
            <a:off x="7078844" y="3915068"/>
            <a:ext cx="391894" cy="341742"/>
          </a:xfrm>
          <a:prstGeom prst="rect">
            <a:avLst/>
          </a:prstGeom>
          <a:noFill/>
        </p:spPr>
        <p:txBody>
          <a:bodyPr wrap="none" lIns="182880" tIns="146304" rIns="182880" bIns="146304" rtlCol="0" anchor="ctr">
            <a:noAutofit/>
          </a:bodyPr>
          <a:lstStyle/>
          <a:p>
            <a:pPr algn="ctr">
              <a:lnSpc>
                <a:spcPct val="90000"/>
              </a:lnSpc>
              <a:spcAft>
                <a:spcPts val="600"/>
              </a:spcAft>
            </a:pPr>
            <a:r>
              <a:rPr lang="en-US" sz="1600" dirty="0">
                <a:solidFill>
                  <a:schemeClr val="tx1">
                    <a:lumMod val="75000"/>
                    <a:lumOff val="25000"/>
                  </a:schemeClr>
                </a:solidFill>
              </a:rPr>
              <a:t>9</a:t>
            </a:r>
            <a:endParaRPr lang="en-US" sz="1600" dirty="0" smtClean="0">
              <a:solidFill>
                <a:schemeClr val="tx1">
                  <a:lumMod val="75000"/>
                  <a:lumOff val="25000"/>
                </a:schemeClr>
              </a:solidFill>
            </a:endParaRPr>
          </a:p>
        </p:txBody>
      </p:sp>
      <p:sp>
        <p:nvSpPr>
          <p:cNvPr id="45" name="TextBox 44"/>
          <p:cNvSpPr txBox="1"/>
          <p:nvPr/>
        </p:nvSpPr>
        <p:spPr>
          <a:xfrm>
            <a:off x="7790041" y="3915068"/>
            <a:ext cx="391894" cy="341742"/>
          </a:xfrm>
          <a:prstGeom prst="rect">
            <a:avLst/>
          </a:prstGeom>
          <a:noFill/>
        </p:spPr>
        <p:txBody>
          <a:bodyPr wrap="none" lIns="182880" tIns="146304" rIns="182880" bIns="146304" rtlCol="0" anchor="ctr">
            <a:noAutofit/>
          </a:bodyPr>
          <a:lstStyle/>
          <a:p>
            <a:pPr algn="ctr">
              <a:lnSpc>
                <a:spcPct val="90000"/>
              </a:lnSpc>
              <a:spcAft>
                <a:spcPts val="600"/>
              </a:spcAft>
            </a:pPr>
            <a:r>
              <a:rPr lang="en-US" sz="1600" dirty="0" smtClean="0">
                <a:solidFill>
                  <a:schemeClr val="tx1">
                    <a:lumMod val="75000"/>
                    <a:lumOff val="25000"/>
                  </a:schemeClr>
                </a:solidFill>
              </a:rPr>
              <a:t>10</a:t>
            </a:r>
          </a:p>
        </p:txBody>
      </p:sp>
      <p:sp>
        <p:nvSpPr>
          <p:cNvPr id="46" name="TextBox 45"/>
          <p:cNvSpPr txBox="1"/>
          <p:nvPr/>
        </p:nvSpPr>
        <p:spPr>
          <a:xfrm>
            <a:off x="8428680" y="3915068"/>
            <a:ext cx="391894" cy="341742"/>
          </a:xfrm>
          <a:prstGeom prst="rect">
            <a:avLst/>
          </a:prstGeom>
          <a:noFill/>
        </p:spPr>
        <p:txBody>
          <a:bodyPr wrap="none" lIns="182880" tIns="146304" rIns="182880" bIns="146304" rtlCol="0" anchor="ctr">
            <a:noAutofit/>
          </a:bodyPr>
          <a:lstStyle/>
          <a:p>
            <a:pPr algn="ctr">
              <a:lnSpc>
                <a:spcPct val="90000"/>
              </a:lnSpc>
              <a:spcAft>
                <a:spcPts val="600"/>
              </a:spcAft>
            </a:pPr>
            <a:r>
              <a:rPr lang="en-US" sz="1600" dirty="0" smtClean="0">
                <a:solidFill>
                  <a:schemeClr val="tx1">
                    <a:lumMod val="75000"/>
                    <a:lumOff val="25000"/>
                  </a:schemeClr>
                </a:solidFill>
              </a:rPr>
              <a:t>11</a:t>
            </a:r>
          </a:p>
        </p:txBody>
      </p:sp>
      <p:sp>
        <p:nvSpPr>
          <p:cNvPr id="47" name="TextBox 46"/>
          <p:cNvSpPr txBox="1"/>
          <p:nvPr/>
        </p:nvSpPr>
        <p:spPr>
          <a:xfrm>
            <a:off x="9161636" y="3915068"/>
            <a:ext cx="391894" cy="341742"/>
          </a:xfrm>
          <a:prstGeom prst="rect">
            <a:avLst/>
          </a:prstGeom>
          <a:noFill/>
        </p:spPr>
        <p:txBody>
          <a:bodyPr wrap="none" lIns="182880" tIns="146304" rIns="182880" bIns="146304" rtlCol="0" anchor="ctr">
            <a:noAutofit/>
          </a:bodyPr>
          <a:lstStyle/>
          <a:p>
            <a:pPr algn="ctr">
              <a:lnSpc>
                <a:spcPct val="90000"/>
              </a:lnSpc>
              <a:spcAft>
                <a:spcPts val="600"/>
              </a:spcAft>
            </a:pPr>
            <a:r>
              <a:rPr lang="en-US" sz="1600" dirty="0" smtClean="0">
                <a:solidFill>
                  <a:schemeClr val="tx1">
                    <a:lumMod val="75000"/>
                    <a:lumOff val="25000"/>
                  </a:schemeClr>
                </a:solidFill>
              </a:rPr>
              <a:t>12</a:t>
            </a:r>
          </a:p>
        </p:txBody>
      </p:sp>
      <p:sp>
        <p:nvSpPr>
          <p:cNvPr id="50" name="Rounded Rectangle 49"/>
          <p:cNvSpPr/>
          <p:nvPr/>
        </p:nvSpPr>
        <p:spPr bwMode="auto">
          <a:xfrm>
            <a:off x="1113479" y="3915068"/>
            <a:ext cx="5820229" cy="917754"/>
          </a:xfrm>
          <a:prstGeom prst="roundRect">
            <a:avLst/>
          </a:prstGeom>
          <a:noFill/>
          <a:ln w="28575">
            <a:solidFill>
              <a:schemeClr val="accent6">
                <a:lumMod val="50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smtClean="0">
              <a:solidFill>
                <a:schemeClr val="bg1"/>
              </a:solidFill>
              <a:latin typeface="+mj-lt"/>
              <a:ea typeface="Segoe UI" pitchFamily="34" charset="0"/>
              <a:cs typeface="Segoe UI" pitchFamily="34" charset="0"/>
            </a:endParaRPr>
          </a:p>
        </p:txBody>
      </p:sp>
      <p:sp>
        <p:nvSpPr>
          <p:cNvPr id="51" name="Rounded Rectangle 50"/>
          <p:cNvSpPr/>
          <p:nvPr/>
        </p:nvSpPr>
        <p:spPr bwMode="auto">
          <a:xfrm>
            <a:off x="3936503" y="3936842"/>
            <a:ext cx="5820229" cy="917754"/>
          </a:xfrm>
          <a:prstGeom prst="roundRect">
            <a:avLst/>
          </a:prstGeom>
          <a:noFill/>
          <a:ln w="28575">
            <a:solidFill>
              <a:schemeClr val="accent3"/>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smtClean="0">
              <a:solidFill>
                <a:schemeClr val="bg1"/>
              </a:solidFill>
              <a:latin typeface="+mj-lt"/>
              <a:ea typeface="Segoe UI" pitchFamily="34" charset="0"/>
              <a:cs typeface="Segoe UI" pitchFamily="34" charset="0"/>
            </a:endParaRPr>
          </a:p>
        </p:txBody>
      </p:sp>
      <p:sp>
        <p:nvSpPr>
          <p:cNvPr id="53" name="TextBox 52"/>
          <p:cNvSpPr txBox="1"/>
          <p:nvPr/>
        </p:nvSpPr>
        <p:spPr>
          <a:xfrm>
            <a:off x="1048168" y="3141210"/>
            <a:ext cx="4296229" cy="453312"/>
          </a:xfrm>
          <a:prstGeom prst="rect">
            <a:avLst/>
          </a:prstGeom>
          <a:noFill/>
        </p:spPr>
        <p:txBody>
          <a:bodyPr wrap="none" lIns="182880" tIns="146304" rIns="182880" bIns="146304" rtlCol="0" anchor="ctr">
            <a:noAutofit/>
          </a:bodyPr>
          <a:lstStyle/>
          <a:p>
            <a:pPr algn="ctr">
              <a:lnSpc>
                <a:spcPct val="90000"/>
              </a:lnSpc>
              <a:spcAft>
                <a:spcPts val="600"/>
              </a:spcAft>
            </a:pPr>
            <a:r>
              <a:rPr lang="en-US" sz="2000" dirty="0">
                <a:solidFill>
                  <a:schemeClr val="tx1">
                    <a:lumMod val="65000"/>
                    <a:lumOff val="35000"/>
                  </a:schemeClr>
                </a:solidFill>
              </a:rPr>
              <a:t>F</a:t>
            </a:r>
            <a:r>
              <a:rPr lang="en-US" sz="2000" dirty="0" smtClean="0">
                <a:solidFill>
                  <a:schemeClr val="tx1">
                    <a:lumMod val="65000"/>
                    <a:lumOff val="35000"/>
                  </a:schemeClr>
                </a:solidFill>
              </a:rPr>
              <a:t>irst 8 sec Window</a:t>
            </a:r>
          </a:p>
        </p:txBody>
      </p:sp>
      <p:sp>
        <p:nvSpPr>
          <p:cNvPr id="56" name="TextBox 55"/>
          <p:cNvSpPr txBox="1"/>
          <p:nvPr/>
        </p:nvSpPr>
        <p:spPr>
          <a:xfrm>
            <a:off x="6019305" y="3138415"/>
            <a:ext cx="4296229" cy="419516"/>
          </a:xfrm>
          <a:prstGeom prst="rect">
            <a:avLst/>
          </a:prstGeom>
          <a:noFill/>
        </p:spPr>
        <p:txBody>
          <a:bodyPr wrap="none" lIns="182880" tIns="146304" rIns="182880" bIns="146304" rtlCol="0" anchor="ctr">
            <a:noAutofit/>
          </a:bodyPr>
          <a:lstStyle/>
          <a:p>
            <a:pPr algn="ctr">
              <a:lnSpc>
                <a:spcPct val="90000"/>
              </a:lnSpc>
              <a:spcAft>
                <a:spcPts val="600"/>
              </a:spcAft>
            </a:pPr>
            <a:r>
              <a:rPr lang="en-US" sz="2000" dirty="0" smtClean="0">
                <a:solidFill>
                  <a:schemeClr val="tx1">
                    <a:lumMod val="65000"/>
                    <a:lumOff val="35000"/>
                  </a:schemeClr>
                </a:solidFill>
              </a:rPr>
              <a:t>Second 8 sec Window</a:t>
            </a:r>
          </a:p>
        </p:txBody>
      </p:sp>
      <p:cxnSp>
        <p:nvCxnSpPr>
          <p:cNvPr id="58" name="Straight Arrow Connector 57"/>
          <p:cNvCxnSpPr/>
          <p:nvPr/>
        </p:nvCxnSpPr>
        <p:spPr>
          <a:xfrm flipV="1">
            <a:off x="3196282" y="3536466"/>
            <a:ext cx="1" cy="320547"/>
          </a:xfrm>
          <a:prstGeom prst="straightConnector1">
            <a:avLst/>
          </a:prstGeom>
          <a:ln w="38100">
            <a:solidFill>
              <a:schemeClr val="tx1">
                <a:lumMod val="75000"/>
                <a:lumOff val="25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0" name="Straight Arrow Connector 59"/>
          <p:cNvCxnSpPr/>
          <p:nvPr/>
        </p:nvCxnSpPr>
        <p:spPr>
          <a:xfrm flipV="1">
            <a:off x="8196457" y="3529212"/>
            <a:ext cx="1" cy="320547"/>
          </a:xfrm>
          <a:prstGeom prst="straightConnector1">
            <a:avLst/>
          </a:prstGeom>
          <a:ln w="38100">
            <a:solidFill>
              <a:schemeClr val="tx1">
                <a:lumMod val="75000"/>
                <a:lumOff val="25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2" name="Straight Arrow Connector 61"/>
          <p:cNvCxnSpPr>
            <a:stCxn id="28" idx="2"/>
          </p:cNvCxnSpPr>
          <p:nvPr/>
        </p:nvCxnSpPr>
        <p:spPr>
          <a:xfrm flipH="1">
            <a:off x="6578110" y="4615104"/>
            <a:ext cx="1" cy="478974"/>
          </a:xfrm>
          <a:prstGeom prst="straightConnector1">
            <a:avLst/>
          </a:prstGeom>
          <a:ln w="28575">
            <a:solidFill>
              <a:schemeClr val="tx1">
                <a:lumMod val="75000"/>
                <a:lumOff val="25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3" name="Straight Arrow Connector 62"/>
          <p:cNvCxnSpPr/>
          <p:nvPr/>
        </p:nvCxnSpPr>
        <p:spPr>
          <a:xfrm flipH="1">
            <a:off x="9357597" y="4607847"/>
            <a:ext cx="1" cy="478974"/>
          </a:xfrm>
          <a:prstGeom prst="straightConnector1">
            <a:avLst/>
          </a:prstGeom>
          <a:ln w="28575">
            <a:solidFill>
              <a:schemeClr val="tx1">
                <a:lumMod val="75000"/>
                <a:lumOff val="25000"/>
              </a:schemeClr>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65" name="TextBox 64"/>
          <p:cNvSpPr txBox="1"/>
          <p:nvPr/>
        </p:nvSpPr>
        <p:spPr>
          <a:xfrm>
            <a:off x="5587511" y="5099622"/>
            <a:ext cx="1981197" cy="480131"/>
          </a:xfrm>
          <a:prstGeom prst="rect">
            <a:avLst/>
          </a:prstGeom>
          <a:solidFill>
            <a:schemeClr val="bg1"/>
          </a:solidFill>
          <a:ln>
            <a:noFill/>
          </a:ln>
        </p:spPr>
        <p:txBody>
          <a:bodyPr wrap="square" anchor="ctr">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93" lvl="1" indent="0">
              <a:spcBef>
                <a:spcPts val="600"/>
              </a:spcBef>
              <a:buNone/>
            </a:pPr>
            <a:r>
              <a:rPr lang="en-US" sz="1400" dirty="0" smtClean="0"/>
              <a:t>Window operation is performed here</a:t>
            </a:r>
          </a:p>
        </p:txBody>
      </p:sp>
      <p:sp>
        <p:nvSpPr>
          <p:cNvPr id="66" name="TextBox 65"/>
          <p:cNvSpPr txBox="1"/>
          <p:nvPr/>
        </p:nvSpPr>
        <p:spPr>
          <a:xfrm>
            <a:off x="8370618" y="5091470"/>
            <a:ext cx="1966692" cy="867930"/>
          </a:xfrm>
          <a:prstGeom prst="rect">
            <a:avLst/>
          </a:prstGeom>
          <a:solidFill>
            <a:schemeClr val="bg1"/>
          </a:solidFill>
          <a:ln>
            <a:noFill/>
          </a:ln>
        </p:spPr>
        <p:txBody>
          <a:bodyPr wrap="square" anchor="ctr">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93" lvl="1" indent="0">
              <a:spcBef>
                <a:spcPts val="600"/>
              </a:spcBef>
              <a:buNone/>
            </a:pPr>
            <a:r>
              <a:rPr lang="en-US" sz="1400" dirty="0" smtClean="0"/>
              <a:t>Window operation is performed here( 4 seconds after the previous one)</a:t>
            </a:r>
            <a:endParaRPr lang="en-US" sz="1400" dirty="0"/>
          </a:p>
        </p:txBody>
      </p:sp>
      <p:sp>
        <p:nvSpPr>
          <p:cNvPr id="67" name="TextBox 66"/>
          <p:cNvSpPr txBox="1"/>
          <p:nvPr/>
        </p:nvSpPr>
        <p:spPr>
          <a:xfrm>
            <a:off x="10130474" y="3967580"/>
            <a:ext cx="732972" cy="286232"/>
          </a:xfrm>
          <a:prstGeom prst="rect">
            <a:avLst/>
          </a:prstGeom>
          <a:solidFill>
            <a:schemeClr val="bg1"/>
          </a:solidFill>
          <a:ln>
            <a:noFill/>
          </a:ln>
        </p:spPr>
        <p:txBody>
          <a:bodyPr wrap="square">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93" lvl="1" indent="0">
              <a:spcBef>
                <a:spcPts val="600"/>
              </a:spcBef>
              <a:buNone/>
            </a:pPr>
            <a:r>
              <a:rPr lang="en-US" sz="1400" dirty="0" smtClean="0"/>
              <a:t>Secs</a:t>
            </a:r>
            <a:endParaRPr lang="en-US" sz="1400" dirty="0"/>
          </a:p>
        </p:txBody>
      </p:sp>
      <p:sp>
        <p:nvSpPr>
          <p:cNvPr id="69" name="TextBox 68"/>
          <p:cNvSpPr txBox="1"/>
          <p:nvPr/>
        </p:nvSpPr>
        <p:spPr>
          <a:xfrm>
            <a:off x="2096647" y="6033750"/>
            <a:ext cx="7939324" cy="313932"/>
          </a:xfrm>
          <a:prstGeom prst="rect">
            <a:avLst/>
          </a:prstGeom>
          <a:solidFill>
            <a:schemeClr val="bg1"/>
          </a:solidFill>
          <a:ln>
            <a:noFill/>
          </a:ln>
        </p:spPr>
        <p:txBody>
          <a:bodyPr wrap="square" anchor="ctr">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93" lvl="1" indent="0">
              <a:spcBef>
                <a:spcPts val="600"/>
              </a:spcBef>
              <a:buNone/>
            </a:pPr>
            <a:r>
              <a:rPr lang="en-US" sz="1600" dirty="0" smtClean="0">
                <a:solidFill>
                  <a:schemeClr val="accent2">
                    <a:lumMod val="75000"/>
                  </a:schemeClr>
                </a:solidFill>
              </a:rPr>
              <a:t>“</a:t>
            </a:r>
            <a:r>
              <a:rPr lang="en-US" sz="1600" i="1" dirty="0" smtClean="0">
                <a:solidFill>
                  <a:schemeClr val="accent2">
                    <a:lumMod val="75000"/>
                  </a:schemeClr>
                </a:solidFill>
              </a:rPr>
              <a:t>Tumbling window</a:t>
            </a:r>
            <a:r>
              <a:rPr lang="en-US" sz="1600" dirty="0" smtClean="0">
                <a:solidFill>
                  <a:schemeClr val="accent2">
                    <a:lumMod val="75000"/>
                  </a:schemeClr>
                </a:solidFill>
              </a:rPr>
              <a:t>” effect can be achieved by making slide interval = window length</a:t>
            </a:r>
          </a:p>
        </p:txBody>
      </p:sp>
    </p:spTree>
    <p:extLst>
      <p:ext uri="{BB962C8B-B14F-4D97-AF65-F5344CB8AC3E}">
        <p14:creationId xmlns:p14="http://schemas.microsoft.com/office/powerpoint/2010/main" val="325702613"/>
      </p:ext>
    </p:extLst>
  </p:cSld>
  <p:clrMapOvr>
    <a:masterClrMapping/>
  </p:clrMapOvr>
  <p:transition spd="med">
    <p:fade/>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park: Window Transformation Operations</a:t>
            </a:r>
            <a:endParaRPr lang="en-US" dirty="0"/>
          </a:p>
        </p:txBody>
      </p:sp>
      <p:sp>
        <p:nvSpPr>
          <p:cNvPr id="3" name="Slide Number Placeholder 2"/>
          <p:cNvSpPr>
            <a:spLocks noGrp="1"/>
          </p:cNvSpPr>
          <p:nvPr>
            <p:ph type="sldNum" sz="quarter" idx="11"/>
          </p:nvPr>
        </p:nvSpPr>
        <p:spPr/>
        <p:txBody>
          <a:bodyPr/>
          <a:lstStyle/>
          <a:p>
            <a:pPr>
              <a:defRPr/>
            </a:pPr>
            <a:fld id="{F8A0AC42-AA1D-4944-8D96-660DE70C7E1B}" type="slidenum">
              <a:rPr lang="en-US" smtClean="0"/>
              <a:pPr>
                <a:defRPr/>
              </a:pPr>
              <a:t>37</a:t>
            </a:fld>
            <a:endParaRPr lang="en-US" dirty="0"/>
          </a:p>
        </p:txBody>
      </p:sp>
      <p:graphicFrame>
        <p:nvGraphicFramePr>
          <p:cNvPr id="4" name="Table 3"/>
          <p:cNvGraphicFramePr>
            <a:graphicFrameLocks noGrp="1"/>
          </p:cNvGraphicFramePr>
          <p:nvPr>
            <p:extLst>
              <p:ext uri="{D42A27DB-BD31-4B8C-83A1-F6EECF244321}">
                <p14:modId xmlns:p14="http://schemas.microsoft.com/office/powerpoint/2010/main" val="3926196521"/>
              </p:ext>
            </p:extLst>
          </p:nvPr>
        </p:nvGraphicFramePr>
        <p:xfrm>
          <a:off x="720091" y="1199917"/>
          <a:ext cx="10789920" cy="5175728"/>
        </p:xfrm>
        <a:graphic>
          <a:graphicData uri="http://schemas.openxmlformats.org/drawingml/2006/table">
            <a:tbl>
              <a:tblPr>
                <a:tableStyleId>{793D81CF-94F2-401A-BA57-92F5A7B2D0C5}</a:tableStyleId>
              </a:tblPr>
              <a:tblGrid>
                <a:gridCol w="2384331"/>
                <a:gridCol w="8405589"/>
              </a:tblGrid>
              <a:tr h="320724">
                <a:tc>
                  <a:txBody>
                    <a:bodyPr/>
                    <a:lstStyle/>
                    <a:p>
                      <a:pPr marL="0" indent="0" algn="l" fontAlgn="t">
                        <a:buFont typeface="Arial" panose="020B0604020202020204" pitchFamily="34" charset="0"/>
                        <a:buNone/>
                      </a:pPr>
                      <a:r>
                        <a:rPr lang="en-US" sz="2000" dirty="0">
                          <a:solidFill>
                            <a:schemeClr val="bg1">
                              <a:lumMod val="95000"/>
                            </a:schemeClr>
                          </a:solidFill>
                          <a:effectLst/>
                        </a:rPr>
                        <a:t>Transformation</a:t>
                      </a:r>
                      <a:endParaRPr lang="en-US" sz="2000" b="0" dirty="0">
                        <a:solidFill>
                          <a:schemeClr val="bg1">
                            <a:lumMod val="95000"/>
                          </a:schemeClr>
                        </a:solidFill>
                        <a:effectLst/>
                      </a:endParaRPr>
                    </a:p>
                  </a:txBody>
                  <a:tcPr marL="14538" marR="14538" marT="14538" marB="14538">
                    <a:solidFill>
                      <a:srgbClr val="0070C0"/>
                    </a:solidFill>
                  </a:tcPr>
                </a:tc>
                <a:tc>
                  <a:txBody>
                    <a:bodyPr/>
                    <a:lstStyle/>
                    <a:p>
                      <a:pPr algn="ctr" fontAlgn="t"/>
                      <a:r>
                        <a:rPr lang="en-US" sz="2400" dirty="0">
                          <a:solidFill>
                            <a:schemeClr val="bg1">
                              <a:lumMod val="95000"/>
                            </a:schemeClr>
                          </a:solidFill>
                          <a:effectLst/>
                        </a:rPr>
                        <a:t>Meaning</a:t>
                      </a:r>
                      <a:endParaRPr lang="en-US" sz="2400" b="0" dirty="0">
                        <a:solidFill>
                          <a:schemeClr val="bg1">
                            <a:lumMod val="95000"/>
                          </a:schemeClr>
                        </a:solidFill>
                        <a:effectLst/>
                      </a:endParaRPr>
                    </a:p>
                  </a:txBody>
                  <a:tcPr marL="14538" marR="14538" marT="14538" marB="14538">
                    <a:solidFill>
                      <a:srgbClr val="0070C0"/>
                    </a:solidFill>
                  </a:tcPr>
                </a:tc>
              </a:tr>
              <a:tr h="642796">
                <a:tc>
                  <a:txBody>
                    <a:bodyPr/>
                    <a:lstStyle/>
                    <a:p>
                      <a:pPr marL="33" lvl="0" indent="0" algn="l" defTabSz="914400" rtl="0" eaLnBrk="1" fontAlgn="t" latinLnBrk="0" hangingPunct="1">
                        <a:buFont typeface="Arial" panose="020B0604020202020204" pitchFamily="34" charset="0"/>
                        <a:buNone/>
                      </a:pPr>
                      <a:r>
                        <a:rPr lang="en-US" sz="1400" kern="1200" dirty="0" smtClean="0">
                          <a:ln>
                            <a:solidFill>
                              <a:srgbClr val="FFFFFF">
                                <a:alpha val="0"/>
                              </a:srgbClr>
                            </a:solidFill>
                          </a:ln>
                          <a:solidFill>
                            <a:schemeClr val="accent1">
                              <a:lumMod val="75000"/>
                            </a:schemeClr>
                          </a:solidFill>
                        </a:rPr>
                        <a:t>Window </a:t>
                      </a:r>
                      <a:r>
                        <a:rPr lang="en-US" sz="1400" i="1" kern="1200" dirty="0" smtClean="0">
                          <a:ln>
                            <a:solidFill>
                              <a:srgbClr val="FFFFFF">
                                <a:alpha val="0"/>
                              </a:srgbClr>
                            </a:solidFill>
                          </a:ln>
                          <a:solidFill>
                            <a:schemeClr val="tx1">
                              <a:lumMod val="75000"/>
                              <a:lumOff val="25000"/>
                            </a:schemeClr>
                          </a:solidFill>
                        </a:rPr>
                        <a:t>(</a:t>
                      </a:r>
                      <a:r>
                        <a:rPr lang="en-US" sz="1400" i="1" kern="1200" dirty="0">
                          <a:ln>
                            <a:solidFill>
                              <a:srgbClr val="FFFFFF">
                                <a:alpha val="0"/>
                              </a:srgbClr>
                            </a:solidFill>
                          </a:ln>
                          <a:solidFill>
                            <a:schemeClr val="tx1">
                              <a:lumMod val="75000"/>
                              <a:lumOff val="25000"/>
                            </a:schemeClr>
                          </a:solidFill>
                        </a:rPr>
                        <a:t>windowLength, </a:t>
                      </a:r>
                      <a:r>
                        <a:rPr lang="en-US" sz="1400" i="1" kern="1200" dirty="0" smtClean="0">
                          <a:ln>
                            <a:solidFill>
                              <a:srgbClr val="FFFFFF">
                                <a:alpha val="0"/>
                              </a:srgbClr>
                            </a:solidFill>
                          </a:ln>
                          <a:solidFill>
                            <a:schemeClr val="tx1">
                              <a:lumMod val="75000"/>
                              <a:lumOff val="25000"/>
                            </a:schemeClr>
                          </a:solidFill>
                        </a:rPr>
                        <a:t>slideInterval)</a:t>
                      </a:r>
                      <a:endParaRPr lang="en-US" sz="1400" i="1" kern="1200" dirty="0">
                        <a:ln>
                          <a:solidFill>
                            <a:srgbClr val="FFFFFF">
                              <a:alpha val="0"/>
                            </a:srgbClr>
                          </a:solidFill>
                        </a:ln>
                        <a:solidFill>
                          <a:schemeClr val="tx1">
                            <a:lumMod val="75000"/>
                            <a:lumOff val="25000"/>
                          </a:schemeClr>
                        </a:solidFill>
                        <a:latin typeface="+mn-lt"/>
                        <a:ea typeface="Segoe UI" pitchFamily="34" charset="0"/>
                        <a:cs typeface="Segoe UI" pitchFamily="34" charset="0"/>
                      </a:endParaRPr>
                    </a:p>
                  </a:txBody>
                  <a:tcPr marL="14538" marR="14538" marT="14538" marB="14538" anchor="ctr"/>
                </a:tc>
                <a:tc>
                  <a:txBody>
                    <a:bodyPr/>
                    <a:lstStyle/>
                    <a:p>
                      <a:pPr marL="365760" lvl="2" indent="0" algn="l" defTabSz="914400" rtl="0" eaLnBrk="1" fontAlgn="t" latinLnBrk="0" hangingPunct="1">
                        <a:buFont typeface="Arial" panose="020B0604020202020204" pitchFamily="34" charset="0"/>
                        <a:buNone/>
                      </a:pPr>
                      <a:r>
                        <a:rPr lang="en-US" sz="1400" kern="1200" dirty="0">
                          <a:ln>
                            <a:solidFill>
                              <a:srgbClr val="FFFFFF">
                                <a:alpha val="0"/>
                              </a:srgbClr>
                            </a:solidFill>
                          </a:ln>
                          <a:solidFill>
                            <a:schemeClr val="tx1">
                              <a:lumMod val="65000"/>
                              <a:lumOff val="35000"/>
                            </a:schemeClr>
                          </a:solidFill>
                        </a:rPr>
                        <a:t>Return a new DStream which is computed based on windowed batches of the source DStream.</a:t>
                      </a:r>
                      <a:endParaRPr lang="en-US" sz="1400" kern="1200" dirty="0">
                        <a:ln>
                          <a:solidFill>
                            <a:srgbClr val="FFFFFF">
                              <a:alpha val="0"/>
                            </a:srgbClr>
                          </a:solidFill>
                        </a:ln>
                        <a:solidFill>
                          <a:schemeClr val="tx1">
                            <a:lumMod val="65000"/>
                            <a:lumOff val="35000"/>
                          </a:schemeClr>
                        </a:solidFill>
                        <a:latin typeface="+mn-lt"/>
                        <a:ea typeface="Segoe UI" pitchFamily="34" charset="0"/>
                        <a:cs typeface="Segoe UI" pitchFamily="34" charset="0"/>
                      </a:endParaRPr>
                    </a:p>
                  </a:txBody>
                  <a:tcPr marL="14538" marR="14538" marT="14538" marB="14538" anchor="ctr"/>
                </a:tc>
              </a:tr>
              <a:tr h="642796">
                <a:tc>
                  <a:txBody>
                    <a:bodyPr/>
                    <a:lstStyle/>
                    <a:p>
                      <a:pPr marL="33" lvl="0" indent="0" algn="l" defTabSz="914400" rtl="0" eaLnBrk="1" fontAlgn="t" latinLnBrk="0" hangingPunct="1">
                        <a:buFont typeface="Arial" panose="020B0604020202020204" pitchFamily="34" charset="0"/>
                        <a:buNone/>
                      </a:pPr>
                      <a:r>
                        <a:rPr lang="en-US" sz="1400" kern="1200" dirty="0" smtClean="0">
                          <a:ln>
                            <a:solidFill>
                              <a:srgbClr val="FFFFFF">
                                <a:alpha val="0"/>
                              </a:srgbClr>
                            </a:solidFill>
                          </a:ln>
                          <a:solidFill>
                            <a:schemeClr val="accent1">
                              <a:lumMod val="75000"/>
                            </a:schemeClr>
                          </a:solidFill>
                        </a:rPr>
                        <a:t>countByWindow </a:t>
                      </a:r>
                      <a:r>
                        <a:rPr lang="en-US" sz="1400" kern="1200" dirty="0" smtClean="0">
                          <a:ln>
                            <a:solidFill>
                              <a:srgbClr val="FFFFFF">
                                <a:alpha val="0"/>
                              </a:srgbClr>
                            </a:solidFill>
                          </a:ln>
                          <a:solidFill>
                            <a:schemeClr val="tx1">
                              <a:lumMod val="75000"/>
                              <a:lumOff val="25000"/>
                            </a:schemeClr>
                          </a:solidFill>
                        </a:rPr>
                        <a:t> (</a:t>
                      </a:r>
                      <a:r>
                        <a:rPr lang="en-US" sz="1400" i="1" kern="1200" dirty="0">
                          <a:ln>
                            <a:solidFill>
                              <a:srgbClr val="FFFFFF">
                                <a:alpha val="0"/>
                              </a:srgbClr>
                            </a:solidFill>
                          </a:ln>
                          <a:solidFill>
                            <a:schemeClr val="tx1">
                              <a:lumMod val="75000"/>
                              <a:lumOff val="25000"/>
                            </a:schemeClr>
                          </a:solidFill>
                        </a:rPr>
                        <a:t>windowLength,slideInterval)</a:t>
                      </a:r>
                      <a:endParaRPr lang="en-US" sz="1400" i="1" kern="1200" dirty="0">
                        <a:ln>
                          <a:solidFill>
                            <a:srgbClr val="FFFFFF">
                              <a:alpha val="0"/>
                            </a:srgbClr>
                          </a:solidFill>
                        </a:ln>
                        <a:solidFill>
                          <a:schemeClr val="tx1">
                            <a:lumMod val="75000"/>
                            <a:lumOff val="25000"/>
                          </a:schemeClr>
                        </a:solidFill>
                        <a:latin typeface="+mn-lt"/>
                        <a:ea typeface="Segoe UI" pitchFamily="34" charset="0"/>
                        <a:cs typeface="Segoe UI" pitchFamily="34" charset="0"/>
                      </a:endParaRPr>
                    </a:p>
                  </a:txBody>
                  <a:tcPr marL="14538" marR="14538" marT="14538" marB="14538" anchor="ctr"/>
                </a:tc>
                <a:tc>
                  <a:txBody>
                    <a:bodyPr/>
                    <a:lstStyle/>
                    <a:p>
                      <a:pPr marL="365760" lvl="2" indent="0" algn="l" defTabSz="914400" rtl="0" eaLnBrk="1" fontAlgn="t" latinLnBrk="0" hangingPunct="1">
                        <a:buFont typeface="Arial" panose="020B0604020202020204" pitchFamily="34" charset="0"/>
                        <a:buNone/>
                      </a:pPr>
                      <a:r>
                        <a:rPr lang="en-US" sz="1400" kern="1200" dirty="0">
                          <a:ln>
                            <a:solidFill>
                              <a:srgbClr val="FFFFFF">
                                <a:alpha val="0"/>
                              </a:srgbClr>
                            </a:solidFill>
                          </a:ln>
                          <a:solidFill>
                            <a:schemeClr val="tx1">
                              <a:lumMod val="65000"/>
                              <a:lumOff val="35000"/>
                            </a:schemeClr>
                          </a:solidFill>
                        </a:rPr>
                        <a:t>Return a sliding window count of elements in the stream.</a:t>
                      </a:r>
                      <a:endParaRPr lang="en-US" sz="1400" kern="1200" dirty="0">
                        <a:ln>
                          <a:solidFill>
                            <a:srgbClr val="FFFFFF">
                              <a:alpha val="0"/>
                            </a:srgbClr>
                          </a:solidFill>
                        </a:ln>
                        <a:solidFill>
                          <a:schemeClr val="tx1">
                            <a:lumMod val="65000"/>
                            <a:lumOff val="35000"/>
                          </a:schemeClr>
                        </a:solidFill>
                        <a:latin typeface="+mn-lt"/>
                        <a:ea typeface="Segoe UI" pitchFamily="34" charset="0"/>
                        <a:cs typeface="Segoe UI" pitchFamily="34" charset="0"/>
                      </a:endParaRPr>
                    </a:p>
                  </a:txBody>
                  <a:tcPr marL="14538" marR="14538" marT="14538" marB="14538" anchor="ctr"/>
                </a:tc>
              </a:tr>
              <a:tr h="642796">
                <a:tc>
                  <a:txBody>
                    <a:bodyPr/>
                    <a:lstStyle/>
                    <a:p>
                      <a:pPr marL="33" lvl="0" indent="0" algn="l" defTabSz="914400" rtl="0" eaLnBrk="1" fontAlgn="t" latinLnBrk="0" hangingPunct="1">
                        <a:buFont typeface="Arial" panose="020B0604020202020204" pitchFamily="34" charset="0"/>
                        <a:buNone/>
                      </a:pPr>
                      <a:r>
                        <a:rPr lang="en-US" sz="1400" kern="1200" dirty="0" smtClean="0">
                          <a:ln>
                            <a:solidFill>
                              <a:srgbClr val="FFFFFF">
                                <a:alpha val="0"/>
                              </a:srgbClr>
                            </a:solidFill>
                          </a:ln>
                          <a:solidFill>
                            <a:schemeClr val="accent1">
                              <a:lumMod val="75000"/>
                            </a:schemeClr>
                          </a:solidFill>
                        </a:rPr>
                        <a:t>reduceByWindow </a:t>
                      </a:r>
                      <a:r>
                        <a:rPr lang="en-US" sz="1400" kern="1200" dirty="0" smtClean="0">
                          <a:ln>
                            <a:solidFill>
                              <a:srgbClr val="FFFFFF">
                                <a:alpha val="0"/>
                              </a:srgbClr>
                            </a:solidFill>
                          </a:ln>
                          <a:solidFill>
                            <a:schemeClr val="tx1">
                              <a:lumMod val="75000"/>
                              <a:lumOff val="25000"/>
                            </a:schemeClr>
                          </a:solidFill>
                        </a:rPr>
                        <a:t>(</a:t>
                      </a:r>
                      <a:r>
                        <a:rPr lang="en-US" sz="1400" i="1" kern="1200" dirty="0">
                          <a:ln>
                            <a:solidFill>
                              <a:srgbClr val="FFFFFF">
                                <a:alpha val="0"/>
                              </a:srgbClr>
                            </a:solidFill>
                          </a:ln>
                          <a:solidFill>
                            <a:schemeClr val="tx1">
                              <a:lumMod val="75000"/>
                              <a:lumOff val="25000"/>
                            </a:schemeClr>
                          </a:solidFill>
                        </a:rPr>
                        <a:t>func, windowLength,slideInterval)</a:t>
                      </a:r>
                      <a:endParaRPr lang="en-US" sz="1400" i="1" kern="1200" dirty="0">
                        <a:ln>
                          <a:solidFill>
                            <a:srgbClr val="FFFFFF">
                              <a:alpha val="0"/>
                            </a:srgbClr>
                          </a:solidFill>
                        </a:ln>
                        <a:solidFill>
                          <a:schemeClr val="tx1">
                            <a:lumMod val="75000"/>
                            <a:lumOff val="25000"/>
                          </a:schemeClr>
                        </a:solidFill>
                        <a:latin typeface="+mn-lt"/>
                        <a:ea typeface="Segoe UI" pitchFamily="34" charset="0"/>
                        <a:cs typeface="Segoe UI" pitchFamily="34" charset="0"/>
                      </a:endParaRPr>
                    </a:p>
                  </a:txBody>
                  <a:tcPr marL="14538" marR="14538" marT="14538" marB="14538" anchor="ctr"/>
                </a:tc>
                <a:tc>
                  <a:txBody>
                    <a:bodyPr/>
                    <a:lstStyle/>
                    <a:p>
                      <a:pPr marL="365760" lvl="2" indent="0" algn="l" defTabSz="914400" rtl="0" eaLnBrk="1" fontAlgn="t" latinLnBrk="0" hangingPunct="1">
                        <a:buFont typeface="Arial" panose="020B0604020202020204" pitchFamily="34" charset="0"/>
                        <a:buNone/>
                      </a:pPr>
                      <a:r>
                        <a:rPr lang="en-US" sz="1400" kern="1200" dirty="0">
                          <a:ln>
                            <a:solidFill>
                              <a:srgbClr val="FFFFFF">
                                <a:alpha val="0"/>
                              </a:srgbClr>
                            </a:solidFill>
                          </a:ln>
                          <a:solidFill>
                            <a:schemeClr val="tx1">
                              <a:lumMod val="65000"/>
                              <a:lumOff val="35000"/>
                            </a:schemeClr>
                          </a:solidFill>
                        </a:rPr>
                        <a:t>Return a new single-element stream, created by aggregating elements in the stream over a sliding interval using func. The function should be associative so that it can be computed correctly in parallel.</a:t>
                      </a:r>
                      <a:endParaRPr lang="en-US" sz="1400" kern="1200" dirty="0">
                        <a:ln>
                          <a:solidFill>
                            <a:srgbClr val="FFFFFF">
                              <a:alpha val="0"/>
                            </a:srgbClr>
                          </a:solidFill>
                        </a:ln>
                        <a:solidFill>
                          <a:schemeClr val="tx1">
                            <a:lumMod val="65000"/>
                            <a:lumOff val="35000"/>
                          </a:schemeClr>
                        </a:solidFill>
                        <a:latin typeface="+mn-lt"/>
                        <a:ea typeface="Segoe UI" pitchFamily="34" charset="0"/>
                        <a:cs typeface="Segoe UI" pitchFamily="34" charset="0"/>
                      </a:endParaRPr>
                    </a:p>
                  </a:txBody>
                  <a:tcPr marL="14538" marR="14538" marT="14538" marB="14538" anchor="ctr"/>
                </a:tc>
              </a:tr>
              <a:tr h="645918">
                <a:tc>
                  <a:txBody>
                    <a:bodyPr/>
                    <a:lstStyle/>
                    <a:p>
                      <a:pPr marL="33" lvl="0" indent="0" algn="l" defTabSz="914400" rtl="0" eaLnBrk="1" fontAlgn="t" latinLnBrk="0" hangingPunct="1">
                        <a:buFont typeface="Arial" panose="020B0604020202020204" pitchFamily="34" charset="0"/>
                        <a:buNone/>
                      </a:pPr>
                      <a:r>
                        <a:rPr lang="en-US" sz="1400" kern="1200" dirty="0" smtClean="0">
                          <a:ln>
                            <a:solidFill>
                              <a:srgbClr val="FFFFFF">
                                <a:alpha val="0"/>
                              </a:srgbClr>
                            </a:solidFill>
                          </a:ln>
                          <a:solidFill>
                            <a:schemeClr val="accent1">
                              <a:lumMod val="75000"/>
                            </a:schemeClr>
                          </a:solidFill>
                        </a:rPr>
                        <a:t>reduceByKeyAndWindow </a:t>
                      </a:r>
                      <a:r>
                        <a:rPr lang="en-US" sz="1400" kern="1200" dirty="0" smtClean="0">
                          <a:ln>
                            <a:solidFill>
                              <a:srgbClr val="FFFFFF">
                                <a:alpha val="0"/>
                              </a:srgbClr>
                            </a:solidFill>
                          </a:ln>
                          <a:solidFill>
                            <a:schemeClr val="tx1">
                              <a:lumMod val="75000"/>
                              <a:lumOff val="25000"/>
                            </a:schemeClr>
                          </a:solidFill>
                        </a:rPr>
                        <a:t>(</a:t>
                      </a:r>
                      <a:r>
                        <a:rPr lang="en-US" sz="1400" i="1" kern="1200" dirty="0">
                          <a:ln>
                            <a:solidFill>
                              <a:srgbClr val="FFFFFF">
                                <a:alpha val="0"/>
                              </a:srgbClr>
                            </a:solidFill>
                          </a:ln>
                          <a:solidFill>
                            <a:schemeClr val="tx1">
                              <a:lumMod val="75000"/>
                              <a:lumOff val="25000"/>
                            </a:schemeClr>
                          </a:solidFill>
                        </a:rPr>
                        <a:t>func,windowLength, slideInterval, [numTasks])</a:t>
                      </a:r>
                      <a:endParaRPr lang="en-US" sz="1400" i="1" kern="1200" dirty="0">
                        <a:ln>
                          <a:solidFill>
                            <a:srgbClr val="FFFFFF">
                              <a:alpha val="0"/>
                            </a:srgbClr>
                          </a:solidFill>
                        </a:ln>
                        <a:solidFill>
                          <a:schemeClr val="tx1">
                            <a:lumMod val="75000"/>
                            <a:lumOff val="25000"/>
                          </a:schemeClr>
                        </a:solidFill>
                        <a:latin typeface="+mn-lt"/>
                        <a:ea typeface="Segoe UI" pitchFamily="34" charset="0"/>
                        <a:cs typeface="Segoe UI" pitchFamily="34" charset="0"/>
                      </a:endParaRPr>
                    </a:p>
                  </a:txBody>
                  <a:tcPr marL="14538" marR="14538" marT="14538" marB="14538" anchor="ctr"/>
                </a:tc>
                <a:tc>
                  <a:txBody>
                    <a:bodyPr/>
                    <a:lstStyle/>
                    <a:p>
                      <a:pPr marL="365760" lvl="2" indent="0" algn="l" defTabSz="914400" rtl="0" eaLnBrk="1" fontAlgn="t" latinLnBrk="0" hangingPunct="1">
                        <a:buFont typeface="Arial" panose="020B0604020202020204" pitchFamily="34" charset="0"/>
                        <a:buNone/>
                      </a:pPr>
                      <a:r>
                        <a:rPr lang="en-US" sz="1400" kern="1200" dirty="0">
                          <a:ln>
                            <a:solidFill>
                              <a:srgbClr val="FFFFFF">
                                <a:alpha val="0"/>
                              </a:srgbClr>
                            </a:solidFill>
                          </a:ln>
                          <a:solidFill>
                            <a:schemeClr val="tx1">
                              <a:lumMod val="65000"/>
                              <a:lumOff val="35000"/>
                            </a:schemeClr>
                          </a:solidFill>
                        </a:rPr>
                        <a:t>When called on a DStream of (K, V) pairs, returns a new DStream of (K, V) pairs where the values for each key are aggregated using the given reduce function func over batches in a sliding window. </a:t>
                      </a:r>
                      <a:endParaRPr lang="en-US" sz="1400" kern="1200" dirty="0">
                        <a:ln>
                          <a:solidFill>
                            <a:srgbClr val="FFFFFF">
                              <a:alpha val="0"/>
                            </a:srgbClr>
                          </a:solidFill>
                        </a:ln>
                        <a:solidFill>
                          <a:schemeClr val="tx1">
                            <a:lumMod val="65000"/>
                            <a:lumOff val="35000"/>
                          </a:schemeClr>
                        </a:solidFill>
                        <a:latin typeface="+mn-lt"/>
                        <a:ea typeface="Segoe UI" pitchFamily="34" charset="0"/>
                        <a:cs typeface="Segoe UI" pitchFamily="34" charset="0"/>
                      </a:endParaRPr>
                    </a:p>
                  </a:txBody>
                  <a:tcPr marL="14538" marR="14538" marT="14538" marB="14538" anchor="ctr"/>
                </a:tc>
              </a:tr>
              <a:tr h="1257662">
                <a:tc>
                  <a:txBody>
                    <a:bodyPr/>
                    <a:lstStyle/>
                    <a:p>
                      <a:pPr marL="33" lvl="0" indent="0" algn="l" defTabSz="914400" rtl="0" eaLnBrk="1" fontAlgn="t" latinLnBrk="0" hangingPunct="1">
                        <a:buFont typeface="Arial" panose="020B0604020202020204" pitchFamily="34" charset="0"/>
                        <a:buNone/>
                      </a:pPr>
                      <a:r>
                        <a:rPr lang="en-US" sz="1400" kern="1200" dirty="0" smtClean="0">
                          <a:ln>
                            <a:solidFill>
                              <a:srgbClr val="FFFFFF">
                                <a:alpha val="0"/>
                              </a:srgbClr>
                            </a:solidFill>
                          </a:ln>
                          <a:solidFill>
                            <a:schemeClr val="accent1">
                              <a:lumMod val="75000"/>
                            </a:schemeClr>
                          </a:solidFill>
                        </a:rPr>
                        <a:t>reduceByKeyAndWindow</a:t>
                      </a:r>
                      <a:r>
                        <a:rPr lang="en-US" sz="1400" kern="1200" dirty="0" smtClean="0">
                          <a:ln>
                            <a:solidFill>
                              <a:srgbClr val="FFFFFF">
                                <a:alpha val="0"/>
                              </a:srgbClr>
                            </a:solidFill>
                          </a:ln>
                          <a:solidFill>
                            <a:schemeClr val="tx1">
                              <a:lumMod val="75000"/>
                              <a:lumOff val="25000"/>
                            </a:schemeClr>
                          </a:solidFill>
                        </a:rPr>
                        <a:t> </a:t>
                      </a:r>
                      <a:r>
                        <a:rPr lang="en-US" sz="1400" i="1" kern="1200" dirty="0" smtClean="0">
                          <a:ln>
                            <a:solidFill>
                              <a:srgbClr val="FFFFFF">
                                <a:alpha val="0"/>
                              </a:srgbClr>
                            </a:solidFill>
                          </a:ln>
                          <a:solidFill>
                            <a:schemeClr val="tx1">
                              <a:lumMod val="75000"/>
                              <a:lumOff val="25000"/>
                            </a:schemeClr>
                          </a:solidFill>
                        </a:rPr>
                        <a:t>(</a:t>
                      </a:r>
                      <a:r>
                        <a:rPr lang="en-US" sz="1400" i="1" kern="1200" dirty="0">
                          <a:ln>
                            <a:solidFill>
                              <a:srgbClr val="FFFFFF">
                                <a:alpha val="0"/>
                              </a:srgbClr>
                            </a:solidFill>
                          </a:ln>
                          <a:solidFill>
                            <a:schemeClr val="tx1">
                              <a:lumMod val="75000"/>
                              <a:lumOff val="25000"/>
                            </a:schemeClr>
                          </a:solidFill>
                        </a:rPr>
                        <a:t>func, invFunc,windowLength, slideInterval, [numTasks])</a:t>
                      </a:r>
                      <a:endParaRPr lang="en-US" sz="1400" i="1" kern="1200" dirty="0">
                        <a:ln>
                          <a:solidFill>
                            <a:srgbClr val="FFFFFF">
                              <a:alpha val="0"/>
                            </a:srgbClr>
                          </a:solidFill>
                        </a:ln>
                        <a:solidFill>
                          <a:schemeClr val="tx1">
                            <a:lumMod val="75000"/>
                            <a:lumOff val="25000"/>
                          </a:schemeClr>
                        </a:solidFill>
                        <a:latin typeface="+mn-lt"/>
                        <a:ea typeface="Segoe UI" pitchFamily="34" charset="0"/>
                        <a:cs typeface="Segoe UI" pitchFamily="34" charset="0"/>
                      </a:endParaRPr>
                    </a:p>
                  </a:txBody>
                  <a:tcPr marL="14538" marR="14538" marT="14538" marB="14538" anchor="ctr"/>
                </a:tc>
                <a:tc>
                  <a:txBody>
                    <a:bodyPr/>
                    <a:lstStyle/>
                    <a:p>
                      <a:pPr marL="365760" lvl="2" indent="0" algn="l" defTabSz="914400" rtl="0" eaLnBrk="1" fontAlgn="t" latinLnBrk="0" hangingPunct="1">
                        <a:buFont typeface="Arial" panose="020B0604020202020204" pitchFamily="34" charset="0"/>
                        <a:buNone/>
                      </a:pPr>
                      <a:r>
                        <a:rPr lang="en-US" sz="1400" kern="1200" dirty="0">
                          <a:ln>
                            <a:solidFill>
                              <a:srgbClr val="FFFFFF">
                                <a:alpha val="0"/>
                              </a:srgbClr>
                            </a:solidFill>
                          </a:ln>
                          <a:solidFill>
                            <a:schemeClr val="tx1">
                              <a:lumMod val="65000"/>
                              <a:lumOff val="35000"/>
                            </a:schemeClr>
                          </a:solidFill>
                        </a:rPr>
                        <a:t>A more efficient version of the above reduceByKeyAndWindow() where the reduce value of each window is calculated incrementally using the reduce values of the previous window. This is done by reducing the new data that enter the sliding window, and "inverse reducing" the old data that leave the window. An example would be that of "adding" and "subtracting" counts of keys as the window slides. However, it is applicable to only "invertible reduce functions", that is, those reduce functions which have a corresponding "inverse reduce" function (taken as parameter invFunc</a:t>
                      </a:r>
                      <a:r>
                        <a:rPr lang="en-US" sz="1400" kern="1200" dirty="0" smtClean="0">
                          <a:ln>
                            <a:solidFill>
                              <a:srgbClr val="FFFFFF">
                                <a:alpha val="0"/>
                              </a:srgbClr>
                            </a:solidFill>
                          </a:ln>
                          <a:solidFill>
                            <a:schemeClr val="tx1">
                              <a:lumMod val="65000"/>
                              <a:lumOff val="35000"/>
                            </a:schemeClr>
                          </a:solidFill>
                        </a:rPr>
                        <a:t>.</a:t>
                      </a:r>
                      <a:endParaRPr lang="en-US" sz="1400" kern="1200" dirty="0">
                        <a:ln>
                          <a:solidFill>
                            <a:srgbClr val="FFFFFF">
                              <a:alpha val="0"/>
                            </a:srgbClr>
                          </a:solidFill>
                        </a:ln>
                        <a:solidFill>
                          <a:schemeClr val="tx1">
                            <a:lumMod val="65000"/>
                            <a:lumOff val="35000"/>
                          </a:schemeClr>
                        </a:solidFill>
                        <a:latin typeface="+mn-lt"/>
                        <a:ea typeface="Segoe UI" pitchFamily="34" charset="0"/>
                        <a:cs typeface="Segoe UI" pitchFamily="34" charset="0"/>
                      </a:endParaRPr>
                    </a:p>
                  </a:txBody>
                  <a:tcPr marL="14538" marR="14538" marT="14538" marB="14538" anchor="ctr"/>
                </a:tc>
              </a:tr>
              <a:tr h="847752">
                <a:tc>
                  <a:txBody>
                    <a:bodyPr/>
                    <a:lstStyle/>
                    <a:p>
                      <a:pPr marL="33" lvl="0" indent="0" algn="l" defTabSz="914400" rtl="0" eaLnBrk="1" fontAlgn="t" latinLnBrk="0" hangingPunct="1">
                        <a:buFont typeface="Arial" panose="020B0604020202020204" pitchFamily="34" charset="0"/>
                        <a:buNone/>
                      </a:pPr>
                      <a:r>
                        <a:rPr lang="en-US" sz="1400" kern="1200" dirty="0" smtClean="0">
                          <a:ln>
                            <a:solidFill>
                              <a:srgbClr val="FFFFFF">
                                <a:alpha val="0"/>
                              </a:srgbClr>
                            </a:solidFill>
                          </a:ln>
                          <a:solidFill>
                            <a:schemeClr val="accent1">
                              <a:lumMod val="75000"/>
                            </a:schemeClr>
                          </a:solidFill>
                        </a:rPr>
                        <a:t>countByValueAndWindow </a:t>
                      </a:r>
                      <a:r>
                        <a:rPr lang="en-US" sz="1400" i="1" kern="1200" dirty="0" smtClean="0">
                          <a:ln>
                            <a:solidFill>
                              <a:srgbClr val="FFFFFF">
                                <a:alpha val="0"/>
                              </a:srgbClr>
                            </a:solidFill>
                          </a:ln>
                          <a:solidFill>
                            <a:schemeClr val="tx1">
                              <a:lumMod val="75000"/>
                              <a:lumOff val="25000"/>
                            </a:schemeClr>
                          </a:solidFill>
                        </a:rPr>
                        <a:t>(</a:t>
                      </a:r>
                      <a:r>
                        <a:rPr lang="en-US" sz="1400" i="1" kern="1200" dirty="0">
                          <a:ln>
                            <a:solidFill>
                              <a:srgbClr val="FFFFFF">
                                <a:alpha val="0"/>
                              </a:srgbClr>
                            </a:solidFill>
                          </a:ln>
                          <a:solidFill>
                            <a:schemeClr val="tx1">
                              <a:lumMod val="75000"/>
                              <a:lumOff val="25000"/>
                            </a:schemeClr>
                          </a:solidFill>
                        </a:rPr>
                        <a:t>windowLength,slideInterval, [numTasks])</a:t>
                      </a:r>
                      <a:endParaRPr lang="en-US" sz="1400" i="1" kern="1200" dirty="0">
                        <a:ln>
                          <a:solidFill>
                            <a:srgbClr val="FFFFFF">
                              <a:alpha val="0"/>
                            </a:srgbClr>
                          </a:solidFill>
                        </a:ln>
                        <a:solidFill>
                          <a:schemeClr val="tx1">
                            <a:lumMod val="75000"/>
                            <a:lumOff val="25000"/>
                          </a:schemeClr>
                        </a:solidFill>
                        <a:latin typeface="+mn-lt"/>
                        <a:ea typeface="Segoe UI" pitchFamily="34" charset="0"/>
                        <a:cs typeface="Segoe UI" pitchFamily="34" charset="0"/>
                      </a:endParaRPr>
                    </a:p>
                  </a:txBody>
                  <a:tcPr marL="14538" marR="14538" marT="14538" marB="14538" anchor="ctr"/>
                </a:tc>
                <a:tc>
                  <a:txBody>
                    <a:bodyPr/>
                    <a:lstStyle/>
                    <a:p>
                      <a:pPr marL="365760" lvl="2" indent="0" algn="l" defTabSz="914400" rtl="0" eaLnBrk="1" fontAlgn="t" latinLnBrk="0" hangingPunct="1">
                        <a:buFont typeface="Arial" panose="020B0604020202020204" pitchFamily="34" charset="0"/>
                        <a:buNone/>
                      </a:pPr>
                      <a:r>
                        <a:rPr lang="en-US" sz="1400" kern="1200" dirty="0">
                          <a:ln>
                            <a:solidFill>
                              <a:srgbClr val="FFFFFF">
                                <a:alpha val="0"/>
                              </a:srgbClr>
                            </a:solidFill>
                          </a:ln>
                          <a:solidFill>
                            <a:schemeClr val="tx1">
                              <a:lumMod val="65000"/>
                              <a:lumOff val="35000"/>
                            </a:schemeClr>
                          </a:solidFill>
                        </a:rPr>
                        <a:t>When called on a DStream of (K, V) pairs, returns a new DStream of (K, Long) pairs where the value of each key is its frequency within a sliding window. </a:t>
                      </a:r>
                      <a:endParaRPr lang="en-US" sz="1400" kern="1200" dirty="0">
                        <a:ln>
                          <a:solidFill>
                            <a:srgbClr val="FFFFFF">
                              <a:alpha val="0"/>
                            </a:srgbClr>
                          </a:solidFill>
                        </a:ln>
                        <a:solidFill>
                          <a:schemeClr val="tx1">
                            <a:lumMod val="65000"/>
                            <a:lumOff val="35000"/>
                          </a:schemeClr>
                        </a:solidFill>
                        <a:latin typeface="+mn-lt"/>
                        <a:ea typeface="Segoe UI" pitchFamily="34" charset="0"/>
                        <a:cs typeface="Segoe UI" pitchFamily="34" charset="0"/>
                      </a:endParaRPr>
                    </a:p>
                  </a:txBody>
                  <a:tcPr marL="14538" marR="14538" marT="14538" marB="14538" anchor="ctr"/>
                </a:tc>
              </a:tr>
            </a:tbl>
          </a:graphicData>
        </a:graphic>
      </p:graphicFrame>
    </p:spTree>
    <p:extLst>
      <p:ext uri="{BB962C8B-B14F-4D97-AF65-F5344CB8AC3E}">
        <p14:creationId xmlns:p14="http://schemas.microsoft.com/office/powerpoint/2010/main" val="756990075"/>
      </p:ext>
    </p:extLst>
  </p:cSld>
  <p:clrMapOvr>
    <a:masterClrMapping/>
  </p:clrMapOvr>
  <p:transition spd="med">
    <p:fade/>
  </p:transition>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indowing Sample Code</a:t>
            </a:r>
            <a:endParaRPr lang="en-US" dirty="0"/>
          </a:p>
        </p:txBody>
      </p:sp>
      <p:sp>
        <p:nvSpPr>
          <p:cNvPr id="3" name="Slide Number Placeholder 2"/>
          <p:cNvSpPr>
            <a:spLocks noGrp="1"/>
          </p:cNvSpPr>
          <p:nvPr>
            <p:ph type="sldNum" sz="quarter" idx="11"/>
          </p:nvPr>
        </p:nvSpPr>
        <p:spPr/>
        <p:txBody>
          <a:bodyPr/>
          <a:lstStyle/>
          <a:p>
            <a:pPr>
              <a:defRPr/>
            </a:pPr>
            <a:fld id="{F8A0AC42-AA1D-4944-8D96-660DE70C7E1B}" type="slidenum">
              <a:rPr lang="en-US" smtClean="0"/>
              <a:pPr>
                <a:defRPr/>
              </a:pPr>
              <a:t>38</a:t>
            </a:fld>
            <a:endParaRPr lang="en-US" dirty="0"/>
          </a:p>
        </p:txBody>
      </p:sp>
      <p:sp>
        <p:nvSpPr>
          <p:cNvPr id="4" name="TextBox 3"/>
          <p:cNvSpPr txBox="1"/>
          <p:nvPr/>
        </p:nvSpPr>
        <p:spPr>
          <a:xfrm>
            <a:off x="331780" y="1294236"/>
            <a:ext cx="11397802" cy="369332"/>
          </a:xfrm>
          <a:prstGeom prst="rect">
            <a:avLst/>
          </a:prstGeom>
          <a:solidFill>
            <a:schemeClr val="accent1"/>
          </a:solidFill>
          <a:ln>
            <a:solidFill>
              <a:schemeClr val="tx1">
                <a:lumMod val="75000"/>
                <a:lumOff val="25000"/>
              </a:schemeClr>
            </a:solidFill>
          </a:ln>
        </p:spPr>
        <p:txBody>
          <a:bodyPr wrap="square">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2"/>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93" lvl="1" indent="0" algn="ctr">
              <a:spcBef>
                <a:spcPts val="600"/>
              </a:spcBef>
              <a:buNone/>
            </a:pPr>
            <a:r>
              <a:rPr lang="en-US" sz="2000" dirty="0" smtClean="0">
                <a:solidFill>
                  <a:schemeClr val="bg1"/>
                </a:solidFill>
              </a:rPr>
              <a:t>Count hashtags in twitter stream over last 10 mins, update every 2 seconds</a:t>
            </a:r>
            <a:endParaRPr lang="en-US" sz="2000" dirty="0">
              <a:solidFill>
                <a:schemeClr val="bg1"/>
              </a:solidFill>
            </a:endParaRPr>
          </a:p>
        </p:txBody>
      </p:sp>
      <p:sp>
        <p:nvSpPr>
          <p:cNvPr id="5" name="TextBox 4"/>
          <p:cNvSpPr txBox="1"/>
          <p:nvPr/>
        </p:nvSpPr>
        <p:spPr>
          <a:xfrm>
            <a:off x="331780" y="1798732"/>
            <a:ext cx="11397802" cy="1106457"/>
          </a:xfrm>
          <a:prstGeom prst="rect">
            <a:avLst/>
          </a:prstGeom>
          <a:solidFill>
            <a:schemeClr val="bg1"/>
          </a:solidFill>
          <a:ln>
            <a:solidFill>
              <a:schemeClr val="tx1">
                <a:lumMod val="75000"/>
                <a:lumOff val="25000"/>
              </a:schemeClr>
            </a:solidFill>
          </a:ln>
        </p:spPr>
        <p:txBody>
          <a:bodyPr wrap="square">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2"/>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93" lvl="1" indent="0">
              <a:spcBef>
                <a:spcPts val="600"/>
              </a:spcBef>
              <a:buNone/>
            </a:pPr>
            <a:r>
              <a:rPr lang="en-US" sz="1700" dirty="0" smtClean="0"/>
              <a:t>val tweets = ssc.twitterStream&lt;Twitter username&gt;, &lt;Twitter Password&gt;)</a:t>
            </a:r>
          </a:p>
          <a:p>
            <a:pPr marL="110493" lvl="1" indent="0">
              <a:spcBef>
                <a:spcPts val="600"/>
              </a:spcBef>
              <a:buNone/>
            </a:pPr>
            <a:r>
              <a:rPr lang="en-US" sz="1700" dirty="0" smtClean="0"/>
              <a:t> val hashTags = tweets.flatMap (status =&gt; getTags(status))</a:t>
            </a:r>
          </a:p>
          <a:p>
            <a:pPr marL="110493" lvl="1" indent="0">
              <a:spcBef>
                <a:spcPts val="600"/>
              </a:spcBef>
              <a:buNone/>
            </a:pPr>
            <a:r>
              <a:rPr lang="en-US" sz="1700" dirty="0" smtClean="0"/>
              <a:t>val tagCounts = hashTags.window(Minutes(10), Second(2)).countByValue()</a:t>
            </a:r>
            <a:endParaRPr lang="en-US" sz="1700" dirty="0"/>
          </a:p>
        </p:txBody>
      </p:sp>
      <p:sp>
        <p:nvSpPr>
          <p:cNvPr id="6" name="Rectangular Callout 5"/>
          <p:cNvSpPr/>
          <p:nvPr/>
        </p:nvSpPr>
        <p:spPr bwMode="auto">
          <a:xfrm>
            <a:off x="6905169" y="3303217"/>
            <a:ext cx="1693718" cy="477985"/>
          </a:xfrm>
          <a:prstGeom prst="wedgeRectCallout">
            <a:avLst>
              <a:gd name="adj1" fmla="val -64895"/>
              <a:gd name="adj2" fmla="val -125113"/>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200" dirty="0" smtClean="0">
                <a:solidFill>
                  <a:schemeClr val="bg1"/>
                </a:solidFill>
                <a:ea typeface="Segoe UI" pitchFamily="34" charset="0"/>
                <a:cs typeface="Segoe UI" pitchFamily="34" charset="0"/>
              </a:rPr>
              <a:t>Callback Operation</a:t>
            </a:r>
          </a:p>
        </p:txBody>
      </p:sp>
      <p:sp>
        <p:nvSpPr>
          <p:cNvPr id="7" name="Rectangular Callout 6"/>
          <p:cNvSpPr/>
          <p:nvPr/>
        </p:nvSpPr>
        <p:spPr bwMode="auto">
          <a:xfrm>
            <a:off x="3635059" y="3303218"/>
            <a:ext cx="1528429" cy="477984"/>
          </a:xfrm>
          <a:prstGeom prst="wedgeRectCallout">
            <a:avLst>
              <a:gd name="adj1" fmla="val 30735"/>
              <a:gd name="adj2" fmla="val -138980"/>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200" dirty="0" smtClean="0">
                <a:solidFill>
                  <a:schemeClr val="bg1"/>
                </a:solidFill>
                <a:ea typeface="Segoe UI" pitchFamily="34" charset="0"/>
                <a:cs typeface="Segoe UI" pitchFamily="34" charset="0"/>
              </a:rPr>
              <a:t>Window Length</a:t>
            </a:r>
          </a:p>
        </p:txBody>
      </p:sp>
      <p:sp>
        <p:nvSpPr>
          <p:cNvPr id="8" name="Rectangular Callout 7"/>
          <p:cNvSpPr/>
          <p:nvPr/>
        </p:nvSpPr>
        <p:spPr bwMode="auto">
          <a:xfrm>
            <a:off x="5219238" y="3303218"/>
            <a:ext cx="1622883" cy="477985"/>
          </a:xfrm>
          <a:prstGeom prst="wedgeRectCallout">
            <a:avLst>
              <a:gd name="adj1" fmla="val -6076"/>
              <a:gd name="adj2" fmla="val -136512"/>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400" dirty="0" smtClean="0">
                <a:solidFill>
                  <a:schemeClr val="bg1"/>
                </a:solidFill>
                <a:ea typeface="Segoe UI" pitchFamily="34" charset="0"/>
                <a:cs typeface="Segoe UI" pitchFamily="34" charset="0"/>
              </a:rPr>
              <a:t>Sliding Interval</a:t>
            </a:r>
          </a:p>
        </p:txBody>
      </p:sp>
      <p:sp>
        <p:nvSpPr>
          <p:cNvPr id="9" name="TextBox 8"/>
          <p:cNvSpPr txBox="1"/>
          <p:nvPr/>
        </p:nvSpPr>
        <p:spPr>
          <a:xfrm>
            <a:off x="135084" y="3982829"/>
            <a:ext cx="11729582" cy="327782"/>
          </a:xfrm>
          <a:prstGeom prst="rect">
            <a:avLst/>
          </a:prstGeom>
          <a:solidFill>
            <a:schemeClr val="bg1"/>
          </a:solidFill>
          <a:ln>
            <a:solidFill>
              <a:schemeClr val="tx1">
                <a:lumMod val="75000"/>
                <a:lumOff val="25000"/>
              </a:schemeClr>
            </a:solidFill>
          </a:ln>
        </p:spPr>
        <p:txBody>
          <a:bodyPr wrap="square">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2"/>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93" lvl="1" indent="0">
              <a:spcBef>
                <a:spcPts val="600"/>
              </a:spcBef>
              <a:buNone/>
            </a:pPr>
            <a:r>
              <a:rPr lang="en-US" sz="1700" dirty="0" smtClean="0"/>
              <a:t>countByValue() is invoked every 2 secs. All RDDs accumulated in the previous 10 mins is passed to the callback function</a:t>
            </a:r>
            <a:endParaRPr lang="en-US" sz="1700" dirty="0"/>
          </a:p>
        </p:txBody>
      </p:sp>
      <p:sp>
        <p:nvSpPr>
          <p:cNvPr id="10" name="Rectangular Callout 9"/>
          <p:cNvSpPr/>
          <p:nvPr/>
        </p:nvSpPr>
        <p:spPr bwMode="auto">
          <a:xfrm>
            <a:off x="1890534" y="3303218"/>
            <a:ext cx="1688775" cy="477984"/>
          </a:xfrm>
          <a:prstGeom prst="wedgeRectCallout">
            <a:avLst>
              <a:gd name="adj1" fmla="val 24617"/>
              <a:gd name="adj2" fmla="val -136806"/>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200" dirty="0" smtClean="0">
                <a:solidFill>
                  <a:schemeClr val="bg1"/>
                </a:solidFill>
                <a:ea typeface="Segoe UI" pitchFamily="34" charset="0"/>
                <a:cs typeface="Segoe UI" pitchFamily="34" charset="0"/>
              </a:rPr>
              <a:t>Window Operation</a:t>
            </a:r>
          </a:p>
        </p:txBody>
      </p:sp>
      <p:pic>
        <p:nvPicPr>
          <p:cNvPr id="11" name="Picture 10"/>
          <p:cNvPicPr>
            <a:picLocks noChangeAspect="1"/>
          </p:cNvPicPr>
          <p:nvPr/>
        </p:nvPicPr>
        <p:blipFill>
          <a:blip r:embed="rId3"/>
          <a:stretch>
            <a:fillRect/>
          </a:stretch>
        </p:blipFill>
        <p:spPr>
          <a:xfrm>
            <a:off x="3264317" y="4343935"/>
            <a:ext cx="5532727" cy="2347218"/>
          </a:xfrm>
          <a:prstGeom prst="rect">
            <a:avLst/>
          </a:prstGeom>
          <a:ln>
            <a:solidFill>
              <a:schemeClr val="tx1">
                <a:lumMod val="75000"/>
                <a:lumOff val="25000"/>
              </a:schemeClr>
            </a:solidFill>
          </a:ln>
        </p:spPr>
      </p:pic>
    </p:spTree>
    <p:extLst>
      <p:ext uri="{BB962C8B-B14F-4D97-AF65-F5344CB8AC3E}">
        <p14:creationId xmlns:p14="http://schemas.microsoft.com/office/powerpoint/2010/main" val="2423852184"/>
      </p:ext>
    </p:extLst>
  </p:cSld>
  <p:clrMapOvr>
    <a:masterClrMapping/>
  </p:clrMapOvr>
  <p:transition spd="med">
    <p:fade/>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xactly once”, “At Least Once” Guarantees</a:t>
            </a:r>
            <a:endParaRPr lang="en-US" dirty="0"/>
          </a:p>
        </p:txBody>
      </p:sp>
      <p:sp>
        <p:nvSpPr>
          <p:cNvPr id="3" name="Slide Number Placeholder 2"/>
          <p:cNvSpPr>
            <a:spLocks noGrp="1"/>
          </p:cNvSpPr>
          <p:nvPr>
            <p:ph type="sldNum" sz="quarter" idx="11"/>
          </p:nvPr>
        </p:nvSpPr>
        <p:spPr/>
        <p:txBody>
          <a:bodyPr/>
          <a:lstStyle/>
          <a:p>
            <a:pPr>
              <a:defRPr/>
            </a:pPr>
            <a:fld id="{F8A0AC42-AA1D-4944-8D96-660DE70C7E1B}" type="slidenum">
              <a:rPr lang="en-US" smtClean="0"/>
              <a:pPr>
                <a:defRPr/>
              </a:pPr>
              <a:t>39</a:t>
            </a:fld>
            <a:endParaRPr lang="en-US" dirty="0"/>
          </a:p>
        </p:txBody>
      </p:sp>
      <p:sp>
        <p:nvSpPr>
          <p:cNvPr id="4" name="TextBox 3"/>
          <p:cNvSpPr txBox="1"/>
          <p:nvPr/>
        </p:nvSpPr>
        <p:spPr>
          <a:xfrm>
            <a:off x="544006" y="1928038"/>
            <a:ext cx="10823159" cy="3477875"/>
          </a:xfrm>
          <a:prstGeom prst="rect">
            <a:avLst/>
          </a:prstGeom>
          <a:solidFill>
            <a:schemeClr val="bg1"/>
          </a:solidFill>
          <a:ln>
            <a:noFill/>
          </a:ln>
        </p:spPr>
        <p:txBody>
          <a:bodyPr wrap="square">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2"/>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lvl="1">
              <a:spcBef>
                <a:spcPts val="600"/>
              </a:spcBef>
            </a:pPr>
            <a:r>
              <a:rPr lang="en-US" sz="2000" dirty="0">
                <a:solidFill>
                  <a:schemeClr val="tx1">
                    <a:lumMod val="65000"/>
                    <a:lumOff val="35000"/>
                  </a:schemeClr>
                </a:solidFill>
              </a:rPr>
              <a:t>Spark provides both </a:t>
            </a:r>
            <a:r>
              <a:rPr lang="en-US" sz="2000" i="1" dirty="0">
                <a:solidFill>
                  <a:schemeClr val="tx1">
                    <a:lumMod val="65000"/>
                    <a:lumOff val="35000"/>
                  </a:schemeClr>
                </a:solidFill>
              </a:rPr>
              <a:t>exactly once </a:t>
            </a:r>
            <a:r>
              <a:rPr lang="en-US" sz="2000" dirty="0">
                <a:solidFill>
                  <a:schemeClr val="tx1">
                    <a:lumMod val="65000"/>
                    <a:lumOff val="35000"/>
                  </a:schemeClr>
                </a:solidFill>
              </a:rPr>
              <a:t>and </a:t>
            </a:r>
            <a:r>
              <a:rPr lang="en-US" sz="2000" i="1" dirty="0">
                <a:solidFill>
                  <a:schemeClr val="tx1">
                    <a:lumMod val="65000"/>
                    <a:lumOff val="35000"/>
                  </a:schemeClr>
                </a:solidFill>
              </a:rPr>
              <a:t>at least once </a:t>
            </a:r>
            <a:r>
              <a:rPr lang="en-US" sz="2000" dirty="0">
                <a:solidFill>
                  <a:schemeClr val="tx1">
                    <a:lumMod val="65000"/>
                    <a:lumOff val="35000"/>
                  </a:schemeClr>
                </a:solidFill>
              </a:rPr>
              <a:t>guarantees.</a:t>
            </a:r>
          </a:p>
          <a:p>
            <a:pPr lvl="1">
              <a:spcBef>
                <a:spcPts val="600"/>
              </a:spcBef>
            </a:pPr>
            <a:r>
              <a:rPr lang="en-US" sz="2000" dirty="0">
                <a:solidFill>
                  <a:schemeClr val="tx1">
                    <a:lumMod val="65000"/>
                    <a:lumOff val="35000"/>
                  </a:schemeClr>
                </a:solidFill>
              </a:rPr>
              <a:t>DStreams, like RDDs are </a:t>
            </a:r>
            <a:r>
              <a:rPr lang="en-US" sz="2000" dirty="0" smtClean="0">
                <a:solidFill>
                  <a:schemeClr val="tx1">
                    <a:lumMod val="65000"/>
                    <a:lumOff val="35000"/>
                  </a:schemeClr>
                </a:solidFill>
              </a:rPr>
              <a:t>fault-tolerant </a:t>
            </a:r>
            <a:r>
              <a:rPr lang="en-US" sz="2000" dirty="0">
                <a:solidFill>
                  <a:schemeClr val="tx1">
                    <a:lumMod val="65000"/>
                    <a:lumOff val="35000"/>
                  </a:schemeClr>
                </a:solidFill>
              </a:rPr>
              <a:t>and can be recomputed from input data source using the lineage.</a:t>
            </a:r>
          </a:p>
          <a:p>
            <a:pPr lvl="1">
              <a:spcBef>
                <a:spcPts val="600"/>
              </a:spcBef>
            </a:pPr>
            <a:r>
              <a:rPr lang="en-US" sz="2000" dirty="0">
                <a:solidFill>
                  <a:schemeClr val="tx1">
                    <a:lumMod val="65000"/>
                    <a:lumOff val="35000"/>
                  </a:schemeClr>
                </a:solidFill>
              </a:rPr>
              <a:t>However, it assumes that the input data is still available to be recomputed. </a:t>
            </a:r>
            <a:r>
              <a:rPr lang="en-US" sz="2000" dirty="0" smtClean="0">
                <a:solidFill>
                  <a:schemeClr val="tx1">
                    <a:lumMod val="65000"/>
                    <a:lumOff val="35000"/>
                  </a:schemeClr>
                </a:solidFill>
              </a:rPr>
              <a:t>Works if </a:t>
            </a:r>
            <a:r>
              <a:rPr lang="en-US" sz="2000" dirty="0">
                <a:solidFill>
                  <a:schemeClr val="tx1">
                    <a:lumMod val="65000"/>
                    <a:lumOff val="35000"/>
                  </a:schemeClr>
                </a:solidFill>
              </a:rPr>
              <a:t>the data source itself is fault-tolerant and persistent (HDFS, Kafka</a:t>
            </a:r>
            <a:r>
              <a:rPr lang="en-US" sz="2000" dirty="0" smtClean="0">
                <a:solidFill>
                  <a:schemeClr val="tx1">
                    <a:lumMod val="65000"/>
                    <a:lumOff val="35000"/>
                  </a:schemeClr>
                </a:solidFill>
              </a:rPr>
              <a:t>).</a:t>
            </a:r>
            <a:endParaRPr lang="en-US" sz="2000" dirty="0">
              <a:solidFill>
                <a:schemeClr val="tx1">
                  <a:lumMod val="65000"/>
                  <a:lumOff val="35000"/>
                </a:schemeClr>
              </a:solidFill>
            </a:endParaRPr>
          </a:p>
          <a:p>
            <a:pPr lvl="1">
              <a:spcBef>
                <a:spcPts val="600"/>
              </a:spcBef>
            </a:pPr>
            <a:r>
              <a:rPr lang="en-US" sz="2000" dirty="0">
                <a:solidFill>
                  <a:schemeClr val="tx1">
                    <a:lumMod val="65000"/>
                    <a:lumOff val="35000"/>
                  </a:schemeClr>
                </a:solidFill>
              </a:rPr>
              <a:t>If the data stream is delivered over a network (socket stream) then Spark’s default persistence behavior is to replicate data to two worker nodes. Any data received by a node but not yet replicated </a:t>
            </a:r>
            <a:r>
              <a:rPr lang="en-US" sz="2000" i="1" dirty="0">
                <a:solidFill>
                  <a:schemeClr val="tx1">
                    <a:lumMod val="65000"/>
                    <a:lumOff val="35000"/>
                  </a:schemeClr>
                </a:solidFill>
              </a:rPr>
              <a:t>might be lost </a:t>
            </a:r>
            <a:r>
              <a:rPr lang="en-US" sz="2000" dirty="0">
                <a:solidFill>
                  <a:schemeClr val="tx1">
                    <a:lumMod val="65000"/>
                    <a:lumOff val="35000"/>
                  </a:schemeClr>
                </a:solidFill>
              </a:rPr>
              <a:t>when the receiving node fails. </a:t>
            </a:r>
            <a:endParaRPr lang="en-US" sz="2000" dirty="0" smtClean="0">
              <a:solidFill>
                <a:schemeClr val="tx1">
                  <a:lumMod val="65000"/>
                  <a:lumOff val="35000"/>
                </a:schemeClr>
              </a:solidFill>
            </a:endParaRPr>
          </a:p>
          <a:p>
            <a:pPr lvl="1">
              <a:spcBef>
                <a:spcPts val="600"/>
              </a:spcBef>
            </a:pPr>
            <a:r>
              <a:rPr lang="en-US" sz="2000" dirty="0" smtClean="0">
                <a:solidFill>
                  <a:schemeClr val="tx1">
                    <a:lumMod val="65000"/>
                    <a:lumOff val="35000"/>
                  </a:schemeClr>
                </a:solidFill>
              </a:rPr>
              <a:t>Ensuring exactly once behavior </a:t>
            </a:r>
            <a:r>
              <a:rPr lang="en-US" sz="2000" i="1" dirty="0" smtClean="0">
                <a:solidFill>
                  <a:schemeClr val="tx1">
                    <a:lumMod val="65000"/>
                    <a:lumOff val="35000"/>
                  </a:schemeClr>
                </a:solidFill>
              </a:rPr>
              <a:t>for external updates </a:t>
            </a:r>
            <a:r>
              <a:rPr lang="en-US" sz="2000" dirty="0" smtClean="0">
                <a:solidFill>
                  <a:schemeClr val="tx1">
                    <a:lumMod val="65000"/>
                    <a:lumOff val="35000"/>
                  </a:schemeClr>
                </a:solidFill>
              </a:rPr>
              <a:t>(such as storing intermediate state in a database) is the responsibility of the application developer. Spark provides no support.</a:t>
            </a:r>
            <a:endParaRPr lang="en-US" sz="2000" dirty="0">
              <a:solidFill>
                <a:schemeClr val="tx1">
                  <a:lumMod val="65000"/>
                  <a:lumOff val="35000"/>
                </a:schemeClr>
              </a:solidFill>
            </a:endParaRPr>
          </a:p>
        </p:txBody>
      </p:sp>
    </p:spTree>
    <p:extLst>
      <p:ext uri="{BB962C8B-B14F-4D97-AF65-F5344CB8AC3E}">
        <p14:creationId xmlns:p14="http://schemas.microsoft.com/office/powerpoint/2010/main" val="3989034264"/>
      </p:ext>
    </p:extLst>
  </p:cSld>
  <p:clrMapOvr>
    <a:masterClrMapping/>
  </p:clrMapOvr>
  <p:transition spd="med">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pache Spark – An Unified Framework</a:t>
            </a:r>
            <a:endParaRPr lang="en-US" dirty="0"/>
          </a:p>
        </p:txBody>
      </p:sp>
      <p:sp>
        <p:nvSpPr>
          <p:cNvPr id="3" name="Slide Number Placeholder 2"/>
          <p:cNvSpPr>
            <a:spLocks noGrp="1"/>
          </p:cNvSpPr>
          <p:nvPr>
            <p:ph type="sldNum" sz="quarter" idx="11"/>
          </p:nvPr>
        </p:nvSpPr>
        <p:spPr/>
        <p:txBody>
          <a:bodyPr/>
          <a:lstStyle/>
          <a:p>
            <a:pPr>
              <a:defRPr/>
            </a:pPr>
            <a:fld id="{F8A0AC42-AA1D-4944-8D96-660DE70C7E1B}" type="slidenum">
              <a:rPr lang="en-US" smtClean="0"/>
              <a:pPr>
                <a:defRPr/>
              </a:pPr>
              <a:t>4</a:t>
            </a:fld>
            <a:endParaRPr lang="en-US" dirty="0"/>
          </a:p>
        </p:txBody>
      </p:sp>
      <p:sp>
        <p:nvSpPr>
          <p:cNvPr id="4" name="TextBox 3"/>
          <p:cNvSpPr txBox="1"/>
          <p:nvPr/>
        </p:nvSpPr>
        <p:spPr>
          <a:xfrm>
            <a:off x="498197" y="2739218"/>
            <a:ext cx="3660974" cy="2596707"/>
          </a:xfrm>
          <a:prstGeom prst="rect">
            <a:avLst/>
          </a:prstGeom>
          <a:noFill/>
        </p:spPr>
        <p:txBody>
          <a:bodyPr wrap="none" lIns="182880" tIns="146304" rIns="182880" bIns="146304" rtlCol="0">
            <a:noAutofit/>
          </a:bodyPr>
          <a:lstStyle/>
          <a:p>
            <a:pPr marL="110493" lvl="1" defTabSz="913770" fontAlgn="base">
              <a:lnSpc>
                <a:spcPct val="90000"/>
              </a:lnSpc>
              <a:spcBef>
                <a:spcPts val="600"/>
              </a:spcBef>
              <a:spcAft>
                <a:spcPts val="600"/>
              </a:spcAft>
              <a:buClr>
                <a:srgbClr val="68217A">
                  <a:lumMod val="50000"/>
                </a:srgbClr>
              </a:buClr>
            </a:pPr>
            <a:r>
              <a:rPr lang="en-US" sz="2353" dirty="0" smtClean="0">
                <a:ln>
                  <a:solidFill>
                    <a:srgbClr val="FFFFFF">
                      <a:alpha val="0"/>
                    </a:srgbClr>
                  </a:solidFill>
                </a:ln>
                <a:gradFill>
                  <a:gsLst>
                    <a:gs pos="85321">
                      <a:srgbClr val="505050"/>
                    </a:gs>
                    <a:gs pos="57000">
                      <a:srgbClr val="505050"/>
                    </a:gs>
                  </a:gsLst>
                </a:gradFill>
                <a:ea typeface="Segoe UI" pitchFamily="34" charset="0"/>
                <a:cs typeface="Segoe UI" pitchFamily="34" charset="0"/>
              </a:rPr>
              <a:t>Spark Unifies:</a:t>
            </a:r>
          </a:p>
          <a:p>
            <a:pPr marL="558686" lvl="1" indent="-448193" defTabSz="913770" fontAlgn="base">
              <a:lnSpc>
                <a:spcPct val="90000"/>
              </a:lnSpc>
              <a:spcBef>
                <a:spcPts val="600"/>
              </a:spcBef>
              <a:spcAft>
                <a:spcPts val="600"/>
              </a:spcAft>
              <a:buClr>
                <a:srgbClr val="68217A">
                  <a:lumMod val="50000"/>
                </a:srgbClr>
              </a:buClr>
              <a:buBlip>
                <a:blip r:embed="rId2"/>
              </a:buBlip>
            </a:pPr>
            <a:r>
              <a:rPr lang="en-US" sz="2353" dirty="0">
                <a:ln>
                  <a:solidFill>
                    <a:srgbClr val="FFFFFF">
                      <a:alpha val="0"/>
                    </a:srgbClr>
                  </a:solidFill>
                </a:ln>
                <a:gradFill>
                  <a:gsLst>
                    <a:gs pos="85321">
                      <a:srgbClr val="505050"/>
                    </a:gs>
                    <a:gs pos="57000">
                      <a:srgbClr val="505050"/>
                    </a:gs>
                  </a:gsLst>
                </a:gradFill>
                <a:ea typeface="Segoe UI" pitchFamily="34" charset="0"/>
                <a:cs typeface="Segoe UI" pitchFamily="34" charset="0"/>
              </a:rPr>
              <a:t>Batch Processing</a:t>
            </a:r>
          </a:p>
          <a:p>
            <a:pPr marL="558686" lvl="1" indent="-448193" defTabSz="913770" fontAlgn="base">
              <a:lnSpc>
                <a:spcPct val="90000"/>
              </a:lnSpc>
              <a:spcBef>
                <a:spcPts val="600"/>
              </a:spcBef>
              <a:spcAft>
                <a:spcPts val="600"/>
              </a:spcAft>
              <a:buClr>
                <a:srgbClr val="68217A">
                  <a:lumMod val="50000"/>
                </a:srgbClr>
              </a:buClr>
              <a:buBlip>
                <a:blip r:embed="rId2"/>
              </a:buBlip>
            </a:pPr>
            <a:r>
              <a:rPr lang="en-US" sz="2353" dirty="0">
                <a:ln>
                  <a:solidFill>
                    <a:srgbClr val="FFFFFF">
                      <a:alpha val="0"/>
                    </a:srgbClr>
                  </a:solidFill>
                </a:ln>
                <a:gradFill>
                  <a:gsLst>
                    <a:gs pos="85321">
                      <a:srgbClr val="505050"/>
                    </a:gs>
                    <a:gs pos="57000">
                      <a:srgbClr val="505050"/>
                    </a:gs>
                  </a:gsLst>
                </a:gradFill>
                <a:ea typeface="Segoe UI" pitchFamily="34" charset="0"/>
                <a:cs typeface="Segoe UI" pitchFamily="34" charset="0"/>
              </a:rPr>
              <a:t>Real-time processing</a:t>
            </a:r>
          </a:p>
          <a:p>
            <a:pPr marL="558686" lvl="1" indent="-448193" defTabSz="913770" fontAlgn="base">
              <a:lnSpc>
                <a:spcPct val="90000"/>
              </a:lnSpc>
              <a:spcBef>
                <a:spcPts val="600"/>
              </a:spcBef>
              <a:spcAft>
                <a:spcPts val="600"/>
              </a:spcAft>
              <a:buClr>
                <a:srgbClr val="68217A">
                  <a:lumMod val="50000"/>
                </a:srgbClr>
              </a:buClr>
              <a:buBlip>
                <a:blip r:embed="rId2"/>
              </a:buBlip>
            </a:pPr>
            <a:r>
              <a:rPr lang="en-US" sz="2353" dirty="0">
                <a:ln>
                  <a:solidFill>
                    <a:srgbClr val="FFFFFF">
                      <a:alpha val="0"/>
                    </a:srgbClr>
                  </a:solidFill>
                </a:ln>
                <a:gradFill>
                  <a:gsLst>
                    <a:gs pos="85321">
                      <a:srgbClr val="505050"/>
                    </a:gs>
                    <a:gs pos="57000">
                      <a:srgbClr val="505050"/>
                    </a:gs>
                  </a:gsLst>
                </a:gradFill>
                <a:ea typeface="Segoe UI" pitchFamily="34" charset="0"/>
                <a:cs typeface="Segoe UI" pitchFamily="34" charset="0"/>
              </a:rPr>
              <a:t>Stream Analytics</a:t>
            </a:r>
          </a:p>
          <a:p>
            <a:pPr marL="558686" lvl="1" indent="-448193" defTabSz="913770" fontAlgn="base">
              <a:lnSpc>
                <a:spcPct val="90000"/>
              </a:lnSpc>
              <a:spcBef>
                <a:spcPts val="600"/>
              </a:spcBef>
              <a:spcAft>
                <a:spcPts val="600"/>
              </a:spcAft>
              <a:buClr>
                <a:srgbClr val="68217A">
                  <a:lumMod val="50000"/>
                </a:srgbClr>
              </a:buClr>
              <a:buBlip>
                <a:blip r:embed="rId2"/>
              </a:buBlip>
            </a:pPr>
            <a:r>
              <a:rPr lang="en-US" sz="2353" dirty="0">
                <a:ln>
                  <a:solidFill>
                    <a:srgbClr val="FFFFFF">
                      <a:alpha val="0"/>
                    </a:srgbClr>
                  </a:solidFill>
                </a:ln>
                <a:gradFill>
                  <a:gsLst>
                    <a:gs pos="85321">
                      <a:srgbClr val="505050"/>
                    </a:gs>
                    <a:gs pos="57000">
                      <a:srgbClr val="505050"/>
                    </a:gs>
                  </a:gsLst>
                </a:gradFill>
                <a:ea typeface="Segoe UI" pitchFamily="34" charset="0"/>
                <a:cs typeface="Segoe UI" pitchFamily="34" charset="0"/>
              </a:rPr>
              <a:t>Machine Learning</a:t>
            </a:r>
          </a:p>
          <a:p>
            <a:pPr marL="558686" lvl="1" indent="-448193" defTabSz="913770" fontAlgn="base">
              <a:lnSpc>
                <a:spcPct val="90000"/>
              </a:lnSpc>
              <a:spcBef>
                <a:spcPts val="600"/>
              </a:spcBef>
              <a:spcAft>
                <a:spcPts val="600"/>
              </a:spcAft>
              <a:buClr>
                <a:srgbClr val="68217A">
                  <a:lumMod val="50000"/>
                </a:srgbClr>
              </a:buClr>
              <a:buBlip>
                <a:blip r:embed="rId2"/>
              </a:buBlip>
            </a:pPr>
            <a:r>
              <a:rPr lang="en-US" sz="2353" dirty="0">
                <a:ln>
                  <a:solidFill>
                    <a:srgbClr val="FFFFFF">
                      <a:alpha val="0"/>
                    </a:srgbClr>
                  </a:solidFill>
                </a:ln>
                <a:gradFill>
                  <a:gsLst>
                    <a:gs pos="85321">
                      <a:srgbClr val="505050"/>
                    </a:gs>
                    <a:gs pos="57000">
                      <a:srgbClr val="505050"/>
                    </a:gs>
                  </a:gsLst>
                </a:gradFill>
                <a:ea typeface="Segoe UI" pitchFamily="34" charset="0"/>
                <a:cs typeface="Segoe UI" pitchFamily="34" charset="0"/>
              </a:rPr>
              <a:t>Interactive SQL</a:t>
            </a:r>
          </a:p>
        </p:txBody>
      </p:sp>
      <p:sp>
        <p:nvSpPr>
          <p:cNvPr id="18" name="Rectangle 17"/>
          <p:cNvSpPr/>
          <p:nvPr/>
        </p:nvSpPr>
        <p:spPr>
          <a:xfrm>
            <a:off x="268927" y="1610327"/>
            <a:ext cx="11483438" cy="424732"/>
          </a:xfrm>
          <a:prstGeom prst="rect">
            <a:avLst/>
          </a:prstGeom>
          <a:solidFill>
            <a:schemeClr val="tx2">
              <a:lumMod val="20000"/>
              <a:lumOff val="80000"/>
            </a:schemeClr>
          </a:solidFill>
        </p:spPr>
        <p:txBody>
          <a:bodyPr wrap="square">
            <a:spAutoFit/>
          </a:bodyPr>
          <a:lstStyle/>
          <a:p>
            <a:pPr>
              <a:lnSpc>
                <a:spcPct val="90000"/>
              </a:lnSpc>
              <a:spcAft>
                <a:spcPts val="600"/>
              </a:spcAft>
            </a:pPr>
            <a:r>
              <a:rPr lang="en-US" sz="2400" dirty="0">
                <a:solidFill>
                  <a:schemeClr val="bg2">
                    <a:lumMod val="50000"/>
                  </a:schemeClr>
                </a:solidFill>
              </a:rPr>
              <a:t>An unified, open source, parallel, data processing framework for Big Data </a:t>
            </a:r>
            <a:r>
              <a:rPr lang="en-US" sz="2400" dirty="0" smtClean="0">
                <a:solidFill>
                  <a:schemeClr val="bg2">
                    <a:lumMod val="50000"/>
                  </a:schemeClr>
                </a:solidFill>
              </a:rPr>
              <a:t>Analytics </a:t>
            </a:r>
            <a:endParaRPr lang="en-US" sz="2400" dirty="0">
              <a:solidFill>
                <a:schemeClr val="bg2">
                  <a:lumMod val="50000"/>
                </a:schemeClr>
              </a:solidFill>
            </a:endParaRPr>
          </a:p>
        </p:txBody>
      </p:sp>
      <p:grpSp>
        <p:nvGrpSpPr>
          <p:cNvPr id="6" name="Group 5"/>
          <p:cNvGrpSpPr/>
          <p:nvPr/>
        </p:nvGrpSpPr>
        <p:grpSpPr>
          <a:xfrm>
            <a:off x="4527261" y="2584807"/>
            <a:ext cx="7013529" cy="3396470"/>
            <a:chOff x="4353636" y="2966782"/>
            <a:chExt cx="7013529" cy="3396470"/>
          </a:xfrm>
        </p:grpSpPr>
        <p:grpSp>
          <p:nvGrpSpPr>
            <p:cNvPr id="17" name="Group 16"/>
            <p:cNvGrpSpPr/>
            <p:nvPr/>
          </p:nvGrpSpPr>
          <p:grpSpPr>
            <a:xfrm>
              <a:off x="4353636" y="2966782"/>
              <a:ext cx="7013529" cy="2580840"/>
              <a:chOff x="4353636" y="2320114"/>
              <a:chExt cx="7013529" cy="2580840"/>
            </a:xfrm>
          </p:grpSpPr>
          <p:sp>
            <p:nvSpPr>
              <p:cNvPr id="8" name="Rounded Rectangle 7"/>
              <p:cNvSpPr/>
              <p:nvPr/>
            </p:nvSpPr>
            <p:spPr bwMode="auto">
              <a:xfrm>
                <a:off x="4353636" y="4259510"/>
                <a:ext cx="7013529" cy="641444"/>
              </a:xfrm>
              <a:prstGeom prst="round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000" b="1" dirty="0" smtClean="0">
                    <a:solidFill>
                      <a:schemeClr val="bg1"/>
                    </a:solidFill>
                    <a:latin typeface="+mj-lt"/>
                    <a:ea typeface="Segoe UI" pitchFamily="34" charset="0"/>
                    <a:cs typeface="Segoe UI" pitchFamily="34" charset="0"/>
                  </a:rPr>
                  <a:t>Spark Core Engine</a:t>
                </a:r>
              </a:p>
            </p:txBody>
          </p:sp>
          <p:sp>
            <p:nvSpPr>
              <p:cNvPr id="9" name="Pentagon 8"/>
              <p:cNvSpPr/>
              <p:nvPr/>
            </p:nvSpPr>
            <p:spPr bwMode="auto">
              <a:xfrm rot="5400000">
                <a:off x="4310667" y="2409279"/>
                <a:ext cx="1939396" cy="1761067"/>
              </a:xfrm>
              <a:prstGeom prst="homePlat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smtClean="0">
                  <a:solidFill>
                    <a:schemeClr val="bg1"/>
                  </a:solidFill>
                  <a:latin typeface="+mj-lt"/>
                  <a:ea typeface="Segoe UI" pitchFamily="34" charset="0"/>
                  <a:cs typeface="Segoe UI" pitchFamily="34" charset="0"/>
                </a:endParaRPr>
              </a:p>
            </p:txBody>
          </p:sp>
          <p:sp>
            <p:nvSpPr>
              <p:cNvPr id="10" name="Pentagon 9"/>
              <p:cNvSpPr/>
              <p:nvPr/>
            </p:nvSpPr>
            <p:spPr bwMode="auto">
              <a:xfrm rot="5400000">
                <a:off x="6055645" y="2426413"/>
                <a:ext cx="1939396" cy="1726798"/>
              </a:xfrm>
              <a:prstGeom prst="homePlat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smtClean="0">
                  <a:solidFill>
                    <a:schemeClr val="bg1"/>
                  </a:solidFill>
                  <a:latin typeface="+mj-lt"/>
                  <a:ea typeface="Segoe UI" pitchFamily="34" charset="0"/>
                  <a:cs typeface="Segoe UI" pitchFamily="34" charset="0"/>
                </a:endParaRPr>
              </a:p>
            </p:txBody>
          </p:sp>
          <p:sp>
            <p:nvSpPr>
              <p:cNvPr id="11" name="Pentagon 10"/>
              <p:cNvSpPr/>
              <p:nvPr/>
            </p:nvSpPr>
            <p:spPr bwMode="auto">
              <a:xfrm rot="5400000">
                <a:off x="7787437" y="2421421"/>
                <a:ext cx="1939396" cy="1736785"/>
              </a:xfrm>
              <a:prstGeom prst="homePlat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smtClean="0">
                  <a:solidFill>
                    <a:schemeClr val="bg1"/>
                  </a:solidFill>
                  <a:latin typeface="+mj-lt"/>
                  <a:ea typeface="Segoe UI" pitchFamily="34" charset="0"/>
                  <a:cs typeface="Segoe UI" pitchFamily="34" charset="0"/>
                </a:endParaRPr>
              </a:p>
            </p:txBody>
          </p:sp>
          <p:sp>
            <p:nvSpPr>
              <p:cNvPr id="12" name="Pentagon 11"/>
              <p:cNvSpPr/>
              <p:nvPr/>
            </p:nvSpPr>
            <p:spPr bwMode="auto">
              <a:xfrm rot="5400000">
                <a:off x="9447031" y="2475471"/>
                <a:ext cx="1939396" cy="1628682"/>
              </a:xfrm>
              <a:prstGeom prst="homePlate">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smtClean="0">
                  <a:solidFill>
                    <a:schemeClr val="bg1"/>
                  </a:solidFill>
                  <a:latin typeface="+mj-lt"/>
                  <a:ea typeface="Segoe UI" pitchFamily="34" charset="0"/>
                  <a:cs typeface="Segoe UI" pitchFamily="34" charset="0"/>
                </a:endParaRPr>
              </a:p>
            </p:txBody>
          </p:sp>
          <p:sp>
            <p:nvSpPr>
              <p:cNvPr id="13" name="TextBox 12"/>
              <p:cNvSpPr txBox="1"/>
              <p:nvPr/>
            </p:nvSpPr>
            <p:spPr>
              <a:xfrm>
                <a:off x="4413889" y="2335386"/>
                <a:ext cx="1723377" cy="1262041"/>
              </a:xfrm>
              <a:prstGeom prst="rect">
                <a:avLst/>
              </a:prstGeom>
              <a:noFill/>
            </p:spPr>
            <p:txBody>
              <a:bodyPr wrap="none" lIns="182880" tIns="146304" rIns="182880" bIns="146304" rtlCol="0">
                <a:noAutofit/>
              </a:bodyPr>
              <a:lstStyle/>
              <a:p>
                <a:pPr>
                  <a:lnSpc>
                    <a:spcPct val="90000"/>
                  </a:lnSpc>
                  <a:spcAft>
                    <a:spcPts val="600"/>
                  </a:spcAft>
                </a:pPr>
                <a:r>
                  <a:rPr lang="en-US" dirty="0" smtClean="0">
                    <a:solidFill>
                      <a:schemeClr val="bg1"/>
                    </a:solidFill>
                  </a:rPr>
                  <a:t>Spark SQL</a:t>
                </a:r>
              </a:p>
              <a:p>
                <a:pPr algn="ctr">
                  <a:lnSpc>
                    <a:spcPct val="90000"/>
                  </a:lnSpc>
                  <a:spcAft>
                    <a:spcPts val="600"/>
                  </a:spcAft>
                </a:pPr>
                <a:r>
                  <a:rPr lang="en-US" sz="1400" i="1" dirty="0" smtClean="0">
                    <a:solidFill>
                      <a:schemeClr val="bg1"/>
                    </a:solidFill>
                  </a:rPr>
                  <a:t>Interactive</a:t>
                </a:r>
                <a:br>
                  <a:rPr lang="en-US" sz="1400" i="1" dirty="0" smtClean="0">
                    <a:solidFill>
                      <a:schemeClr val="bg1"/>
                    </a:solidFill>
                  </a:rPr>
                </a:br>
                <a:r>
                  <a:rPr lang="en-US" sz="1400" i="1" dirty="0" smtClean="0">
                    <a:solidFill>
                      <a:schemeClr val="bg1"/>
                    </a:solidFill>
                  </a:rPr>
                  <a:t>Queries</a:t>
                </a:r>
                <a:endParaRPr lang="en-US" sz="1600" i="1" dirty="0" smtClean="0">
                  <a:solidFill>
                    <a:schemeClr val="bg1"/>
                  </a:solidFill>
                </a:endParaRPr>
              </a:p>
            </p:txBody>
          </p:sp>
          <p:sp>
            <p:nvSpPr>
              <p:cNvPr id="14" name="TextBox 13"/>
              <p:cNvSpPr txBox="1"/>
              <p:nvPr/>
            </p:nvSpPr>
            <p:spPr>
              <a:xfrm>
                <a:off x="6136063" y="2335382"/>
                <a:ext cx="1751634" cy="914400"/>
              </a:xfrm>
              <a:prstGeom prst="rect">
                <a:avLst/>
              </a:prstGeom>
              <a:noFill/>
            </p:spPr>
            <p:txBody>
              <a:bodyPr wrap="none" lIns="182880" tIns="146304" rIns="182880" bIns="146304" rtlCol="0">
                <a:noAutofit/>
              </a:bodyPr>
              <a:lstStyle/>
              <a:p>
                <a:pPr algn="ctr">
                  <a:lnSpc>
                    <a:spcPct val="90000"/>
                  </a:lnSpc>
                  <a:spcAft>
                    <a:spcPts val="600"/>
                  </a:spcAft>
                </a:pPr>
                <a:r>
                  <a:rPr lang="en-US" dirty="0" smtClean="0">
                    <a:solidFill>
                      <a:schemeClr val="bg1"/>
                    </a:solidFill>
                  </a:rPr>
                  <a:t>Spark</a:t>
                </a:r>
                <a:br>
                  <a:rPr lang="en-US" dirty="0" smtClean="0">
                    <a:solidFill>
                      <a:schemeClr val="bg1"/>
                    </a:solidFill>
                  </a:rPr>
                </a:br>
                <a:r>
                  <a:rPr lang="en-US" dirty="0" smtClean="0">
                    <a:solidFill>
                      <a:schemeClr val="bg1"/>
                    </a:solidFill>
                  </a:rPr>
                  <a:t>Streaming</a:t>
                </a:r>
              </a:p>
              <a:p>
                <a:pPr algn="ctr">
                  <a:lnSpc>
                    <a:spcPct val="90000"/>
                  </a:lnSpc>
                  <a:spcAft>
                    <a:spcPts val="600"/>
                  </a:spcAft>
                </a:pPr>
                <a:r>
                  <a:rPr lang="en-US" sz="1400" i="1" dirty="0" smtClean="0">
                    <a:solidFill>
                      <a:schemeClr val="bg1"/>
                    </a:solidFill>
                  </a:rPr>
                  <a:t>Stream processing</a:t>
                </a:r>
                <a:endParaRPr lang="en-US" sz="1600" i="1" dirty="0" smtClean="0">
                  <a:solidFill>
                    <a:schemeClr val="bg1"/>
                  </a:solidFill>
                </a:endParaRPr>
              </a:p>
            </p:txBody>
          </p:sp>
          <p:sp>
            <p:nvSpPr>
              <p:cNvPr id="15" name="TextBox 14"/>
              <p:cNvSpPr txBox="1"/>
              <p:nvPr/>
            </p:nvSpPr>
            <p:spPr>
              <a:xfrm>
                <a:off x="7873894" y="2341827"/>
                <a:ext cx="1750035" cy="914400"/>
              </a:xfrm>
              <a:prstGeom prst="rect">
                <a:avLst/>
              </a:prstGeom>
              <a:noFill/>
            </p:spPr>
            <p:txBody>
              <a:bodyPr wrap="none" lIns="182880" tIns="146304" rIns="182880" bIns="146304" rtlCol="0">
                <a:noAutofit/>
              </a:bodyPr>
              <a:lstStyle/>
              <a:p>
                <a:pPr>
                  <a:lnSpc>
                    <a:spcPct val="90000"/>
                  </a:lnSpc>
                  <a:spcAft>
                    <a:spcPts val="600"/>
                  </a:spcAft>
                </a:pPr>
                <a:r>
                  <a:rPr lang="en-US" dirty="0" smtClean="0">
                    <a:solidFill>
                      <a:schemeClr val="bg1"/>
                    </a:solidFill>
                  </a:rPr>
                  <a:t>Spark MLlib</a:t>
                </a:r>
              </a:p>
              <a:p>
                <a:pPr algn="ctr">
                  <a:lnSpc>
                    <a:spcPct val="90000"/>
                  </a:lnSpc>
                  <a:spcAft>
                    <a:spcPts val="600"/>
                  </a:spcAft>
                </a:pPr>
                <a:r>
                  <a:rPr lang="en-US" sz="1400" i="1" dirty="0" smtClean="0">
                    <a:solidFill>
                      <a:schemeClr val="bg1"/>
                    </a:solidFill>
                  </a:rPr>
                  <a:t>Machine</a:t>
                </a:r>
                <a:br>
                  <a:rPr lang="en-US" sz="1400" i="1" dirty="0" smtClean="0">
                    <a:solidFill>
                      <a:schemeClr val="bg1"/>
                    </a:solidFill>
                  </a:rPr>
                </a:br>
                <a:r>
                  <a:rPr lang="en-US" sz="1400" i="1" dirty="0" smtClean="0">
                    <a:solidFill>
                      <a:schemeClr val="bg1"/>
                    </a:solidFill>
                  </a:rPr>
                  <a:t>Learning</a:t>
                </a:r>
                <a:endParaRPr lang="en-US" sz="1600" i="1" dirty="0" smtClean="0">
                  <a:solidFill>
                    <a:schemeClr val="bg1"/>
                  </a:solidFill>
                </a:endParaRPr>
              </a:p>
            </p:txBody>
          </p:sp>
          <p:sp>
            <p:nvSpPr>
              <p:cNvPr id="16" name="TextBox 15"/>
              <p:cNvSpPr txBox="1"/>
              <p:nvPr/>
            </p:nvSpPr>
            <p:spPr>
              <a:xfrm>
                <a:off x="9570488" y="2335382"/>
                <a:ext cx="1613340" cy="914400"/>
              </a:xfrm>
              <a:prstGeom prst="rect">
                <a:avLst/>
              </a:prstGeom>
              <a:noFill/>
            </p:spPr>
            <p:txBody>
              <a:bodyPr wrap="none" lIns="182880" tIns="146304" rIns="182880" bIns="146304" rtlCol="0">
                <a:noAutofit/>
              </a:bodyPr>
              <a:lstStyle/>
              <a:p>
                <a:pPr algn="ctr">
                  <a:lnSpc>
                    <a:spcPct val="90000"/>
                  </a:lnSpc>
                  <a:spcAft>
                    <a:spcPts val="600"/>
                  </a:spcAft>
                </a:pPr>
                <a:r>
                  <a:rPr lang="en-US" dirty="0" smtClean="0">
                    <a:solidFill>
                      <a:schemeClr val="bg1"/>
                    </a:solidFill>
                  </a:rPr>
                  <a:t>GraphX</a:t>
                </a:r>
              </a:p>
              <a:p>
                <a:pPr algn="ctr">
                  <a:lnSpc>
                    <a:spcPct val="90000"/>
                  </a:lnSpc>
                  <a:spcAft>
                    <a:spcPts val="600"/>
                  </a:spcAft>
                </a:pPr>
                <a:r>
                  <a:rPr lang="en-US" sz="1400" i="1" dirty="0" smtClean="0">
                    <a:solidFill>
                      <a:schemeClr val="bg1"/>
                    </a:solidFill>
                  </a:rPr>
                  <a:t>Graph</a:t>
                </a:r>
                <a:br>
                  <a:rPr lang="en-US" sz="1400" i="1" dirty="0" smtClean="0">
                    <a:solidFill>
                      <a:schemeClr val="bg1"/>
                    </a:solidFill>
                  </a:rPr>
                </a:br>
                <a:r>
                  <a:rPr lang="en-US" sz="1400" i="1" dirty="0" smtClean="0">
                    <a:solidFill>
                      <a:schemeClr val="bg1"/>
                    </a:solidFill>
                  </a:rPr>
                  <a:t>Computation</a:t>
                </a:r>
                <a:endParaRPr lang="en-US" sz="1600" i="1" dirty="0" smtClean="0">
                  <a:solidFill>
                    <a:schemeClr val="bg1"/>
                  </a:solidFill>
                </a:endParaRPr>
              </a:p>
            </p:txBody>
          </p:sp>
        </p:grpSp>
        <p:sp>
          <p:nvSpPr>
            <p:cNvPr id="5" name="Rectangle 4"/>
            <p:cNvSpPr/>
            <p:nvPr/>
          </p:nvSpPr>
          <p:spPr bwMode="auto">
            <a:xfrm>
              <a:off x="4542971" y="5698964"/>
              <a:ext cx="2119086" cy="664288"/>
            </a:xfrm>
            <a:prstGeom prst="rect">
              <a:avLst/>
            </a:prstGeom>
            <a:solidFill>
              <a:schemeClr val="bg2">
                <a:lumMod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000" dirty="0" smtClean="0">
                  <a:solidFill>
                    <a:schemeClr val="bg1"/>
                  </a:solidFill>
                  <a:ea typeface="Segoe UI" pitchFamily="34" charset="0"/>
                  <a:cs typeface="Segoe UI" pitchFamily="34" charset="0"/>
                </a:rPr>
                <a:t>Yarn</a:t>
              </a:r>
            </a:p>
          </p:txBody>
        </p:sp>
        <p:sp>
          <p:nvSpPr>
            <p:cNvPr id="19" name="Rectangle 18"/>
            <p:cNvSpPr/>
            <p:nvPr/>
          </p:nvSpPr>
          <p:spPr bwMode="auto">
            <a:xfrm>
              <a:off x="6895525" y="5698964"/>
              <a:ext cx="2119086" cy="66428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000" dirty="0" smtClean="0">
                  <a:solidFill>
                    <a:schemeClr val="bg1"/>
                  </a:solidFill>
                  <a:ea typeface="Segoe UI" pitchFamily="34" charset="0"/>
                  <a:cs typeface="Segoe UI" pitchFamily="34" charset="0"/>
                </a:rPr>
                <a:t>Mesos</a:t>
              </a:r>
            </a:p>
          </p:txBody>
        </p:sp>
        <p:sp>
          <p:nvSpPr>
            <p:cNvPr id="20" name="Rectangle 19"/>
            <p:cNvSpPr/>
            <p:nvPr/>
          </p:nvSpPr>
          <p:spPr bwMode="auto">
            <a:xfrm>
              <a:off x="9215227" y="5698964"/>
              <a:ext cx="2119086" cy="664288"/>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000" dirty="0" smtClean="0">
                  <a:solidFill>
                    <a:schemeClr val="bg1"/>
                  </a:solidFill>
                  <a:ea typeface="Segoe UI" pitchFamily="34" charset="0"/>
                  <a:cs typeface="Segoe UI" pitchFamily="34" charset="0"/>
                </a:rPr>
                <a:t>Standalone Scheduler</a:t>
              </a:r>
            </a:p>
          </p:txBody>
        </p:sp>
      </p:grpSp>
    </p:spTree>
    <p:extLst>
      <p:ext uri="{BB962C8B-B14F-4D97-AF65-F5344CB8AC3E}">
        <p14:creationId xmlns:p14="http://schemas.microsoft.com/office/powerpoint/2010/main" val="2697623314"/>
      </p:ext>
    </p:extLst>
  </p:cSld>
  <p:clrMapOvr>
    <a:masterClrMapping/>
  </p:clrMapOvr>
  <p:transition spd="med">
    <p:fade/>
  </p:transition>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bwMode="auto">
          <a:xfrm>
            <a:off x="1" y="973"/>
            <a:ext cx="5220356" cy="6857027"/>
          </a:xfrm>
          <a:prstGeom prst="rect">
            <a:avLst/>
          </a:prstGeom>
          <a:solidFill>
            <a:srgbClr val="68217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8927" tIns="143428"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endParaRPr lang="en-US" sz="5294" dirty="0">
              <a:solidFill>
                <a:srgbClr val="FFFFFF"/>
              </a:solidFill>
              <a:latin typeface="Segoe UI Light"/>
              <a:ea typeface="Segoe UI" pitchFamily="34" charset="0"/>
              <a:cs typeface="Segoe UI" pitchFamily="34" charset="0"/>
            </a:endParaRPr>
          </a:p>
          <a:p>
            <a:pPr defTabSz="914102" fontAlgn="base">
              <a:lnSpc>
                <a:spcPct val="90000"/>
              </a:lnSpc>
              <a:spcBef>
                <a:spcPct val="0"/>
              </a:spcBef>
              <a:spcAft>
                <a:spcPct val="0"/>
              </a:spcAft>
            </a:pPr>
            <a:endParaRPr lang="en-US" sz="5294" dirty="0">
              <a:solidFill>
                <a:srgbClr val="FFFFFF"/>
              </a:solidFill>
              <a:latin typeface="Segoe UI Light"/>
              <a:ea typeface="Segoe UI" pitchFamily="34" charset="0"/>
              <a:cs typeface="Segoe UI" pitchFamily="34" charset="0"/>
            </a:endParaRPr>
          </a:p>
        </p:txBody>
      </p:sp>
      <p:sp>
        <p:nvSpPr>
          <p:cNvPr id="5" name="Rectangle 4"/>
          <p:cNvSpPr/>
          <p:nvPr/>
        </p:nvSpPr>
        <p:spPr bwMode="auto">
          <a:xfrm>
            <a:off x="1" y="6319659"/>
            <a:ext cx="5220356" cy="537855"/>
          </a:xfrm>
          <a:prstGeom prst="rect">
            <a:avLst/>
          </a:prstGeom>
          <a:solidFill>
            <a:schemeClr val="accent3">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endParaRPr lang="en-US" sz="2353" kern="0" dirty="0">
              <a:ln>
                <a:solidFill>
                  <a:srgbClr val="FFFFFF">
                    <a:alpha val="0"/>
                  </a:srgbClr>
                </a:solidFill>
              </a:ln>
              <a:solidFill>
                <a:srgbClr val="FFFFFF"/>
              </a:solidFill>
              <a:latin typeface="Segoe UI Semibold" panose="020B0702040204020203" pitchFamily="34" charset="0"/>
              <a:ea typeface="MS PGothic" charset="0"/>
              <a:cs typeface="Segoe UI Semibold" panose="020B0702040204020203" pitchFamily="34" charset="0"/>
            </a:endParaRPr>
          </a:p>
        </p:txBody>
      </p:sp>
      <p:sp>
        <p:nvSpPr>
          <p:cNvPr id="6" name="Freeform 5"/>
          <p:cNvSpPr>
            <a:spLocks/>
          </p:cNvSpPr>
          <p:nvPr/>
        </p:nvSpPr>
        <p:spPr bwMode="auto">
          <a:xfrm flipH="1">
            <a:off x="2619107" y="4183803"/>
            <a:ext cx="2601249" cy="2135857"/>
          </a:xfrm>
          <a:custGeom>
            <a:avLst/>
            <a:gdLst>
              <a:gd name="connsiteX0" fmla="*/ 603413 w 1090712"/>
              <a:gd name="connsiteY0" fmla="*/ 721327 h 895572"/>
              <a:gd name="connsiteX1" fmla="*/ 578466 w 1090712"/>
              <a:gd name="connsiteY1" fmla="*/ 770746 h 895572"/>
              <a:gd name="connsiteX2" fmla="*/ 553519 w 1090712"/>
              <a:gd name="connsiteY2" fmla="*/ 818264 h 895572"/>
              <a:gd name="connsiteX3" fmla="*/ 528334 w 1090712"/>
              <a:gd name="connsiteY3" fmla="*/ 865069 h 895572"/>
              <a:gd name="connsiteX4" fmla="*/ 511825 w 1090712"/>
              <a:gd name="connsiteY4" fmla="*/ 895572 h 895572"/>
              <a:gd name="connsiteX5" fmla="*/ 624528 w 1090712"/>
              <a:gd name="connsiteY5" fmla="*/ 895572 h 895572"/>
              <a:gd name="connsiteX6" fmla="*/ 624796 w 1090712"/>
              <a:gd name="connsiteY6" fmla="*/ 894768 h 895572"/>
              <a:gd name="connsiteX7" fmla="*/ 625271 w 1090712"/>
              <a:gd name="connsiteY7" fmla="*/ 891679 h 895572"/>
              <a:gd name="connsiteX8" fmla="*/ 625747 w 1090712"/>
              <a:gd name="connsiteY8" fmla="*/ 889066 h 895572"/>
              <a:gd name="connsiteX9" fmla="*/ 625747 w 1090712"/>
              <a:gd name="connsiteY9" fmla="*/ 860555 h 895572"/>
              <a:gd name="connsiteX10" fmla="*/ 624796 w 1090712"/>
              <a:gd name="connsiteY10" fmla="*/ 833945 h 895572"/>
              <a:gd name="connsiteX11" fmla="*/ 624321 w 1090712"/>
              <a:gd name="connsiteY11" fmla="*/ 820877 h 895572"/>
              <a:gd name="connsiteX12" fmla="*/ 623608 w 1090712"/>
              <a:gd name="connsiteY12" fmla="*/ 808047 h 895572"/>
              <a:gd name="connsiteX13" fmla="*/ 621708 w 1090712"/>
              <a:gd name="connsiteY13" fmla="*/ 795218 h 895572"/>
              <a:gd name="connsiteX14" fmla="*/ 620044 w 1090712"/>
              <a:gd name="connsiteY14" fmla="*/ 782625 h 895572"/>
              <a:gd name="connsiteX15" fmla="*/ 616005 w 1090712"/>
              <a:gd name="connsiteY15" fmla="*/ 766707 h 895572"/>
              <a:gd name="connsiteX16" fmla="*/ 611966 w 1090712"/>
              <a:gd name="connsiteY16" fmla="*/ 751976 h 895572"/>
              <a:gd name="connsiteX17" fmla="*/ 607452 w 1090712"/>
              <a:gd name="connsiteY17" fmla="*/ 737245 h 895572"/>
              <a:gd name="connsiteX18" fmla="*/ 698212 w 1090712"/>
              <a:gd name="connsiteY18" fmla="*/ 530778 h 895572"/>
              <a:gd name="connsiteX19" fmla="*/ 693460 w 1090712"/>
              <a:gd name="connsiteY19" fmla="*/ 534818 h 895572"/>
              <a:gd name="connsiteX20" fmla="*/ 688471 w 1090712"/>
              <a:gd name="connsiteY20" fmla="*/ 538857 h 895572"/>
              <a:gd name="connsiteX21" fmla="*/ 678254 w 1090712"/>
              <a:gd name="connsiteY21" fmla="*/ 546935 h 895572"/>
              <a:gd name="connsiteX22" fmla="*/ 669226 w 1090712"/>
              <a:gd name="connsiteY22" fmla="*/ 553587 h 895572"/>
              <a:gd name="connsiteX23" fmla="*/ 663048 w 1090712"/>
              <a:gd name="connsiteY23" fmla="*/ 558814 h 895572"/>
              <a:gd name="connsiteX24" fmla="*/ 663048 w 1090712"/>
              <a:gd name="connsiteY24" fmla="*/ 556676 h 895572"/>
              <a:gd name="connsiteX25" fmla="*/ 663523 w 1090712"/>
              <a:gd name="connsiteY25" fmla="*/ 554538 h 895572"/>
              <a:gd name="connsiteX26" fmla="*/ 665424 w 1090712"/>
              <a:gd name="connsiteY26" fmla="*/ 550498 h 895572"/>
              <a:gd name="connsiteX27" fmla="*/ 668038 w 1090712"/>
              <a:gd name="connsiteY27" fmla="*/ 546459 h 895572"/>
              <a:gd name="connsiteX28" fmla="*/ 671602 w 1090712"/>
              <a:gd name="connsiteY28" fmla="*/ 542420 h 895572"/>
              <a:gd name="connsiteX29" fmla="*/ 676829 w 1090712"/>
              <a:gd name="connsiteY29" fmla="*/ 538857 h 895572"/>
              <a:gd name="connsiteX30" fmla="*/ 682768 w 1090712"/>
              <a:gd name="connsiteY30" fmla="*/ 535768 h 895572"/>
              <a:gd name="connsiteX31" fmla="*/ 689896 w 1090712"/>
              <a:gd name="connsiteY31" fmla="*/ 533154 h 895572"/>
              <a:gd name="connsiteX32" fmla="*/ 654257 w 1090712"/>
              <a:gd name="connsiteY32" fmla="*/ 302216 h 895572"/>
              <a:gd name="connsiteX33" fmla="*/ 651882 w 1090712"/>
              <a:gd name="connsiteY33" fmla="*/ 302691 h 895572"/>
              <a:gd name="connsiteX34" fmla="*/ 649268 w 1090712"/>
              <a:gd name="connsiteY34" fmla="*/ 303166 h 895572"/>
              <a:gd name="connsiteX35" fmla="*/ 647130 w 1090712"/>
              <a:gd name="connsiteY35" fmla="*/ 304354 h 895572"/>
              <a:gd name="connsiteX36" fmla="*/ 644516 w 1090712"/>
              <a:gd name="connsiteY36" fmla="*/ 306255 h 895572"/>
              <a:gd name="connsiteX37" fmla="*/ 642140 w 1090712"/>
              <a:gd name="connsiteY37" fmla="*/ 307918 h 895572"/>
              <a:gd name="connsiteX38" fmla="*/ 640002 w 1090712"/>
              <a:gd name="connsiteY38" fmla="*/ 310294 h 895572"/>
              <a:gd name="connsiteX39" fmla="*/ 638101 w 1090712"/>
              <a:gd name="connsiteY39" fmla="*/ 312432 h 895572"/>
              <a:gd name="connsiteX40" fmla="*/ 636913 w 1090712"/>
              <a:gd name="connsiteY40" fmla="*/ 314571 h 895572"/>
              <a:gd name="connsiteX41" fmla="*/ 635963 w 1090712"/>
              <a:gd name="connsiteY41" fmla="*/ 316946 h 895572"/>
              <a:gd name="connsiteX42" fmla="*/ 635963 w 1090712"/>
              <a:gd name="connsiteY42" fmla="*/ 319085 h 895572"/>
              <a:gd name="connsiteX43" fmla="*/ 636913 w 1090712"/>
              <a:gd name="connsiteY43" fmla="*/ 321223 h 895572"/>
              <a:gd name="connsiteX44" fmla="*/ 637626 w 1090712"/>
              <a:gd name="connsiteY44" fmla="*/ 324074 h 895572"/>
              <a:gd name="connsiteX45" fmla="*/ 639527 w 1090712"/>
              <a:gd name="connsiteY45" fmla="*/ 326688 h 895572"/>
              <a:gd name="connsiteX46" fmla="*/ 643091 w 1090712"/>
              <a:gd name="connsiteY46" fmla="*/ 331677 h 895572"/>
              <a:gd name="connsiteX47" fmla="*/ 647130 w 1090712"/>
              <a:gd name="connsiteY47" fmla="*/ 335954 h 895572"/>
              <a:gd name="connsiteX48" fmla="*/ 655920 w 1090712"/>
              <a:gd name="connsiteY48" fmla="*/ 330727 h 895572"/>
              <a:gd name="connsiteX49" fmla="*/ 663999 w 1090712"/>
              <a:gd name="connsiteY49" fmla="*/ 324787 h 895572"/>
              <a:gd name="connsiteX50" fmla="*/ 679917 w 1090712"/>
              <a:gd name="connsiteY50" fmla="*/ 313383 h 895572"/>
              <a:gd name="connsiteX51" fmla="*/ 676354 w 1090712"/>
              <a:gd name="connsiteY51" fmla="*/ 311007 h 895572"/>
              <a:gd name="connsiteX52" fmla="*/ 672790 w 1090712"/>
              <a:gd name="connsiteY52" fmla="*/ 308393 h 895572"/>
              <a:gd name="connsiteX53" fmla="*/ 668988 w 1090712"/>
              <a:gd name="connsiteY53" fmla="*/ 306730 h 895572"/>
              <a:gd name="connsiteX54" fmla="*/ 664949 w 1090712"/>
              <a:gd name="connsiteY54" fmla="*/ 304829 h 895572"/>
              <a:gd name="connsiteX55" fmla="*/ 660910 w 1090712"/>
              <a:gd name="connsiteY55" fmla="*/ 303641 h 895572"/>
              <a:gd name="connsiteX56" fmla="*/ 657346 w 1090712"/>
              <a:gd name="connsiteY56" fmla="*/ 302691 h 895572"/>
              <a:gd name="connsiteX57" fmla="*/ 696549 w 1090712"/>
              <a:gd name="connsiteY57" fmla="*/ 252322 h 895572"/>
              <a:gd name="connsiteX58" fmla="*/ 696786 w 1090712"/>
              <a:gd name="connsiteY58" fmla="*/ 259925 h 895572"/>
              <a:gd name="connsiteX59" fmla="*/ 698212 w 1090712"/>
              <a:gd name="connsiteY59" fmla="*/ 266102 h 895572"/>
              <a:gd name="connsiteX60" fmla="*/ 700113 w 1090712"/>
              <a:gd name="connsiteY60" fmla="*/ 272042 h 895572"/>
              <a:gd name="connsiteX61" fmla="*/ 701776 w 1090712"/>
              <a:gd name="connsiteY61" fmla="*/ 276794 h 895572"/>
              <a:gd name="connsiteX62" fmla="*/ 704389 w 1090712"/>
              <a:gd name="connsiteY62" fmla="*/ 280833 h 895572"/>
              <a:gd name="connsiteX63" fmla="*/ 707240 w 1090712"/>
              <a:gd name="connsiteY63" fmla="*/ 284397 h 895572"/>
              <a:gd name="connsiteX64" fmla="*/ 710329 w 1090712"/>
              <a:gd name="connsiteY64" fmla="*/ 287010 h 895572"/>
              <a:gd name="connsiteX65" fmla="*/ 713418 w 1090712"/>
              <a:gd name="connsiteY65" fmla="*/ 289624 h 895572"/>
              <a:gd name="connsiteX66" fmla="*/ 716506 w 1090712"/>
              <a:gd name="connsiteY66" fmla="*/ 291524 h 895572"/>
              <a:gd name="connsiteX67" fmla="*/ 719595 w 1090712"/>
              <a:gd name="connsiteY67" fmla="*/ 293187 h 895572"/>
              <a:gd name="connsiteX68" fmla="*/ 725772 w 1090712"/>
              <a:gd name="connsiteY68" fmla="*/ 295088 h 895572"/>
              <a:gd name="connsiteX69" fmla="*/ 731237 w 1090712"/>
              <a:gd name="connsiteY69" fmla="*/ 296514 h 895572"/>
              <a:gd name="connsiteX70" fmla="*/ 734801 w 1090712"/>
              <a:gd name="connsiteY70" fmla="*/ 296751 h 895572"/>
              <a:gd name="connsiteX71" fmla="*/ 722209 w 1090712"/>
              <a:gd name="connsiteY71" fmla="*/ 303879 h 895572"/>
              <a:gd name="connsiteX72" fmla="*/ 710804 w 1090712"/>
              <a:gd name="connsiteY72" fmla="*/ 311007 h 895572"/>
              <a:gd name="connsiteX73" fmla="*/ 688471 w 1090712"/>
              <a:gd name="connsiteY73" fmla="*/ 324787 h 895572"/>
              <a:gd name="connsiteX74" fmla="*/ 667563 w 1090712"/>
              <a:gd name="connsiteY74" fmla="*/ 339043 h 895572"/>
              <a:gd name="connsiteX75" fmla="*/ 646179 w 1090712"/>
              <a:gd name="connsiteY75" fmla="*/ 352823 h 895572"/>
              <a:gd name="connsiteX76" fmla="*/ 620044 w 1090712"/>
              <a:gd name="connsiteY76" fmla="*/ 313383 h 895572"/>
              <a:gd name="connsiteX77" fmla="*/ 617668 w 1090712"/>
              <a:gd name="connsiteY77" fmla="*/ 312432 h 895572"/>
              <a:gd name="connsiteX78" fmla="*/ 615055 w 1090712"/>
              <a:gd name="connsiteY78" fmla="*/ 312432 h 895572"/>
              <a:gd name="connsiteX79" fmla="*/ 612441 w 1090712"/>
              <a:gd name="connsiteY79" fmla="*/ 313383 h 895572"/>
              <a:gd name="connsiteX80" fmla="*/ 609353 w 1090712"/>
              <a:gd name="connsiteY80" fmla="*/ 314095 h 895572"/>
              <a:gd name="connsiteX81" fmla="*/ 602938 w 1090712"/>
              <a:gd name="connsiteY81" fmla="*/ 316946 h 895572"/>
              <a:gd name="connsiteX82" fmla="*/ 599849 w 1090712"/>
              <a:gd name="connsiteY82" fmla="*/ 317659 h 895572"/>
              <a:gd name="connsiteX83" fmla="*/ 596760 w 1090712"/>
              <a:gd name="connsiteY83" fmla="*/ 318610 h 895572"/>
              <a:gd name="connsiteX84" fmla="*/ 607927 w 1090712"/>
              <a:gd name="connsiteY84" fmla="*/ 307205 h 895572"/>
              <a:gd name="connsiteX85" fmla="*/ 618619 w 1090712"/>
              <a:gd name="connsiteY85" fmla="*/ 295088 h 895572"/>
              <a:gd name="connsiteX86" fmla="*/ 623846 w 1090712"/>
              <a:gd name="connsiteY86" fmla="*/ 289386 h 895572"/>
              <a:gd name="connsiteX87" fmla="*/ 629786 w 1090712"/>
              <a:gd name="connsiteY87" fmla="*/ 283921 h 895572"/>
              <a:gd name="connsiteX88" fmla="*/ 635963 w 1090712"/>
              <a:gd name="connsiteY88" fmla="*/ 278694 h 895572"/>
              <a:gd name="connsiteX89" fmla="*/ 642140 w 1090712"/>
              <a:gd name="connsiteY89" fmla="*/ 273705 h 895572"/>
              <a:gd name="connsiteX90" fmla="*/ 648793 w 1090712"/>
              <a:gd name="connsiteY90" fmla="*/ 269191 h 895572"/>
              <a:gd name="connsiteX91" fmla="*/ 655446 w 1090712"/>
              <a:gd name="connsiteY91" fmla="*/ 265627 h 895572"/>
              <a:gd name="connsiteX92" fmla="*/ 662098 w 1090712"/>
              <a:gd name="connsiteY92" fmla="*/ 263013 h 895572"/>
              <a:gd name="connsiteX93" fmla="*/ 668988 w 1090712"/>
              <a:gd name="connsiteY93" fmla="*/ 260400 h 895572"/>
              <a:gd name="connsiteX94" fmla="*/ 682768 w 1090712"/>
              <a:gd name="connsiteY94" fmla="*/ 256361 h 895572"/>
              <a:gd name="connsiteX95" fmla="*/ 1030602 w 1090712"/>
              <a:gd name="connsiteY95" fmla="*/ 200289 h 895572"/>
              <a:gd name="connsiteX96" fmla="*/ 1027513 w 1090712"/>
              <a:gd name="connsiteY96" fmla="*/ 207892 h 895572"/>
              <a:gd name="connsiteX97" fmla="*/ 1023949 w 1090712"/>
              <a:gd name="connsiteY97" fmla="*/ 214545 h 895572"/>
              <a:gd name="connsiteX98" fmla="*/ 1019910 w 1090712"/>
              <a:gd name="connsiteY98" fmla="*/ 221197 h 895572"/>
              <a:gd name="connsiteX99" fmla="*/ 1015396 w 1090712"/>
              <a:gd name="connsiteY99" fmla="*/ 226899 h 895572"/>
              <a:gd name="connsiteX100" fmla="*/ 1011119 w 1090712"/>
              <a:gd name="connsiteY100" fmla="*/ 232839 h 895572"/>
              <a:gd name="connsiteX101" fmla="*/ 1006130 w 1090712"/>
              <a:gd name="connsiteY101" fmla="*/ 237591 h 895572"/>
              <a:gd name="connsiteX102" fmla="*/ 1001140 w 1090712"/>
              <a:gd name="connsiteY102" fmla="*/ 242105 h 895572"/>
              <a:gd name="connsiteX103" fmla="*/ 996388 w 1090712"/>
              <a:gd name="connsiteY103" fmla="*/ 246144 h 895572"/>
              <a:gd name="connsiteX104" fmla="*/ 990924 w 1090712"/>
              <a:gd name="connsiteY104" fmla="*/ 249708 h 895572"/>
              <a:gd name="connsiteX105" fmla="*/ 985697 w 1090712"/>
              <a:gd name="connsiteY105" fmla="*/ 252797 h 895572"/>
              <a:gd name="connsiteX106" fmla="*/ 980232 w 1090712"/>
              <a:gd name="connsiteY106" fmla="*/ 254935 h 895572"/>
              <a:gd name="connsiteX107" fmla="*/ 975005 w 1090712"/>
              <a:gd name="connsiteY107" fmla="*/ 256836 h 895572"/>
              <a:gd name="connsiteX108" fmla="*/ 969541 w 1090712"/>
              <a:gd name="connsiteY108" fmla="*/ 258262 h 895572"/>
              <a:gd name="connsiteX109" fmla="*/ 963839 w 1090712"/>
              <a:gd name="connsiteY109" fmla="*/ 258499 h 895572"/>
              <a:gd name="connsiteX110" fmla="*/ 958612 w 1090712"/>
              <a:gd name="connsiteY110" fmla="*/ 258499 h 895572"/>
              <a:gd name="connsiteX111" fmla="*/ 953622 w 1090712"/>
              <a:gd name="connsiteY111" fmla="*/ 257786 h 895572"/>
              <a:gd name="connsiteX112" fmla="*/ 970966 w 1090712"/>
              <a:gd name="connsiteY112" fmla="*/ 244006 h 895572"/>
              <a:gd name="connsiteX113" fmla="*/ 990211 w 1090712"/>
              <a:gd name="connsiteY113" fmla="*/ 229275 h 895572"/>
              <a:gd name="connsiteX114" fmla="*/ 1010169 w 1090712"/>
              <a:gd name="connsiteY114" fmla="*/ 214069 h 895572"/>
              <a:gd name="connsiteX115" fmla="*/ 1020385 w 1090712"/>
              <a:gd name="connsiteY115" fmla="*/ 206942 h 895572"/>
              <a:gd name="connsiteX116" fmla="*/ 389581 w 1090712"/>
              <a:gd name="connsiteY116" fmla="*/ 176768 h 895572"/>
              <a:gd name="connsiteX117" fmla="*/ 397422 w 1090712"/>
              <a:gd name="connsiteY117" fmla="*/ 177243 h 895572"/>
              <a:gd name="connsiteX118" fmla="*/ 414766 w 1090712"/>
              <a:gd name="connsiteY118" fmla="*/ 178906 h 895572"/>
              <a:gd name="connsiteX119" fmla="*/ 405500 w 1090712"/>
              <a:gd name="connsiteY119" fmla="*/ 179856 h 895572"/>
              <a:gd name="connsiteX120" fmla="*/ 396946 w 1090712"/>
              <a:gd name="connsiteY120" fmla="*/ 181995 h 895572"/>
              <a:gd name="connsiteX121" fmla="*/ 389581 w 1090712"/>
              <a:gd name="connsiteY121" fmla="*/ 184371 h 895572"/>
              <a:gd name="connsiteX122" fmla="*/ 381978 w 1090712"/>
              <a:gd name="connsiteY122" fmla="*/ 186984 h 895572"/>
              <a:gd name="connsiteX123" fmla="*/ 375326 w 1090712"/>
              <a:gd name="connsiteY123" fmla="*/ 190548 h 895572"/>
              <a:gd name="connsiteX124" fmla="*/ 368911 w 1090712"/>
              <a:gd name="connsiteY124" fmla="*/ 194112 h 895572"/>
              <a:gd name="connsiteX125" fmla="*/ 363208 w 1090712"/>
              <a:gd name="connsiteY125" fmla="*/ 198626 h 895572"/>
              <a:gd name="connsiteX126" fmla="*/ 357981 w 1090712"/>
              <a:gd name="connsiteY126" fmla="*/ 202903 h 895572"/>
              <a:gd name="connsiteX127" fmla="*/ 352517 w 1090712"/>
              <a:gd name="connsiteY127" fmla="*/ 208367 h 895572"/>
              <a:gd name="connsiteX128" fmla="*/ 348003 w 1090712"/>
              <a:gd name="connsiteY128" fmla="*/ 214070 h 895572"/>
              <a:gd name="connsiteX129" fmla="*/ 343726 w 1090712"/>
              <a:gd name="connsiteY129" fmla="*/ 220247 h 895572"/>
              <a:gd name="connsiteX130" fmla="*/ 339687 w 1090712"/>
              <a:gd name="connsiteY130" fmla="*/ 226662 h 895572"/>
              <a:gd name="connsiteX131" fmla="*/ 335648 w 1090712"/>
              <a:gd name="connsiteY131" fmla="*/ 233790 h 895572"/>
              <a:gd name="connsiteX132" fmla="*/ 332559 w 1090712"/>
              <a:gd name="connsiteY132" fmla="*/ 240917 h 895572"/>
              <a:gd name="connsiteX133" fmla="*/ 328995 w 1090712"/>
              <a:gd name="connsiteY133" fmla="*/ 248758 h 895572"/>
              <a:gd name="connsiteX134" fmla="*/ 325907 w 1090712"/>
              <a:gd name="connsiteY134" fmla="*/ 256836 h 895572"/>
              <a:gd name="connsiteX135" fmla="*/ 325432 w 1090712"/>
              <a:gd name="connsiteY135" fmla="*/ 252797 h 895572"/>
              <a:gd name="connsiteX136" fmla="*/ 324956 w 1090712"/>
              <a:gd name="connsiteY136" fmla="*/ 248283 h 895572"/>
              <a:gd name="connsiteX137" fmla="*/ 323056 w 1090712"/>
              <a:gd name="connsiteY137" fmla="*/ 239492 h 895572"/>
              <a:gd name="connsiteX138" fmla="*/ 320917 w 1090712"/>
              <a:gd name="connsiteY138" fmla="*/ 229275 h 895572"/>
              <a:gd name="connsiteX139" fmla="*/ 320442 w 1090712"/>
              <a:gd name="connsiteY139" fmla="*/ 223811 h 895572"/>
              <a:gd name="connsiteX140" fmla="*/ 319967 w 1090712"/>
              <a:gd name="connsiteY140" fmla="*/ 217633 h 895572"/>
              <a:gd name="connsiteX141" fmla="*/ 314740 w 1090712"/>
              <a:gd name="connsiteY141" fmla="*/ 217633 h 895572"/>
              <a:gd name="connsiteX142" fmla="*/ 302148 w 1090712"/>
              <a:gd name="connsiteY142" fmla="*/ 243056 h 895572"/>
              <a:gd name="connsiteX143" fmla="*/ 289793 w 1090712"/>
              <a:gd name="connsiteY143" fmla="*/ 267528 h 895572"/>
              <a:gd name="connsiteX144" fmla="*/ 277438 w 1090712"/>
              <a:gd name="connsiteY144" fmla="*/ 291049 h 895572"/>
              <a:gd name="connsiteX145" fmla="*/ 264371 w 1090712"/>
              <a:gd name="connsiteY145" fmla="*/ 312907 h 895572"/>
              <a:gd name="connsiteX146" fmla="*/ 267459 w 1090712"/>
              <a:gd name="connsiteY146" fmla="*/ 295088 h 895572"/>
              <a:gd name="connsiteX147" fmla="*/ 271023 w 1090712"/>
              <a:gd name="connsiteY147" fmla="*/ 279170 h 895572"/>
              <a:gd name="connsiteX148" fmla="*/ 274587 w 1090712"/>
              <a:gd name="connsiteY148" fmla="*/ 263964 h 895572"/>
              <a:gd name="connsiteX149" fmla="*/ 279101 w 1090712"/>
              <a:gd name="connsiteY149" fmla="*/ 250183 h 895572"/>
              <a:gd name="connsiteX150" fmla="*/ 284091 w 1090712"/>
              <a:gd name="connsiteY150" fmla="*/ 238066 h 895572"/>
              <a:gd name="connsiteX151" fmla="*/ 289318 w 1090712"/>
              <a:gd name="connsiteY151" fmla="*/ 226900 h 895572"/>
              <a:gd name="connsiteX152" fmla="*/ 292406 w 1090712"/>
              <a:gd name="connsiteY152" fmla="*/ 221673 h 895572"/>
              <a:gd name="connsiteX153" fmla="*/ 295495 w 1090712"/>
              <a:gd name="connsiteY153" fmla="*/ 217158 h 895572"/>
              <a:gd name="connsiteX154" fmla="*/ 298584 w 1090712"/>
              <a:gd name="connsiteY154" fmla="*/ 212406 h 895572"/>
              <a:gd name="connsiteX155" fmla="*/ 302148 w 1090712"/>
              <a:gd name="connsiteY155" fmla="*/ 208367 h 895572"/>
              <a:gd name="connsiteX156" fmla="*/ 305711 w 1090712"/>
              <a:gd name="connsiteY156" fmla="*/ 204328 h 895572"/>
              <a:gd name="connsiteX157" fmla="*/ 309275 w 1090712"/>
              <a:gd name="connsiteY157" fmla="*/ 200765 h 895572"/>
              <a:gd name="connsiteX158" fmla="*/ 313314 w 1090712"/>
              <a:gd name="connsiteY158" fmla="*/ 197201 h 895572"/>
              <a:gd name="connsiteX159" fmla="*/ 317354 w 1090712"/>
              <a:gd name="connsiteY159" fmla="*/ 194112 h 895572"/>
              <a:gd name="connsiteX160" fmla="*/ 321868 w 1090712"/>
              <a:gd name="connsiteY160" fmla="*/ 191498 h 895572"/>
              <a:gd name="connsiteX161" fmla="*/ 326382 w 1090712"/>
              <a:gd name="connsiteY161" fmla="*/ 188647 h 895572"/>
              <a:gd name="connsiteX162" fmla="*/ 330659 w 1090712"/>
              <a:gd name="connsiteY162" fmla="*/ 186509 h 895572"/>
              <a:gd name="connsiteX163" fmla="*/ 335648 w 1090712"/>
              <a:gd name="connsiteY163" fmla="*/ 184371 h 895572"/>
              <a:gd name="connsiteX164" fmla="*/ 340637 w 1090712"/>
              <a:gd name="connsiteY164" fmla="*/ 182470 h 895572"/>
              <a:gd name="connsiteX165" fmla="*/ 345864 w 1090712"/>
              <a:gd name="connsiteY165" fmla="*/ 181282 h 895572"/>
              <a:gd name="connsiteX166" fmla="*/ 351091 w 1090712"/>
              <a:gd name="connsiteY166" fmla="*/ 179856 h 895572"/>
              <a:gd name="connsiteX167" fmla="*/ 357031 w 1090712"/>
              <a:gd name="connsiteY167" fmla="*/ 178431 h 895572"/>
              <a:gd name="connsiteX168" fmla="*/ 368911 w 1090712"/>
              <a:gd name="connsiteY168" fmla="*/ 177243 h 895572"/>
              <a:gd name="connsiteX169" fmla="*/ 381978 w 1090712"/>
              <a:gd name="connsiteY169" fmla="*/ 176768 h 895572"/>
              <a:gd name="connsiteX170" fmla="*/ 609353 w 1090712"/>
              <a:gd name="connsiteY170" fmla="*/ 174629 h 895572"/>
              <a:gd name="connsiteX171" fmla="*/ 602463 w 1090712"/>
              <a:gd name="connsiteY171" fmla="*/ 180807 h 895572"/>
              <a:gd name="connsiteX172" fmla="*/ 596285 w 1090712"/>
              <a:gd name="connsiteY172" fmla="*/ 187459 h 895572"/>
              <a:gd name="connsiteX173" fmla="*/ 583931 w 1090712"/>
              <a:gd name="connsiteY173" fmla="*/ 201715 h 895572"/>
              <a:gd name="connsiteX174" fmla="*/ 571101 w 1090712"/>
              <a:gd name="connsiteY174" fmla="*/ 215495 h 895572"/>
              <a:gd name="connsiteX175" fmla="*/ 564686 w 1090712"/>
              <a:gd name="connsiteY175" fmla="*/ 222148 h 895572"/>
              <a:gd name="connsiteX176" fmla="*/ 558508 w 1090712"/>
              <a:gd name="connsiteY176" fmla="*/ 228325 h 895572"/>
              <a:gd name="connsiteX177" fmla="*/ 557558 w 1090712"/>
              <a:gd name="connsiteY177" fmla="*/ 223335 h 895572"/>
              <a:gd name="connsiteX178" fmla="*/ 557083 w 1090712"/>
              <a:gd name="connsiteY178" fmla="*/ 219059 h 895572"/>
              <a:gd name="connsiteX179" fmla="*/ 557083 w 1090712"/>
              <a:gd name="connsiteY179" fmla="*/ 215020 h 895572"/>
              <a:gd name="connsiteX180" fmla="*/ 557558 w 1090712"/>
              <a:gd name="connsiteY180" fmla="*/ 210981 h 895572"/>
              <a:gd name="connsiteX181" fmla="*/ 558508 w 1090712"/>
              <a:gd name="connsiteY181" fmla="*/ 207417 h 895572"/>
              <a:gd name="connsiteX182" fmla="*/ 560409 w 1090712"/>
              <a:gd name="connsiteY182" fmla="*/ 203853 h 895572"/>
              <a:gd name="connsiteX183" fmla="*/ 562072 w 1090712"/>
              <a:gd name="connsiteY183" fmla="*/ 200764 h 895572"/>
              <a:gd name="connsiteX184" fmla="*/ 564686 w 1090712"/>
              <a:gd name="connsiteY184" fmla="*/ 197676 h 895572"/>
              <a:gd name="connsiteX185" fmla="*/ 567774 w 1090712"/>
              <a:gd name="connsiteY185" fmla="*/ 194587 h 895572"/>
              <a:gd name="connsiteX186" fmla="*/ 571813 w 1090712"/>
              <a:gd name="connsiteY186" fmla="*/ 191973 h 895572"/>
              <a:gd name="connsiteX187" fmla="*/ 576328 w 1090712"/>
              <a:gd name="connsiteY187" fmla="*/ 188647 h 895572"/>
              <a:gd name="connsiteX188" fmla="*/ 581317 w 1090712"/>
              <a:gd name="connsiteY188" fmla="*/ 186034 h 895572"/>
              <a:gd name="connsiteX189" fmla="*/ 587019 w 1090712"/>
              <a:gd name="connsiteY189" fmla="*/ 183420 h 895572"/>
              <a:gd name="connsiteX190" fmla="*/ 593672 w 1090712"/>
              <a:gd name="connsiteY190" fmla="*/ 180332 h 895572"/>
              <a:gd name="connsiteX191" fmla="*/ 586544 w 1090712"/>
              <a:gd name="connsiteY191" fmla="*/ 0 h 895572"/>
              <a:gd name="connsiteX192" fmla="*/ 570150 w 1090712"/>
              <a:gd name="connsiteY192" fmla="*/ 2851 h 895572"/>
              <a:gd name="connsiteX193" fmla="*/ 553519 w 1090712"/>
              <a:gd name="connsiteY193" fmla="*/ 5940 h 895572"/>
              <a:gd name="connsiteX194" fmla="*/ 536650 w 1090712"/>
              <a:gd name="connsiteY194" fmla="*/ 10454 h 895572"/>
              <a:gd name="connsiteX195" fmla="*/ 520256 w 1090712"/>
              <a:gd name="connsiteY195" fmla="*/ 14731 h 895572"/>
              <a:gd name="connsiteX196" fmla="*/ 486993 w 1090712"/>
              <a:gd name="connsiteY196" fmla="*/ 24472 h 895572"/>
              <a:gd name="connsiteX197" fmla="*/ 469887 w 1090712"/>
              <a:gd name="connsiteY197" fmla="*/ 28986 h 895572"/>
              <a:gd name="connsiteX198" fmla="*/ 453493 w 1090712"/>
              <a:gd name="connsiteY198" fmla="*/ 33500 h 895572"/>
              <a:gd name="connsiteX199" fmla="*/ 438762 w 1090712"/>
              <a:gd name="connsiteY199" fmla="*/ 40153 h 895572"/>
              <a:gd name="connsiteX200" fmla="*/ 424507 w 1090712"/>
              <a:gd name="connsiteY200" fmla="*/ 47281 h 895572"/>
              <a:gd name="connsiteX201" fmla="*/ 417379 w 1090712"/>
              <a:gd name="connsiteY201" fmla="*/ 51320 h 895572"/>
              <a:gd name="connsiteX202" fmla="*/ 410727 w 1090712"/>
              <a:gd name="connsiteY202" fmla="*/ 55834 h 895572"/>
              <a:gd name="connsiteX203" fmla="*/ 403599 w 1090712"/>
              <a:gd name="connsiteY203" fmla="*/ 60111 h 895572"/>
              <a:gd name="connsiteX204" fmla="*/ 397422 w 1090712"/>
              <a:gd name="connsiteY204" fmla="*/ 65100 h 895572"/>
              <a:gd name="connsiteX205" fmla="*/ 390769 w 1090712"/>
              <a:gd name="connsiteY205" fmla="*/ 69852 h 895572"/>
              <a:gd name="connsiteX206" fmla="*/ 384592 w 1090712"/>
              <a:gd name="connsiteY206" fmla="*/ 75792 h 895572"/>
              <a:gd name="connsiteX207" fmla="*/ 378889 w 1090712"/>
              <a:gd name="connsiteY207" fmla="*/ 81494 h 895572"/>
              <a:gd name="connsiteX208" fmla="*/ 372950 w 1090712"/>
              <a:gd name="connsiteY208" fmla="*/ 87671 h 895572"/>
              <a:gd name="connsiteX209" fmla="*/ 367723 w 1090712"/>
              <a:gd name="connsiteY209" fmla="*/ 94324 h 895572"/>
              <a:gd name="connsiteX210" fmla="*/ 362733 w 1090712"/>
              <a:gd name="connsiteY210" fmla="*/ 101452 h 895572"/>
              <a:gd name="connsiteX211" fmla="*/ 357981 w 1090712"/>
              <a:gd name="connsiteY211" fmla="*/ 109055 h 895572"/>
              <a:gd name="connsiteX212" fmla="*/ 353467 w 1090712"/>
              <a:gd name="connsiteY212" fmla="*/ 117608 h 895572"/>
              <a:gd name="connsiteX213" fmla="*/ 409064 w 1090712"/>
              <a:gd name="connsiteY213" fmla="*/ 117608 h 895572"/>
              <a:gd name="connsiteX214" fmla="*/ 406925 w 1090712"/>
              <a:gd name="connsiteY214" fmla="*/ 119271 h 895572"/>
              <a:gd name="connsiteX215" fmla="*/ 404074 w 1090712"/>
              <a:gd name="connsiteY215" fmla="*/ 121647 h 895572"/>
              <a:gd name="connsiteX216" fmla="*/ 400510 w 1090712"/>
              <a:gd name="connsiteY216" fmla="*/ 123310 h 895572"/>
              <a:gd name="connsiteX217" fmla="*/ 397422 w 1090712"/>
              <a:gd name="connsiteY217" fmla="*/ 125211 h 895572"/>
              <a:gd name="connsiteX218" fmla="*/ 393383 w 1090712"/>
              <a:gd name="connsiteY218" fmla="*/ 126399 h 895572"/>
              <a:gd name="connsiteX219" fmla="*/ 389581 w 1090712"/>
              <a:gd name="connsiteY219" fmla="*/ 127824 h 895572"/>
              <a:gd name="connsiteX220" fmla="*/ 385542 w 1090712"/>
              <a:gd name="connsiteY220" fmla="*/ 128299 h 895572"/>
              <a:gd name="connsiteX221" fmla="*/ 381503 w 1090712"/>
              <a:gd name="connsiteY221" fmla="*/ 128774 h 895572"/>
              <a:gd name="connsiteX222" fmla="*/ 375326 w 1090712"/>
              <a:gd name="connsiteY222" fmla="*/ 130438 h 895572"/>
              <a:gd name="connsiteX223" fmla="*/ 368435 w 1090712"/>
              <a:gd name="connsiteY223" fmla="*/ 131863 h 895572"/>
              <a:gd name="connsiteX224" fmla="*/ 361783 w 1090712"/>
              <a:gd name="connsiteY224" fmla="*/ 133051 h 895572"/>
              <a:gd name="connsiteX225" fmla="*/ 355606 w 1090712"/>
              <a:gd name="connsiteY225" fmla="*/ 134001 h 895572"/>
              <a:gd name="connsiteX226" fmla="*/ 342300 w 1090712"/>
              <a:gd name="connsiteY226" fmla="*/ 135427 h 895572"/>
              <a:gd name="connsiteX227" fmla="*/ 329471 w 1090712"/>
              <a:gd name="connsiteY227" fmla="*/ 137090 h 895572"/>
              <a:gd name="connsiteX228" fmla="*/ 322818 w 1090712"/>
              <a:gd name="connsiteY228" fmla="*/ 138040 h 895572"/>
              <a:gd name="connsiteX229" fmla="*/ 316403 w 1090712"/>
              <a:gd name="connsiteY229" fmla="*/ 139704 h 895572"/>
              <a:gd name="connsiteX230" fmla="*/ 310226 w 1090712"/>
              <a:gd name="connsiteY230" fmla="*/ 141604 h 895572"/>
              <a:gd name="connsiteX231" fmla="*/ 304048 w 1090712"/>
              <a:gd name="connsiteY231" fmla="*/ 144218 h 895572"/>
              <a:gd name="connsiteX232" fmla="*/ 298346 w 1090712"/>
              <a:gd name="connsiteY232" fmla="*/ 147307 h 895572"/>
              <a:gd name="connsiteX233" fmla="*/ 292406 w 1090712"/>
              <a:gd name="connsiteY233" fmla="*/ 151346 h 895572"/>
              <a:gd name="connsiteX234" fmla="*/ 286704 w 1090712"/>
              <a:gd name="connsiteY234" fmla="*/ 156335 h 895572"/>
              <a:gd name="connsiteX235" fmla="*/ 281240 w 1090712"/>
              <a:gd name="connsiteY235" fmla="*/ 162037 h 895572"/>
              <a:gd name="connsiteX236" fmla="*/ 262232 w 1090712"/>
              <a:gd name="connsiteY236" fmla="*/ 182945 h 895572"/>
              <a:gd name="connsiteX237" fmla="*/ 242987 w 1090712"/>
              <a:gd name="connsiteY237" fmla="*/ 203378 h 895572"/>
              <a:gd name="connsiteX238" fmla="*/ 203547 w 1090712"/>
              <a:gd name="connsiteY238" fmla="*/ 244006 h 895572"/>
              <a:gd name="connsiteX239" fmla="*/ 183827 w 1090712"/>
              <a:gd name="connsiteY239" fmla="*/ 264439 h 895572"/>
              <a:gd name="connsiteX240" fmla="*/ 164345 w 1090712"/>
              <a:gd name="connsiteY240" fmla="*/ 285822 h 895572"/>
              <a:gd name="connsiteX241" fmla="*/ 144862 w 1090712"/>
              <a:gd name="connsiteY241" fmla="*/ 307443 h 895572"/>
              <a:gd name="connsiteX242" fmla="*/ 126093 w 1090712"/>
              <a:gd name="connsiteY242" fmla="*/ 329777 h 895572"/>
              <a:gd name="connsiteX243" fmla="*/ 122054 w 1090712"/>
              <a:gd name="connsiteY243" fmla="*/ 335004 h 895572"/>
              <a:gd name="connsiteX244" fmla="*/ 118015 w 1090712"/>
              <a:gd name="connsiteY244" fmla="*/ 340468 h 895572"/>
              <a:gd name="connsiteX245" fmla="*/ 110887 w 1090712"/>
              <a:gd name="connsiteY245" fmla="*/ 352110 h 895572"/>
              <a:gd name="connsiteX246" fmla="*/ 104709 w 1090712"/>
              <a:gd name="connsiteY246" fmla="*/ 363514 h 895572"/>
              <a:gd name="connsiteX247" fmla="*/ 99007 w 1090712"/>
              <a:gd name="connsiteY247" fmla="*/ 375156 h 895572"/>
              <a:gd name="connsiteX248" fmla="*/ 87840 w 1090712"/>
              <a:gd name="connsiteY248" fmla="*/ 400103 h 895572"/>
              <a:gd name="connsiteX249" fmla="*/ 82138 w 1090712"/>
              <a:gd name="connsiteY249" fmla="*/ 412458 h 895572"/>
              <a:gd name="connsiteX250" fmla="*/ 75723 w 1090712"/>
              <a:gd name="connsiteY250" fmla="*/ 425050 h 895572"/>
              <a:gd name="connsiteX251" fmla="*/ 75723 w 1090712"/>
              <a:gd name="connsiteY251" fmla="*/ 429802 h 895572"/>
              <a:gd name="connsiteX252" fmla="*/ 76674 w 1090712"/>
              <a:gd name="connsiteY252" fmla="*/ 436217 h 895572"/>
              <a:gd name="connsiteX253" fmla="*/ 77149 w 1090712"/>
              <a:gd name="connsiteY253" fmla="*/ 439306 h 895572"/>
              <a:gd name="connsiteX254" fmla="*/ 78574 w 1090712"/>
              <a:gd name="connsiteY254" fmla="*/ 442395 h 895572"/>
              <a:gd name="connsiteX255" fmla="*/ 79762 w 1090712"/>
              <a:gd name="connsiteY255" fmla="*/ 445008 h 895572"/>
              <a:gd name="connsiteX256" fmla="*/ 81663 w 1090712"/>
              <a:gd name="connsiteY256" fmla="*/ 447147 h 895572"/>
              <a:gd name="connsiteX257" fmla="*/ 94018 w 1090712"/>
              <a:gd name="connsiteY257" fmla="*/ 468055 h 895572"/>
              <a:gd name="connsiteX258" fmla="*/ 106848 w 1090712"/>
              <a:gd name="connsiteY258" fmla="*/ 488963 h 895572"/>
              <a:gd name="connsiteX259" fmla="*/ 113975 w 1090712"/>
              <a:gd name="connsiteY259" fmla="*/ 499654 h 895572"/>
              <a:gd name="connsiteX260" fmla="*/ 121103 w 1090712"/>
              <a:gd name="connsiteY260" fmla="*/ 510346 h 895572"/>
              <a:gd name="connsiteX261" fmla="*/ 128706 w 1090712"/>
              <a:gd name="connsiteY261" fmla="*/ 520562 h 895572"/>
              <a:gd name="connsiteX262" fmla="*/ 137259 w 1090712"/>
              <a:gd name="connsiteY262" fmla="*/ 531254 h 895572"/>
              <a:gd name="connsiteX263" fmla="*/ 149614 w 1090712"/>
              <a:gd name="connsiteY263" fmla="*/ 514385 h 895572"/>
              <a:gd name="connsiteX264" fmla="*/ 162206 w 1090712"/>
              <a:gd name="connsiteY264" fmla="*/ 498466 h 895572"/>
              <a:gd name="connsiteX265" fmla="*/ 174561 w 1090712"/>
              <a:gd name="connsiteY265" fmla="*/ 483260 h 895572"/>
              <a:gd name="connsiteX266" fmla="*/ 180739 w 1090712"/>
              <a:gd name="connsiteY266" fmla="*/ 476133 h 895572"/>
              <a:gd name="connsiteX267" fmla="*/ 186916 w 1090712"/>
              <a:gd name="connsiteY267" fmla="*/ 469480 h 895572"/>
              <a:gd name="connsiteX268" fmla="*/ 182639 w 1090712"/>
              <a:gd name="connsiteY268" fmla="*/ 482310 h 895572"/>
              <a:gd name="connsiteX269" fmla="*/ 178125 w 1090712"/>
              <a:gd name="connsiteY269" fmla="*/ 495615 h 895572"/>
              <a:gd name="connsiteX270" fmla="*/ 172423 w 1090712"/>
              <a:gd name="connsiteY270" fmla="*/ 509871 h 895572"/>
              <a:gd name="connsiteX271" fmla="*/ 164820 w 1090712"/>
              <a:gd name="connsiteY271" fmla="*/ 525552 h 895572"/>
              <a:gd name="connsiteX272" fmla="*/ 156267 w 1090712"/>
              <a:gd name="connsiteY272" fmla="*/ 538381 h 895572"/>
              <a:gd name="connsiteX273" fmla="*/ 152703 w 1090712"/>
              <a:gd name="connsiteY273" fmla="*/ 544559 h 895572"/>
              <a:gd name="connsiteX274" fmla="*/ 148664 w 1090712"/>
              <a:gd name="connsiteY274" fmla="*/ 551449 h 895572"/>
              <a:gd name="connsiteX275" fmla="*/ 145100 w 1090712"/>
              <a:gd name="connsiteY275" fmla="*/ 558339 h 895572"/>
              <a:gd name="connsiteX276" fmla="*/ 142011 w 1090712"/>
              <a:gd name="connsiteY276" fmla="*/ 565467 h 895572"/>
              <a:gd name="connsiteX277" fmla="*/ 139398 w 1090712"/>
              <a:gd name="connsiteY277" fmla="*/ 573070 h 895572"/>
              <a:gd name="connsiteX278" fmla="*/ 137259 w 1090712"/>
              <a:gd name="connsiteY278" fmla="*/ 581623 h 895572"/>
              <a:gd name="connsiteX279" fmla="*/ 136309 w 1090712"/>
              <a:gd name="connsiteY279" fmla="*/ 583761 h 895572"/>
              <a:gd name="connsiteX280" fmla="*/ 135359 w 1090712"/>
              <a:gd name="connsiteY280" fmla="*/ 586137 h 895572"/>
              <a:gd name="connsiteX281" fmla="*/ 134883 w 1090712"/>
              <a:gd name="connsiteY281" fmla="*/ 590889 h 895572"/>
              <a:gd name="connsiteX282" fmla="*/ 134883 w 1090712"/>
              <a:gd name="connsiteY282" fmla="*/ 595879 h 895572"/>
              <a:gd name="connsiteX283" fmla="*/ 135359 w 1090712"/>
              <a:gd name="connsiteY283" fmla="*/ 601106 h 895572"/>
              <a:gd name="connsiteX284" fmla="*/ 136784 w 1090712"/>
              <a:gd name="connsiteY284" fmla="*/ 606095 h 895572"/>
              <a:gd name="connsiteX285" fmla="*/ 138447 w 1090712"/>
              <a:gd name="connsiteY285" fmla="*/ 611322 h 895572"/>
              <a:gd name="connsiteX286" fmla="*/ 140348 w 1090712"/>
              <a:gd name="connsiteY286" fmla="*/ 616311 h 895572"/>
              <a:gd name="connsiteX287" fmla="*/ 142486 w 1090712"/>
              <a:gd name="connsiteY287" fmla="*/ 620826 h 895572"/>
              <a:gd name="connsiteX288" fmla="*/ 148664 w 1090712"/>
              <a:gd name="connsiteY288" fmla="*/ 629616 h 895572"/>
              <a:gd name="connsiteX289" fmla="*/ 155554 w 1090712"/>
              <a:gd name="connsiteY289" fmla="*/ 637219 h 895572"/>
              <a:gd name="connsiteX290" fmla="*/ 162444 w 1090712"/>
              <a:gd name="connsiteY290" fmla="*/ 643872 h 895572"/>
              <a:gd name="connsiteX291" fmla="*/ 169572 w 1090712"/>
              <a:gd name="connsiteY291" fmla="*/ 649099 h 895572"/>
              <a:gd name="connsiteX292" fmla="*/ 177175 w 1090712"/>
              <a:gd name="connsiteY292" fmla="*/ 653613 h 895572"/>
              <a:gd name="connsiteX293" fmla="*/ 184778 w 1090712"/>
              <a:gd name="connsiteY293" fmla="*/ 657177 h 895572"/>
              <a:gd name="connsiteX294" fmla="*/ 192856 w 1090712"/>
              <a:gd name="connsiteY294" fmla="*/ 659553 h 895572"/>
              <a:gd name="connsiteX295" fmla="*/ 200934 w 1090712"/>
              <a:gd name="connsiteY295" fmla="*/ 661216 h 895572"/>
              <a:gd name="connsiteX296" fmla="*/ 209250 w 1090712"/>
              <a:gd name="connsiteY296" fmla="*/ 661691 h 895572"/>
              <a:gd name="connsiteX297" fmla="*/ 218278 w 1090712"/>
              <a:gd name="connsiteY297" fmla="*/ 661691 h 895572"/>
              <a:gd name="connsiteX298" fmla="*/ 227069 w 1090712"/>
              <a:gd name="connsiteY298" fmla="*/ 660266 h 895572"/>
              <a:gd name="connsiteX299" fmla="*/ 236335 w 1090712"/>
              <a:gd name="connsiteY299" fmla="*/ 658603 h 895572"/>
              <a:gd name="connsiteX300" fmla="*/ 245838 w 1090712"/>
              <a:gd name="connsiteY300" fmla="*/ 655514 h 895572"/>
              <a:gd name="connsiteX301" fmla="*/ 255580 w 1090712"/>
              <a:gd name="connsiteY301" fmla="*/ 652425 h 895572"/>
              <a:gd name="connsiteX302" fmla="*/ 265321 w 1090712"/>
              <a:gd name="connsiteY302" fmla="*/ 647911 h 895572"/>
              <a:gd name="connsiteX303" fmla="*/ 276013 w 1090712"/>
              <a:gd name="connsiteY303" fmla="*/ 642922 h 895572"/>
              <a:gd name="connsiteX304" fmla="*/ 288367 w 1090712"/>
              <a:gd name="connsiteY304" fmla="*/ 635081 h 895572"/>
              <a:gd name="connsiteX305" fmla="*/ 301910 w 1090712"/>
              <a:gd name="connsiteY305" fmla="*/ 627478 h 895572"/>
              <a:gd name="connsiteX306" fmla="*/ 315215 w 1090712"/>
              <a:gd name="connsiteY306" fmla="*/ 620350 h 895572"/>
              <a:gd name="connsiteX307" fmla="*/ 329471 w 1090712"/>
              <a:gd name="connsiteY307" fmla="*/ 613698 h 895572"/>
              <a:gd name="connsiteX308" fmla="*/ 343726 w 1090712"/>
              <a:gd name="connsiteY308" fmla="*/ 607283 h 895572"/>
              <a:gd name="connsiteX309" fmla="*/ 357981 w 1090712"/>
              <a:gd name="connsiteY309" fmla="*/ 602056 h 895572"/>
              <a:gd name="connsiteX310" fmla="*/ 371999 w 1090712"/>
              <a:gd name="connsiteY310" fmla="*/ 597066 h 895572"/>
              <a:gd name="connsiteX311" fmla="*/ 386730 w 1090712"/>
              <a:gd name="connsiteY311" fmla="*/ 592790 h 895572"/>
              <a:gd name="connsiteX312" fmla="*/ 394808 w 1090712"/>
              <a:gd name="connsiteY312" fmla="*/ 590414 h 895572"/>
              <a:gd name="connsiteX313" fmla="*/ 402411 w 1090712"/>
              <a:gd name="connsiteY313" fmla="*/ 587325 h 895572"/>
              <a:gd name="connsiteX314" fmla="*/ 409064 w 1090712"/>
              <a:gd name="connsiteY314" fmla="*/ 583761 h 895572"/>
              <a:gd name="connsiteX315" fmla="*/ 411677 w 1090712"/>
              <a:gd name="connsiteY315" fmla="*/ 581623 h 895572"/>
              <a:gd name="connsiteX316" fmla="*/ 414766 w 1090712"/>
              <a:gd name="connsiteY316" fmla="*/ 579247 h 895572"/>
              <a:gd name="connsiteX317" fmla="*/ 417142 w 1090712"/>
              <a:gd name="connsiteY317" fmla="*/ 577109 h 895572"/>
              <a:gd name="connsiteX318" fmla="*/ 419280 w 1090712"/>
              <a:gd name="connsiteY318" fmla="*/ 574495 h 895572"/>
              <a:gd name="connsiteX319" fmla="*/ 420943 w 1090712"/>
              <a:gd name="connsiteY319" fmla="*/ 571407 h 895572"/>
              <a:gd name="connsiteX320" fmla="*/ 422844 w 1090712"/>
              <a:gd name="connsiteY320" fmla="*/ 568318 h 895572"/>
              <a:gd name="connsiteX321" fmla="*/ 424269 w 1090712"/>
              <a:gd name="connsiteY321" fmla="*/ 565229 h 895572"/>
              <a:gd name="connsiteX322" fmla="*/ 424982 w 1090712"/>
              <a:gd name="connsiteY322" fmla="*/ 561665 h 895572"/>
              <a:gd name="connsiteX323" fmla="*/ 425457 w 1090712"/>
              <a:gd name="connsiteY323" fmla="*/ 557626 h 895572"/>
              <a:gd name="connsiteX324" fmla="*/ 425932 w 1090712"/>
              <a:gd name="connsiteY324" fmla="*/ 553587 h 895572"/>
              <a:gd name="connsiteX325" fmla="*/ 425932 w 1090712"/>
              <a:gd name="connsiteY325" fmla="*/ 413884 h 895572"/>
              <a:gd name="connsiteX326" fmla="*/ 425932 w 1090712"/>
              <a:gd name="connsiteY326" fmla="*/ 285347 h 895572"/>
              <a:gd name="connsiteX327" fmla="*/ 429496 w 1090712"/>
              <a:gd name="connsiteY327" fmla="*/ 300078 h 895572"/>
              <a:gd name="connsiteX328" fmla="*/ 433060 w 1090712"/>
              <a:gd name="connsiteY328" fmla="*/ 314096 h 895572"/>
              <a:gd name="connsiteX329" fmla="*/ 436149 w 1090712"/>
              <a:gd name="connsiteY329" fmla="*/ 328826 h 895572"/>
              <a:gd name="connsiteX330" fmla="*/ 438762 w 1090712"/>
              <a:gd name="connsiteY330" fmla="*/ 343082 h 895572"/>
              <a:gd name="connsiteX331" fmla="*/ 443752 w 1090712"/>
              <a:gd name="connsiteY331" fmla="*/ 370642 h 895572"/>
              <a:gd name="connsiteX332" fmla="*/ 447791 w 1090712"/>
              <a:gd name="connsiteY332" fmla="*/ 397015 h 895572"/>
              <a:gd name="connsiteX333" fmla="*/ 451830 w 1090712"/>
              <a:gd name="connsiteY333" fmla="*/ 421962 h 895572"/>
              <a:gd name="connsiteX334" fmla="*/ 454919 w 1090712"/>
              <a:gd name="connsiteY334" fmla="*/ 446434 h 895572"/>
              <a:gd name="connsiteX335" fmla="*/ 456106 w 1090712"/>
              <a:gd name="connsiteY335" fmla="*/ 458313 h 895572"/>
              <a:gd name="connsiteX336" fmla="*/ 457057 w 1090712"/>
              <a:gd name="connsiteY336" fmla="*/ 470430 h 895572"/>
              <a:gd name="connsiteX337" fmla="*/ 457532 w 1090712"/>
              <a:gd name="connsiteY337" fmla="*/ 482310 h 895572"/>
              <a:gd name="connsiteX338" fmla="*/ 457532 w 1090712"/>
              <a:gd name="connsiteY338" fmla="*/ 493952 h 895572"/>
              <a:gd name="connsiteX339" fmla="*/ 457532 w 1090712"/>
              <a:gd name="connsiteY339" fmla="*/ 506069 h 895572"/>
              <a:gd name="connsiteX340" fmla="*/ 456582 w 1090712"/>
              <a:gd name="connsiteY340" fmla="*/ 517473 h 895572"/>
              <a:gd name="connsiteX341" fmla="*/ 455869 w 1090712"/>
              <a:gd name="connsiteY341" fmla="*/ 529116 h 895572"/>
              <a:gd name="connsiteX342" fmla="*/ 453968 w 1090712"/>
              <a:gd name="connsiteY342" fmla="*/ 540757 h 895572"/>
              <a:gd name="connsiteX343" fmla="*/ 452305 w 1090712"/>
              <a:gd name="connsiteY343" fmla="*/ 552162 h 895572"/>
              <a:gd name="connsiteX344" fmla="*/ 449454 w 1090712"/>
              <a:gd name="connsiteY344" fmla="*/ 563804 h 895572"/>
              <a:gd name="connsiteX345" fmla="*/ 446365 w 1090712"/>
              <a:gd name="connsiteY345" fmla="*/ 575446 h 895572"/>
              <a:gd name="connsiteX346" fmla="*/ 442326 w 1090712"/>
              <a:gd name="connsiteY346" fmla="*/ 586850 h 895572"/>
              <a:gd name="connsiteX347" fmla="*/ 440188 w 1090712"/>
              <a:gd name="connsiteY347" fmla="*/ 591364 h 895572"/>
              <a:gd name="connsiteX348" fmla="*/ 437574 w 1090712"/>
              <a:gd name="connsiteY348" fmla="*/ 595403 h 895572"/>
              <a:gd name="connsiteX349" fmla="*/ 434486 w 1090712"/>
              <a:gd name="connsiteY349" fmla="*/ 598967 h 895572"/>
              <a:gd name="connsiteX350" fmla="*/ 431397 w 1090712"/>
              <a:gd name="connsiteY350" fmla="*/ 602531 h 895572"/>
              <a:gd name="connsiteX351" fmla="*/ 428071 w 1090712"/>
              <a:gd name="connsiteY351" fmla="*/ 605145 h 895572"/>
              <a:gd name="connsiteX352" fmla="*/ 424982 w 1090712"/>
              <a:gd name="connsiteY352" fmla="*/ 607283 h 895572"/>
              <a:gd name="connsiteX353" fmla="*/ 422369 w 1090712"/>
              <a:gd name="connsiteY353" fmla="*/ 608708 h 895572"/>
              <a:gd name="connsiteX354" fmla="*/ 420230 w 1090712"/>
              <a:gd name="connsiteY354" fmla="*/ 609659 h 895572"/>
              <a:gd name="connsiteX355" fmla="*/ 410727 w 1090712"/>
              <a:gd name="connsiteY355" fmla="*/ 610847 h 895572"/>
              <a:gd name="connsiteX356" fmla="*/ 401461 w 1090712"/>
              <a:gd name="connsiteY356" fmla="*/ 612748 h 895572"/>
              <a:gd name="connsiteX357" fmla="*/ 392670 w 1090712"/>
              <a:gd name="connsiteY357" fmla="*/ 614886 h 895572"/>
              <a:gd name="connsiteX358" fmla="*/ 383641 w 1090712"/>
              <a:gd name="connsiteY358" fmla="*/ 617262 h 895572"/>
              <a:gd name="connsiteX359" fmla="*/ 374850 w 1090712"/>
              <a:gd name="connsiteY359" fmla="*/ 620350 h 895572"/>
              <a:gd name="connsiteX360" fmla="*/ 365822 w 1090712"/>
              <a:gd name="connsiteY360" fmla="*/ 623914 h 895572"/>
              <a:gd name="connsiteX361" fmla="*/ 348478 w 1090712"/>
              <a:gd name="connsiteY361" fmla="*/ 631042 h 895572"/>
              <a:gd name="connsiteX362" fmla="*/ 331609 w 1090712"/>
              <a:gd name="connsiteY362" fmla="*/ 639358 h 895572"/>
              <a:gd name="connsiteX363" fmla="*/ 314740 w 1090712"/>
              <a:gd name="connsiteY363" fmla="*/ 647911 h 895572"/>
              <a:gd name="connsiteX364" fmla="*/ 281240 w 1090712"/>
              <a:gd name="connsiteY364" fmla="*/ 665255 h 895572"/>
              <a:gd name="connsiteX365" fmla="*/ 274587 w 1090712"/>
              <a:gd name="connsiteY365" fmla="*/ 669294 h 895572"/>
              <a:gd name="connsiteX366" fmla="*/ 267935 w 1090712"/>
              <a:gd name="connsiteY366" fmla="*/ 672858 h 895572"/>
              <a:gd name="connsiteX367" fmla="*/ 261757 w 1090712"/>
              <a:gd name="connsiteY367" fmla="*/ 675947 h 895572"/>
              <a:gd name="connsiteX368" fmla="*/ 255105 w 1090712"/>
              <a:gd name="connsiteY368" fmla="*/ 679035 h 895572"/>
              <a:gd name="connsiteX369" fmla="*/ 248927 w 1090712"/>
              <a:gd name="connsiteY369" fmla="*/ 681174 h 895572"/>
              <a:gd name="connsiteX370" fmla="*/ 242987 w 1090712"/>
              <a:gd name="connsiteY370" fmla="*/ 683075 h 895572"/>
              <a:gd name="connsiteX371" fmla="*/ 236810 w 1090712"/>
              <a:gd name="connsiteY371" fmla="*/ 684738 h 895572"/>
              <a:gd name="connsiteX372" fmla="*/ 231108 w 1090712"/>
              <a:gd name="connsiteY372" fmla="*/ 686163 h 895572"/>
              <a:gd name="connsiteX373" fmla="*/ 225406 w 1090712"/>
              <a:gd name="connsiteY373" fmla="*/ 687114 h 895572"/>
              <a:gd name="connsiteX374" fmla="*/ 219466 w 1090712"/>
              <a:gd name="connsiteY374" fmla="*/ 687589 h 895572"/>
              <a:gd name="connsiteX375" fmla="*/ 213764 w 1090712"/>
              <a:gd name="connsiteY375" fmla="*/ 687589 h 895572"/>
              <a:gd name="connsiteX376" fmla="*/ 208299 w 1090712"/>
              <a:gd name="connsiteY376" fmla="*/ 687589 h 895572"/>
              <a:gd name="connsiteX377" fmla="*/ 203072 w 1090712"/>
              <a:gd name="connsiteY377" fmla="*/ 687114 h 895572"/>
              <a:gd name="connsiteX378" fmla="*/ 197607 w 1090712"/>
              <a:gd name="connsiteY378" fmla="*/ 686163 h 895572"/>
              <a:gd name="connsiteX379" fmla="*/ 192380 w 1090712"/>
              <a:gd name="connsiteY379" fmla="*/ 684738 h 895572"/>
              <a:gd name="connsiteX380" fmla="*/ 186916 w 1090712"/>
              <a:gd name="connsiteY380" fmla="*/ 683550 h 895572"/>
              <a:gd name="connsiteX381" fmla="*/ 181689 w 1090712"/>
              <a:gd name="connsiteY381" fmla="*/ 681649 h 895572"/>
              <a:gd name="connsiteX382" fmla="*/ 176699 w 1090712"/>
              <a:gd name="connsiteY382" fmla="*/ 679986 h 895572"/>
              <a:gd name="connsiteX383" fmla="*/ 171472 w 1090712"/>
              <a:gd name="connsiteY383" fmla="*/ 677610 h 895572"/>
              <a:gd name="connsiteX384" fmla="*/ 166483 w 1090712"/>
              <a:gd name="connsiteY384" fmla="*/ 674996 h 895572"/>
              <a:gd name="connsiteX385" fmla="*/ 156742 w 1090712"/>
              <a:gd name="connsiteY385" fmla="*/ 669294 h 895572"/>
              <a:gd name="connsiteX386" fmla="*/ 147001 w 1090712"/>
              <a:gd name="connsiteY386" fmla="*/ 662167 h 895572"/>
              <a:gd name="connsiteX387" fmla="*/ 137735 w 1090712"/>
              <a:gd name="connsiteY387" fmla="*/ 654564 h 895572"/>
              <a:gd name="connsiteX388" fmla="*/ 127756 w 1090712"/>
              <a:gd name="connsiteY388" fmla="*/ 645535 h 895572"/>
              <a:gd name="connsiteX389" fmla="*/ 118490 w 1090712"/>
              <a:gd name="connsiteY389" fmla="*/ 636269 h 895572"/>
              <a:gd name="connsiteX390" fmla="*/ 109224 w 1090712"/>
              <a:gd name="connsiteY390" fmla="*/ 626053 h 895572"/>
              <a:gd name="connsiteX391" fmla="*/ 107323 w 1090712"/>
              <a:gd name="connsiteY391" fmla="*/ 623914 h 895572"/>
              <a:gd name="connsiteX392" fmla="*/ 106135 w 1090712"/>
              <a:gd name="connsiteY392" fmla="*/ 620350 h 895572"/>
              <a:gd name="connsiteX393" fmla="*/ 105185 w 1090712"/>
              <a:gd name="connsiteY393" fmla="*/ 616311 h 895572"/>
              <a:gd name="connsiteX394" fmla="*/ 105185 w 1090712"/>
              <a:gd name="connsiteY394" fmla="*/ 612272 h 895572"/>
              <a:gd name="connsiteX395" fmla="*/ 105185 w 1090712"/>
              <a:gd name="connsiteY395" fmla="*/ 608233 h 895572"/>
              <a:gd name="connsiteX396" fmla="*/ 106135 w 1090712"/>
              <a:gd name="connsiteY396" fmla="*/ 604194 h 895572"/>
              <a:gd name="connsiteX397" fmla="*/ 107323 w 1090712"/>
              <a:gd name="connsiteY397" fmla="*/ 600630 h 895572"/>
              <a:gd name="connsiteX398" fmla="*/ 109224 w 1090712"/>
              <a:gd name="connsiteY398" fmla="*/ 598017 h 895572"/>
              <a:gd name="connsiteX399" fmla="*/ 111837 w 1090712"/>
              <a:gd name="connsiteY399" fmla="*/ 591840 h 895572"/>
              <a:gd name="connsiteX400" fmla="*/ 113975 w 1090712"/>
              <a:gd name="connsiteY400" fmla="*/ 586137 h 895572"/>
              <a:gd name="connsiteX401" fmla="*/ 115401 w 1090712"/>
              <a:gd name="connsiteY401" fmla="*/ 579722 h 895572"/>
              <a:gd name="connsiteX402" fmla="*/ 115876 w 1090712"/>
              <a:gd name="connsiteY402" fmla="*/ 574020 h 895572"/>
              <a:gd name="connsiteX403" fmla="*/ 115876 w 1090712"/>
              <a:gd name="connsiteY403" fmla="*/ 568318 h 895572"/>
              <a:gd name="connsiteX404" fmla="*/ 115401 w 1090712"/>
              <a:gd name="connsiteY404" fmla="*/ 562378 h 895572"/>
              <a:gd name="connsiteX405" fmla="*/ 114451 w 1090712"/>
              <a:gd name="connsiteY405" fmla="*/ 557151 h 895572"/>
              <a:gd name="connsiteX406" fmla="*/ 112788 w 1090712"/>
              <a:gd name="connsiteY406" fmla="*/ 551449 h 895572"/>
              <a:gd name="connsiteX407" fmla="*/ 110412 w 1090712"/>
              <a:gd name="connsiteY407" fmla="*/ 545984 h 895572"/>
              <a:gd name="connsiteX408" fmla="*/ 108273 w 1090712"/>
              <a:gd name="connsiteY408" fmla="*/ 540757 h 895572"/>
              <a:gd name="connsiteX409" fmla="*/ 105185 w 1090712"/>
              <a:gd name="connsiteY409" fmla="*/ 535293 h 895572"/>
              <a:gd name="connsiteX410" fmla="*/ 102096 w 1090712"/>
              <a:gd name="connsiteY410" fmla="*/ 530066 h 895572"/>
              <a:gd name="connsiteX411" fmla="*/ 94968 w 1090712"/>
              <a:gd name="connsiteY411" fmla="*/ 519374 h 895572"/>
              <a:gd name="connsiteX412" fmla="*/ 86890 w 1090712"/>
              <a:gd name="connsiteY412" fmla="*/ 508683 h 895572"/>
              <a:gd name="connsiteX413" fmla="*/ 78812 w 1090712"/>
              <a:gd name="connsiteY413" fmla="*/ 497991 h 895572"/>
              <a:gd name="connsiteX414" fmla="*/ 70972 w 1090712"/>
              <a:gd name="connsiteY414" fmla="*/ 486824 h 895572"/>
              <a:gd name="connsiteX415" fmla="*/ 67408 w 1090712"/>
              <a:gd name="connsiteY415" fmla="*/ 481122 h 895572"/>
              <a:gd name="connsiteX416" fmla="*/ 64319 w 1090712"/>
              <a:gd name="connsiteY416" fmla="*/ 474707 h 895572"/>
              <a:gd name="connsiteX417" fmla="*/ 61230 w 1090712"/>
              <a:gd name="connsiteY417" fmla="*/ 469005 h 895572"/>
              <a:gd name="connsiteX418" fmla="*/ 58379 w 1090712"/>
              <a:gd name="connsiteY418" fmla="*/ 462828 h 895572"/>
              <a:gd name="connsiteX419" fmla="*/ 56716 w 1090712"/>
              <a:gd name="connsiteY419" fmla="*/ 456175 h 895572"/>
              <a:gd name="connsiteX420" fmla="*/ 54815 w 1090712"/>
              <a:gd name="connsiteY420" fmla="*/ 449998 h 895572"/>
              <a:gd name="connsiteX421" fmla="*/ 54103 w 1090712"/>
              <a:gd name="connsiteY421" fmla="*/ 443345 h 895572"/>
              <a:gd name="connsiteX422" fmla="*/ 53627 w 1090712"/>
              <a:gd name="connsiteY422" fmla="*/ 436455 h 895572"/>
              <a:gd name="connsiteX423" fmla="*/ 53627 w 1090712"/>
              <a:gd name="connsiteY423" fmla="*/ 429327 h 895572"/>
              <a:gd name="connsiteX424" fmla="*/ 54815 w 1090712"/>
              <a:gd name="connsiteY424" fmla="*/ 422675 h 895572"/>
              <a:gd name="connsiteX425" fmla="*/ 56716 w 1090712"/>
              <a:gd name="connsiteY425" fmla="*/ 415547 h 895572"/>
              <a:gd name="connsiteX426" fmla="*/ 59330 w 1090712"/>
              <a:gd name="connsiteY426" fmla="*/ 408182 h 895572"/>
              <a:gd name="connsiteX427" fmla="*/ 60280 w 1090712"/>
              <a:gd name="connsiteY427" fmla="*/ 403192 h 895572"/>
              <a:gd name="connsiteX428" fmla="*/ 61943 w 1090712"/>
              <a:gd name="connsiteY428" fmla="*/ 397965 h 895572"/>
              <a:gd name="connsiteX429" fmla="*/ 65507 w 1090712"/>
              <a:gd name="connsiteY429" fmla="*/ 387986 h 895572"/>
              <a:gd name="connsiteX430" fmla="*/ 69546 w 1090712"/>
              <a:gd name="connsiteY430" fmla="*/ 378720 h 895572"/>
              <a:gd name="connsiteX431" fmla="*/ 74535 w 1090712"/>
              <a:gd name="connsiteY431" fmla="*/ 369929 h 895572"/>
              <a:gd name="connsiteX432" fmla="*/ 79762 w 1090712"/>
              <a:gd name="connsiteY432" fmla="*/ 360901 h 895572"/>
              <a:gd name="connsiteX433" fmla="*/ 85940 w 1090712"/>
              <a:gd name="connsiteY433" fmla="*/ 352585 h 895572"/>
              <a:gd name="connsiteX434" fmla="*/ 98057 w 1090712"/>
              <a:gd name="connsiteY434" fmla="*/ 335479 h 895572"/>
              <a:gd name="connsiteX435" fmla="*/ 102571 w 1090712"/>
              <a:gd name="connsiteY435" fmla="*/ 328113 h 895572"/>
              <a:gd name="connsiteX436" fmla="*/ 106848 w 1090712"/>
              <a:gd name="connsiteY436" fmla="*/ 320986 h 895572"/>
              <a:gd name="connsiteX437" fmla="*/ 116827 w 1090712"/>
              <a:gd name="connsiteY437" fmla="*/ 307205 h 895572"/>
              <a:gd name="connsiteX438" fmla="*/ 127043 w 1090712"/>
              <a:gd name="connsiteY438" fmla="*/ 293188 h 895572"/>
              <a:gd name="connsiteX439" fmla="*/ 137735 w 1090712"/>
              <a:gd name="connsiteY439" fmla="*/ 279407 h 895572"/>
              <a:gd name="connsiteX440" fmla="*/ 159831 w 1090712"/>
              <a:gd name="connsiteY440" fmla="*/ 251847 h 895572"/>
              <a:gd name="connsiteX441" fmla="*/ 170522 w 1090712"/>
              <a:gd name="connsiteY441" fmla="*/ 238066 h 895572"/>
              <a:gd name="connsiteX442" fmla="*/ 181214 w 1090712"/>
              <a:gd name="connsiteY442" fmla="*/ 223336 h 895572"/>
              <a:gd name="connsiteX443" fmla="*/ 164820 w 1090712"/>
              <a:gd name="connsiteY443" fmla="*/ 223336 h 895572"/>
              <a:gd name="connsiteX444" fmla="*/ 137972 w 1090712"/>
              <a:gd name="connsiteY444" fmla="*/ 230226 h 895572"/>
              <a:gd name="connsiteX445" fmla="*/ 125142 w 1090712"/>
              <a:gd name="connsiteY445" fmla="*/ 233790 h 895572"/>
              <a:gd name="connsiteX446" fmla="*/ 112788 w 1090712"/>
              <a:gd name="connsiteY446" fmla="*/ 237591 h 895572"/>
              <a:gd name="connsiteX447" fmla="*/ 100195 w 1090712"/>
              <a:gd name="connsiteY447" fmla="*/ 241630 h 895572"/>
              <a:gd name="connsiteX448" fmla="*/ 87840 w 1090712"/>
              <a:gd name="connsiteY448" fmla="*/ 245669 h 895572"/>
              <a:gd name="connsiteX449" fmla="*/ 75723 w 1090712"/>
              <a:gd name="connsiteY449" fmla="*/ 250183 h 895572"/>
              <a:gd name="connsiteX450" fmla="*/ 64319 w 1090712"/>
              <a:gd name="connsiteY450" fmla="*/ 254935 h 895572"/>
              <a:gd name="connsiteX451" fmla="*/ 52677 w 1090712"/>
              <a:gd name="connsiteY451" fmla="*/ 260400 h 895572"/>
              <a:gd name="connsiteX452" fmla="*/ 41035 w 1090712"/>
              <a:gd name="connsiteY452" fmla="*/ 265627 h 895572"/>
              <a:gd name="connsiteX453" fmla="*/ 29868 w 1090712"/>
              <a:gd name="connsiteY453" fmla="*/ 271567 h 895572"/>
              <a:gd name="connsiteX454" fmla="*/ 18939 w 1090712"/>
              <a:gd name="connsiteY454" fmla="*/ 277744 h 895572"/>
              <a:gd name="connsiteX455" fmla="*/ 7772 w 1090712"/>
              <a:gd name="connsiteY455" fmla="*/ 284397 h 895572"/>
              <a:gd name="connsiteX456" fmla="*/ 0 w 1090712"/>
              <a:gd name="connsiteY456" fmla="*/ 289924 h 895572"/>
              <a:gd name="connsiteX457" fmla="*/ 0 w 1090712"/>
              <a:gd name="connsiteY457" fmla="*/ 895572 h 895572"/>
              <a:gd name="connsiteX458" fmla="*/ 125653 w 1090712"/>
              <a:gd name="connsiteY458" fmla="*/ 895572 h 895572"/>
              <a:gd name="connsiteX459" fmla="*/ 127756 w 1090712"/>
              <a:gd name="connsiteY459" fmla="*/ 892155 h 895572"/>
              <a:gd name="connsiteX460" fmla="*/ 131082 w 1090712"/>
              <a:gd name="connsiteY460" fmla="*/ 885502 h 895572"/>
              <a:gd name="connsiteX461" fmla="*/ 133696 w 1090712"/>
              <a:gd name="connsiteY461" fmla="*/ 878374 h 895572"/>
              <a:gd name="connsiteX462" fmla="*/ 135834 w 1090712"/>
              <a:gd name="connsiteY462" fmla="*/ 871722 h 895572"/>
              <a:gd name="connsiteX463" fmla="*/ 137735 w 1090712"/>
              <a:gd name="connsiteY463" fmla="*/ 864594 h 895572"/>
              <a:gd name="connsiteX464" fmla="*/ 138923 w 1090712"/>
              <a:gd name="connsiteY464" fmla="*/ 857466 h 895572"/>
              <a:gd name="connsiteX465" fmla="*/ 140348 w 1090712"/>
              <a:gd name="connsiteY465" fmla="*/ 850339 h 895572"/>
              <a:gd name="connsiteX466" fmla="*/ 141298 w 1090712"/>
              <a:gd name="connsiteY466" fmla="*/ 843211 h 895572"/>
              <a:gd name="connsiteX467" fmla="*/ 142011 w 1090712"/>
              <a:gd name="connsiteY467" fmla="*/ 828955 h 895572"/>
              <a:gd name="connsiteX468" fmla="*/ 142486 w 1090712"/>
              <a:gd name="connsiteY468" fmla="*/ 814225 h 895572"/>
              <a:gd name="connsiteX469" fmla="*/ 142486 w 1090712"/>
              <a:gd name="connsiteY469" fmla="*/ 799494 h 895572"/>
              <a:gd name="connsiteX470" fmla="*/ 142486 w 1090712"/>
              <a:gd name="connsiteY470" fmla="*/ 782625 h 895572"/>
              <a:gd name="connsiteX471" fmla="*/ 142486 w 1090712"/>
              <a:gd name="connsiteY471" fmla="*/ 771458 h 895572"/>
              <a:gd name="connsiteX472" fmla="*/ 143912 w 1090712"/>
              <a:gd name="connsiteY472" fmla="*/ 778586 h 895572"/>
              <a:gd name="connsiteX473" fmla="*/ 145100 w 1090712"/>
              <a:gd name="connsiteY473" fmla="*/ 784526 h 895572"/>
              <a:gd name="connsiteX474" fmla="*/ 147476 w 1090712"/>
              <a:gd name="connsiteY474" fmla="*/ 789753 h 895572"/>
              <a:gd name="connsiteX475" fmla="*/ 149614 w 1090712"/>
              <a:gd name="connsiteY475" fmla="*/ 794267 h 895572"/>
              <a:gd name="connsiteX476" fmla="*/ 152228 w 1090712"/>
              <a:gd name="connsiteY476" fmla="*/ 797831 h 895572"/>
              <a:gd name="connsiteX477" fmla="*/ 155554 w 1090712"/>
              <a:gd name="connsiteY477" fmla="*/ 801395 h 895572"/>
              <a:gd name="connsiteX478" fmla="*/ 158643 w 1090712"/>
              <a:gd name="connsiteY478" fmla="*/ 803533 h 895572"/>
              <a:gd name="connsiteX479" fmla="*/ 162206 w 1090712"/>
              <a:gd name="connsiteY479" fmla="*/ 805909 h 895572"/>
              <a:gd name="connsiteX480" fmla="*/ 165770 w 1090712"/>
              <a:gd name="connsiteY480" fmla="*/ 807572 h 895572"/>
              <a:gd name="connsiteX481" fmla="*/ 169572 w 1090712"/>
              <a:gd name="connsiteY481" fmla="*/ 808523 h 895572"/>
              <a:gd name="connsiteX482" fmla="*/ 174086 w 1090712"/>
              <a:gd name="connsiteY482" fmla="*/ 809473 h 895572"/>
              <a:gd name="connsiteX483" fmla="*/ 178600 w 1090712"/>
              <a:gd name="connsiteY483" fmla="*/ 810186 h 895572"/>
              <a:gd name="connsiteX484" fmla="*/ 187866 w 1090712"/>
              <a:gd name="connsiteY484" fmla="*/ 810661 h 895572"/>
              <a:gd name="connsiteX485" fmla="*/ 198083 w 1090712"/>
              <a:gd name="connsiteY485" fmla="*/ 810661 h 895572"/>
              <a:gd name="connsiteX486" fmla="*/ 236810 w 1090712"/>
              <a:gd name="connsiteY486" fmla="*/ 810661 h 895572"/>
              <a:gd name="connsiteX487" fmla="*/ 249640 w 1090712"/>
              <a:gd name="connsiteY487" fmla="*/ 811136 h 895572"/>
              <a:gd name="connsiteX488" fmla="*/ 263183 w 1090712"/>
              <a:gd name="connsiteY488" fmla="*/ 811611 h 895572"/>
              <a:gd name="connsiteX489" fmla="*/ 270310 w 1090712"/>
              <a:gd name="connsiteY489" fmla="*/ 811611 h 895572"/>
              <a:gd name="connsiteX490" fmla="*/ 276963 w 1090712"/>
              <a:gd name="connsiteY490" fmla="*/ 811136 h 895572"/>
              <a:gd name="connsiteX491" fmla="*/ 283140 w 1090712"/>
              <a:gd name="connsiteY491" fmla="*/ 810186 h 895572"/>
              <a:gd name="connsiteX492" fmla="*/ 289793 w 1090712"/>
              <a:gd name="connsiteY492" fmla="*/ 808523 h 895572"/>
              <a:gd name="connsiteX493" fmla="*/ 295495 w 1090712"/>
              <a:gd name="connsiteY493" fmla="*/ 806147 h 895572"/>
              <a:gd name="connsiteX494" fmla="*/ 301435 w 1090712"/>
              <a:gd name="connsiteY494" fmla="*/ 803058 h 895572"/>
              <a:gd name="connsiteX495" fmla="*/ 304524 w 1090712"/>
              <a:gd name="connsiteY495" fmla="*/ 801395 h 895572"/>
              <a:gd name="connsiteX496" fmla="*/ 307137 w 1090712"/>
              <a:gd name="connsiteY496" fmla="*/ 799256 h 895572"/>
              <a:gd name="connsiteX497" fmla="*/ 309275 w 1090712"/>
              <a:gd name="connsiteY497" fmla="*/ 796881 h 895572"/>
              <a:gd name="connsiteX498" fmla="*/ 312126 w 1090712"/>
              <a:gd name="connsiteY498" fmla="*/ 794267 h 895572"/>
              <a:gd name="connsiteX499" fmla="*/ 314265 w 1090712"/>
              <a:gd name="connsiteY499" fmla="*/ 791178 h 895572"/>
              <a:gd name="connsiteX500" fmla="*/ 316403 w 1090712"/>
              <a:gd name="connsiteY500" fmla="*/ 788090 h 895572"/>
              <a:gd name="connsiteX501" fmla="*/ 318304 w 1090712"/>
              <a:gd name="connsiteY501" fmla="*/ 784051 h 895572"/>
              <a:gd name="connsiteX502" fmla="*/ 319967 w 1090712"/>
              <a:gd name="connsiteY502" fmla="*/ 780012 h 895572"/>
              <a:gd name="connsiteX503" fmla="*/ 321868 w 1090712"/>
              <a:gd name="connsiteY503" fmla="*/ 775973 h 895572"/>
              <a:gd name="connsiteX504" fmla="*/ 323056 w 1090712"/>
              <a:gd name="connsiteY504" fmla="*/ 771221 h 895572"/>
              <a:gd name="connsiteX505" fmla="*/ 324481 w 1090712"/>
              <a:gd name="connsiteY505" fmla="*/ 765756 h 895572"/>
              <a:gd name="connsiteX506" fmla="*/ 325907 w 1090712"/>
              <a:gd name="connsiteY506" fmla="*/ 760529 h 895572"/>
              <a:gd name="connsiteX507" fmla="*/ 325907 w 1090712"/>
              <a:gd name="connsiteY507" fmla="*/ 827530 h 895572"/>
              <a:gd name="connsiteX508" fmla="*/ 310226 w 1090712"/>
              <a:gd name="connsiteY508" fmla="*/ 835608 h 895572"/>
              <a:gd name="connsiteX509" fmla="*/ 295970 w 1090712"/>
              <a:gd name="connsiteY509" fmla="*/ 843686 h 895572"/>
              <a:gd name="connsiteX510" fmla="*/ 282665 w 1090712"/>
              <a:gd name="connsiteY510" fmla="*/ 850339 h 895572"/>
              <a:gd name="connsiteX511" fmla="*/ 276488 w 1090712"/>
              <a:gd name="connsiteY511" fmla="*/ 852952 h 895572"/>
              <a:gd name="connsiteX512" fmla="*/ 270310 w 1090712"/>
              <a:gd name="connsiteY512" fmla="*/ 855565 h 895572"/>
              <a:gd name="connsiteX513" fmla="*/ 266271 w 1090712"/>
              <a:gd name="connsiteY513" fmla="*/ 857942 h 895572"/>
              <a:gd name="connsiteX514" fmla="*/ 262708 w 1090712"/>
              <a:gd name="connsiteY514" fmla="*/ 860080 h 895572"/>
              <a:gd name="connsiteX515" fmla="*/ 259619 w 1090712"/>
              <a:gd name="connsiteY515" fmla="*/ 862693 h 895572"/>
              <a:gd name="connsiteX516" fmla="*/ 256768 w 1090712"/>
              <a:gd name="connsiteY516" fmla="*/ 865544 h 895572"/>
              <a:gd name="connsiteX517" fmla="*/ 254154 w 1090712"/>
              <a:gd name="connsiteY517" fmla="*/ 868633 h 895572"/>
              <a:gd name="connsiteX518" fmla="*/ 252491 w 1090712"/>
              <a:gd name="connsiteY518" fmla="*/ 871722 h 895572"/>
              <a:gd name="connsiteX519" fmla="*/ 250590 w 1090712"/>
              <a:gd name="connsiteY519" fmla="*/ 874810 h 895572"/>
              <a:gd name="connsiteX520" fmla="*/ 249402 w 1090712"/>
              <a:gd name="connsiteY520" fmla="*/ 877899 h 895572"/>
              <a:gd name="connsiteX521" fmla="*/ 248452 w 1090712"/>
              <a:gd name="connsiteY521" fmla="*/ 880988 h 895572"/>
              <a:gd name="connsiteX522" fmla="*/ 247977 w 1090712"/>
              <a:gd name="connsiteY522" fmla="*/ 884076 h 895572"/>
              <a:gd name="connsiteX523" fmla="*/ 247977 w 1090712"/>
              <a:gd name="connsiteY523" fmla="*/ 887165 h 895572"/>
              <a:gd name="connsiteX524" fmla="*/ 248452 w 1090712"/>
              <a:gd name="connsiteY524" fmla="*/ 890016 h 895572"/>
              <a:gd name="connsiteX525" fmla="*/ 249402 w 1090712"/>
              <a:gd name="connsiteY525" fmla="*/ 893105 h 895572"/>
              <a:gd name="connsiteX526" fmla="*/ 250075 w 1090712"/>
              <a:gd name="connsiteY526" fmla="*/ 895572 h 895572"/>
              <a:gd name="connsiteX527" fmla="*/ 474750 w 1090712"/>
              <a:gd name="connsiteY527" fmla="*/ 895572 h 895572"/>
              <a:gd name="connsiteX528" fmla="*/ 475827 w 1090712"/>
              <a:gd name="connsiteY528" fmla="*/ 894768 h 895572"/>
              <a:gd name="connsiteX529" fmla="*/ 486993 w 1090712"/>
              <a:gd name="connsiteY529" fmla="*/ 882889 h 895572"/>
              <a:gd name="connsiteX530" fmla="*/ 497210 w 1090712"/>
              <a:gd name="connsiteY530" fmla="*/ 870296 h 895572"/>
              <a:gd name="connsiteX531" fmla="*/ 506951 w 1090712"/>
              <a:gd name="connsiteY531" fmla="*/ 857942 h 895572"/>
              <a:gd name="connsiteX532" fmla="*/ 515742 w 1090712"/>
              <a:gd name="connsiteY532" fmla="*/ 844636 h 895572"/>
              <a:gd name="connsiteX533" fmla="*/ 523820 w 1090712"/>
              <a:gd name="connsiteY533" fmla="*/ 831094 h 895572"/>
              <a:gd name="connsiteX534" fmla="*/ 531898 w 1090712"/>
              <a:gd name="connsiteY534" fmla="*/ 816838 h 895572"/>
              <a:gd name="connsiteX535" fmla="*/ 539026 w 1090712"/>
              <a:gd name="connsiteY535" fmla="*/ 802583 h 895572"/>
              <a:gd name="connsiteX536" fmla="*/ 545678 w 1090712"/>
              <a:gd name="connsiteY536" fmla="*/ 788565 h 895572"/>
              <a:gd name="connsiteX537" fmla="*/ 552331 w 1090712"/>
              <a:gd name="connsiteY537" fmla="*/ 773359 h 895572"/>
              <a:gd name="connsiteX538" fmla="*/ 558033 w 1090712"/>
              <a:gd name="connsiteY538" fmla="*/ 758628 h 895572"/>
              <a:gd name="connsiteX539" fmla="*/ 563498 w 1090712"/>
              <a:gd name="connsiteY539" fmla="*/ 743185 h 895572"/>
              <a:gd name="connsiteX540" fmla="*/ 568725 w 1090712"/>
              <a:gd name="connsiteY540" fmla="*/ 727979 h 895572"/>
              <a:gd name="connsiteX541" fmla="*/ 573714 w 1090712"/>
              <a:gd name="connsiteY541" fmla="*/ 712298 h 895572"/>
              <a:gd name="connsiteX542" fmla="*/ 577991 w 1090712"/>
              <a:gd name="connsiteY542" fmla="*/ 696855 h 895572"/>
              <a:gd name="connsiteX543" fmla="*/ 586544 w 1090712"/>
              <a:gd name="connsiteY543" fmla="*/ 665255 h 895572"/>
              <a:gd name="connsiteX544" fmla="*/ 586069 w 1090712"/>
              <a:gd name="connsiteY544" fmla="*/ 663117 h 895572"/>
              <a:gd name="connsiteX545" fmla="*/ 584881 w 1090712"/>
              <a:gd name="connsiteY545" fmla="*/ 660266 h 895572"/>
              <a:gd name="connsiteX546" fmla="*/ 582980 w 1090712"/>
              <a:gd name="connsiteY546" fmla="*/ 657177 h 895572"/>
              <a:gd name="connsiteX547" fmla="*/ 580367 w 1090712"/>
              <a:gd name="connsiteY547" fmla="*/ 654088 h 895572"/>
              <a:gd name="connsiteX548" fmla="*/ 574902 w 1090712"/>
              <a:gd name="connsiteY548" fmla="*/ 647911 h 895572"/>
              <a:gd name="connsiteX549" fmla="*/ 570150 w 1090712"/>
              <a:gd name="connsiteY549" fmla="*/ 642922 h 895572"/>
              <a:gd name="connsiteX550" fmla="*/ 565636 w 1090712"/>
              <a:gd name="connsiteY550" fmla="*/ 636744 h 895572"/>
              <a:gd name="connsiteX551" fmla="*/ 560647 w 1090712"/>
              <a:gd name="connsiteY551" fmla="*/ 631517 h 895572"/>
              <a:gd name="connsiteX552" fmla="*/ 555420 w 1090712"/>
              <a:gd name="connsiteY552" fmla="*/ 626053 h 895572"/>
              <a:gd name="connsiteX553" fmla="*/ 550193 w 1090712"/>
              <a:gd name="connsiteY553" fmla="*/ 621301 h 895572"/>
              <a:gd name="connsiteX554" fmla="*/ 544253 w 1090712"/>
              <a:gd name="connsiteY554" fmla="*/ 616787 h 895572"/>
              <a:gd name="connsiteX555" fmla="*/ 538075 w 1090712"/>
              <a:gd name="connsiteY555" fmla="*/ 612272 h 895572"/>
              <a:gd name="connsiteX556" fmla="*/ 525721 w 1090712"/>
              <a:gd name="connsiteY556" fmla="*/ 603719 h 895572"/>
              <a:gd name="connsiteX557" fmla="*/ 563023 w 1090712"/>
              <a:gd name="connsiteY557" fmla="*/ 619875 h 895572"/>
              <a:gd name="connsiteX558" fmla="*/ 581317 w 1090712"/>
              <a:gd name="connsiteY558" fmla="*/ 628191 h 895572"/>
              <a:gd name="connsiteX559" fmla="*/ 599374 w 1090712"/>
              <a:gd name="connsiteY559" fmla="*/ 636744 h 895572"/>
              <a:gd name="connsiteX560" fmla="*/ 607927 w 1090712"/>
              <a:gd name="connsiteY560" fmla="*/ 641259 h 895572"/>
              <a:gd name="connsiteX561" fmla="*/ 616718 w 1090712"/>
              <a:gd name="connsiteY561" fmla="*/ 646010 h 895572"/>
              <a:gd name="connsiteX562" fmla="*/ 625271 w 1090712"/>
              <a:gd name="connsiteY562" fmla="*/ 651000 h 895572"/>
              <a:gd name="connsiteX563" fmla="*/ 633349 w 1090712"/>
              <a:gd name="connsiteY563" fmla="*/ 656227 h 895572"/>
              <a:gd name="connsiteX564" fmla="*/ 641665 w 1090712"/>
              <a:gd name="connsiteY564" fmla="*/ 662167 h 895572"/>
              <a:gd name="connsiteX565" fmla="*/ 649268 w 1090712"/>
              <a:gd name="connsiteY565" fmla="*/ 668344 h 895572"/>
              <a:gd name="connsiteX566" fmla="*/ 656871 w 1090712"/>
              <a:gd name="connsiteY566" fmla="*/ 674996 h 895572"/>
              <a:gd name="connsiteX567" fmla="*/ 664474 w 1090712"/>
              <a:gd name="connsiteY567" fmla="*/ 682124 h 895572"/>
              <a:gd name="connsiteX568" fmla="*/ 668988 w 1090712"/>
              <a:gd name="connsiteY568" fmla="*/ 686163 h 895572"/>
              <a:gd name="connsiteX569" fmla="*/ 672790 w 1090712"/>
              <a:gd name="connsiteY569" fmla="*/ 690202 h 895572"/>
              <a:gd name="connsiteX570" fmla="*/ 677304 w 1090712"/>
              <a:gd name="connsiteY570" fmla="*/ 693291 h 895572"/>
              <a:gd name="connsiteX571" fmla="*/ 682293 w 1090712"/>
              <a:gd name="connsiteY571" fmla="*/ 696855 h 895572"/>
              <a:gd name="connsiteX572" fmla="*/ 686570 w 1090712"/>
              <a:gd name="connsiteY572" fmla="*/ 699468 h 895572"/>
              <a:gd name="connsiteX573" fmla="*/ 691559 w 1090712"/>
              <a:gd name="connsiteY573" fmla="*/ 702082 h 895572"/>
              <a:gd name="connsiteX574" fmla="*/ 696549 w 1090712"/>
              <a:gd name="connsiteY574" fmla="*/ 703983 h 895572"/>
              <a:gd name="connsiteX575" fmla="*/ 701300 w 1090712"/>
              <a:gd name="connsiteY575" fmla="*/ 705646 h 895572"/>
              <a:gd name="connsiteX576" fmla="*/ 706290 w 1090712"/>
              <a:gd name="connsiteY576" fmla="*/ 707071 h 895572"/>
              <a:gd name="connsiteX577" fmla="*/ 711042 w 1090712"/>
              <a:gd name="connsiteY577" fmla="*/ 708497 h 895572"/>
              <a:gd name="connsiteX578" fmla="*/ 716506 w 1090712"/>
              <a:gd name="connsiteY578" fmla="*/ 708734 h 895572"/>
              <a:gd name="connsiteX579" fmla="*/ 721258 w 1090712"/>
              <a:gd name="connsiteY579" fmla="*/ 708734 h 895572"/>
              <a:gd name="connsiteX580" fmla="*/ 726723 w 1090712"/>
              <a:gd name="connsiteY580" fmla="*/ 708497 h 895572"/>
              <a:gd name="connsiteX581" fmla="*/ 731712 w 1090712"/>
              <a:gd name="connsiteY581" fmla="*/ 707546 h 895572"/>
              <a:gd name="connsiteX582" fmla="*/ 736939 w 1090712"/>
              <a:gd name="connsiteY582" fmla="*/ 706121 h 895572"/>
              <a:gd name="connsiteX583" fmla="*/ 742166 w 1090712"/>
              <a:gd name="connsiteY583" fmla="*/ 704458 h 895572"/>
              <a:gd name="connsiteX584" fmla="*/ 749294 w 1090712"/>
              <a:gd name="connsiteY584" fmla="*/ 702082 h 895572"/>
              <a:gd name="connsiteX585" fmla="*/ 756184 w 1090712"/>
              <a:gd name="connsiteY585" fmla="*/ 699468 h 895572"/>
              <a:gd name="connsiteX586" fmla="*/ 762361 w 1090712"/>
              <a:gd name="connsiteY586" fmla="*/ 696380 h 895572"/>
              <a:gd name="connsiteX587" fmla="*/ 768063 w 1090712"/>
              <a:gd name="connsiteY587" fmla="*/ 692816 h 895572"/>
              <a:gd name="connsiteX588" fmla="*/ 773528 w 1090712"/>
              <a:gd name="connsiteY588" fmla="*/ 689252 h 895572"/>
              <a:gd name="connsiteX589" fmla="*/ 778755 w 1090712"/>
              <a:gd name="connsiteY589" fmla="*/ 684738 h 895572"/>
              <a:gd name="connsiteX590" fmla="*/ 783269 w 1090712"/>
              <a:gd name="connsiteY590" fmla="*/ 680461 h 895572"/>
              <a:gd name="connsiteX591" fmla="*/ 787308 w 1090712"/>
              <a:gd name="connsiteY591" fmla="*/ 674996 h 895572"/>
              <a:gd name="connsiteX592" fmla="*/ 791110 w 1090712"/>
              <a:gd name="connsiteY592" fmla="*/ 669769 h 895572"/>
              <a:gd name="connsiteX593" fmla="*/ 794436 w 1090712"/>
              <a:gd name="connsiteY593" fmla="*/ 663830 h 895572"/>
              <a:gd name="connsiteX594" fmla="*/ 797050 w 1090712"/>
              <a:gd name="connsiteY594" fmla="*/ 657652 h 895572"/>
              <a:gd name="connsiteX595" fmla="*/ 799188 w 1090712"/>
              <a:gd name="connsiteY595" fmla="*/ 651000 h 895572"/>
              <a:gd name="connsiteX596" fmla="*/ 801089 w 1090712"/>
              <a:gd name="connsiteY596" fmla="*/ 643872 h 895572"/>
              <a:gd name="connsiteX597" fmla="*/ 802277 w 1090712"/>
              <a:gd name="connsiteY597" fmla="*/ 636744 h 895572"/>
              <a:gd name="connsiteX598" fmla="*/ 803227 w 1090712"/>
              <a:gd name="connsiteY598" fmla="*/ 628666 h 895572"/>
              <a:gd name="connsiteX599" fmla="*/ 803227 w 1090712"/>
              <a:gd name="connsiteY599" fmla="*/ 620826 h 895572"/>
              <a:gd name="connsiteX600" fmla="*/ 801089 w 1090712"/>
              <a:gd name="connsiteY600" fmla="*/ 622489 h 895572"/>
              <a:gd name="connsiteX601" fmla="*/ 798238 w 1090712"/>
              <a:gd name="connsiteY601" fmla="*/ 623914 h 895572"/>
              <a:gd name="connsiteX602" fmla="*/ 793011 w 1090712"/>
              <a:gd name="connsiteY602" fmla="*/ 626053 h 895572"/>
              <a:gd name="connsiteX603" fmla="*/ 790397 w 1090712"/>
              <a:gd name="connsiteY603" fmla="*/ 627478 h 895572"/>
              <a:gd name="connsiteX604" fmla="*/ 788496 w 1090712"/>
              <a:gd name="connsiteY604" fmla="*/ 628191 h 895572"/>
              <a:gd name="connsiteX605" fmla="*/ 787308 w 1090712"/>
              <a:gd name="connsiteY605" fmla="*/ 630092 h 895572"/>
              <a:gd name="connsiteX606" fmla="*/ 786833 w 1090712"/>
              <a:gd name="connsiteY606" fmla="*/ 631755 h 895572"/>
              <a:gd name="connsiteX607" fmla="*/ 785408 w 1090712"/>
              <a:gd name="connsiteY607" fmla="*/ 635794 h 895572"/>
              <a:gd name="connsiteX608" fmla="*/ 784220 w 1090712"/>
              <a:gd name="connsiteY608" fmla="*/ 639833 h 895572"/>
              <a:gd name="connsiteX609" fmla="*/ 780656 w 1090712"/>
              <a:gd name="connsiteY609" fmla="*/ 646485 h 895572"/>
              <a:gd name="connsiteX610" fmla="*/ 776617 w 1090712"/>
              <a:gd name="connsiteY610" fmla="*/ 653138 h 895572"/>
              <a:gd name="connsiteX611" fmla="*/ 772103 w 1090712"/>
              <a:gd name="connsiteY611" fmla="*/ 659078 h 895572"/>
              <a:gd name="connsiteX612" fmla="*/ 762361 w 1090712"/>
              <a:gd name="connsiteY612" fmla="*/ 670007 h 895572"/>
              <a:gd name="connsiteX613" fmla="*/ 757847 w 1090712"/>
              <a:gd name="connsiteY613" fmla="*/ 675947 h 895572"/>
              <a:gd name="connsiteX614" fmla="*/ 753333 w 1090712"/>
              <a:gd name="connsiteY614" fmla="*/ 682124 h 895572"/>
              <a:gd name="connsiteX615" fmla="*/ 750244 w 1090712"/>
              <a:gd name="connsiteY615" fmla="*/ 684738 h 895572"/>
              <a:gd name="connsiteX616" fmla="*/ 747155 w 1090712"/>
              <a:gd name="connsiteY616" fmla="*/ 687589 h 895572"/>
              <a:gd name="connsiteX617" fmla="*/ 744067 w 1090712"/>
              <a:gd name="connsiteY617" fmla="*/ 689252 h 895572"/>
              <a:gd name="connsiteX618" fmla="*/ 740978 w 1090712"/>
              <a:gd name="connsiteY618" fmla="*/ 690915 h 895572"/>
              <a:gd name="connsiteX619" fmla="*/ 737890 w 1090712"/>
              <a:gd name="connsiteY619" fmla="*/ 691865 h 895572"/>
              <a:gd name="connsiteX620" fmla="*/ 734801 w 1090712"/>
              <a:gd name="connsiteY620" fmla="*/ 692816 h 895572"/>
              <a:gd name="connsiteX621" fmla="*/ 731950 w 1090712"/>
              <a:gd name="connsiteY621" fmla="*/ 693291 h 895572"/>
              <a:gd name="connsiteX622" fmla="*/ 728861 w 1090712"/>
              <a:gd name="connsiteY622" fmla="*/ 693291 h 895572"/>
              <a:gd name="connsiteX623" fmla="*/ 723634 w 1090712"/>
              <a:gd name="connsiteY623" fmla="*/ 692816 h 895572"/>
              <a:gd name="connsiteX624" fmla="*/ 718169 w 1090712"/>
              <a:gd name="connsiteY624" fmla="*/ 691390 h 895572"/>
              <a:gd name="connsiteX625" fmla="*/ 713418 w 1090712"/>
              <a:gd name="connsiteY625" fmla="*/ 689727 h 895572"/>
              <a:gd name="connsiteX626" fmla="*/ 708903 w 1090712"/>
              <a:gd name="connsiteY626" fmla="*/ 687826 h 895572"/>
              <a:gd name="connsiteX627" fmla="*/ 706765 w 1090712"/>
              <a:gd name="connsiteY627" fmla="*/ 687589 h 895572"/>
              <a:gd name="connsiteX628" fmla="*/ 704864 w 1090712"/>
              <a:gd name="connsiteY628" fmla="*/ 687114 h 895572"/>
              <a:gd name="connsiteX629" fmla="*/ 703201 w 1090712"/>
              <a:gd name="connsiteY629" fmla="*/ 686163 h 895572"/>
              <a:gd name="connsiteX630" fmla="*/ 701776 w 1090712"/>
              <a:gd name="connsiteY630" fmla="*/ 684738 h 895572"/>
              <a:gd name="connsiteX631" fmla="*/ 698687 w 1090712"/>
              <a:gd name="connsiteY631" fmla="*/ 681649 h 895572"/>
              <a:gd name="connsiteX632" fmla="*/ 696549 w 1090712"/>
              <a:gd name="connsiteY632" fmla="*/ 678085 h 895572"/>
              <a:gd name="connsiteX633" fmla="*/ 694648 w 1090712"/>
              <a:gd name="connsiteY633" fmla="*/ 673571 h 895572"/>
              <a:gd name="connsiteX634" fmla="*/ 693460 w 1090712"/>
              <a:gd name="connsiteY634" fmla="*/ 668819 h 895572"/>
              <a:gd name="connsiteX635" fmla="*/ 692510 w 1090712"/>
              <a:gd name="connsiteY635" fmla="*/ 664305 h 895572"/>
              <a:gd name="connsiteX636" fmla="*/ 692510 w 1090712"/>
              <a:gd name="connsiteY636" fmla="*/ 659790 h 895572"/>
              <a:gd name="connsiteX637" fmla="*/ 692510 w 1090712"/>
              <a:gd name="connsiteY637" fmla="*/ 647436 h 895572"/>
              <a:gd name="connsiteX638" fmla="*/ 693460 w 1090712"/>
              <a:gd name="connsiteY638" fmla="*/ 635319 h 895572"/>
              <a:gd name="connsiteX639" fmla="*/ 694173 w 1090712"/>
              <a:gd name="connsiteY639" fmla="*/ 624389 h 895572"/>
              <a:gd name="connsiteX640" fmla="*/ 695598 w 1090712"/>
              <a:gd name="connsiteY640" fmla="*/ 612748 h 895572"/>
              <a:gd name="connsiteX641" fmla="*/ 699162 w 1090712"/>
              <a:gd name="connsiteY641" fmla="*/ 591364 h 895572"/>
              <a:gd name="connsiteX642" fmla="*/ 703676 w 1090712"/>
              <a:gd name="connsiteY642" fmla="*/ 570456 h 895572"/>
              <a:gd name="connsiteX643" fmla="*/ 720070 w 1090712"/>
              <a:gd name="connsiteY643" fmla="*/ 574971 h 895572"/>
              <a:gd name="connsiteX644" fmla="*/ 736939 w 1090712"/>
              <a:gd name="connsiteY644" fmla="*/ 579247 h 895572"/>
              <a:gd name="connsiteX645" fmla="*/ 770677 w 1090712"/>
              <a:gd name="connsiteY645" fmla="*/ 589226 h 895572"/>
              <a:gd name="connsiteX646" fmla="*/ 788021 w 1090712"/>
              <a:gd name="connsiteY646" fmla="*/ 593503 h 895572"/>
              <a:gd name="connsiteX647" fmla="*/ 805365 w 1090712"/>
              <a:gd name="connsiteY647" fmla="*/ 597542 h 895572"/>
              <a:gd name="connsiteX648" fmla="*/ 823660 w 1090712"/>
              <a:gd name="connsiteY648" fmla="*/ 601106 h 895572"/>
              <a:gd name="connsiteX649" fmla="*/ 841954 w 1090712"/>
              <a:gd name="connsiteY649" fmla="*/ 603719 h 895572"/>
              <a:gd name="connsiteX650" fmla="*/ 861437 w 1090712"/>
              <a:gd name="connsiteY650" fmla="*/ 606570 h 895572"/>
              <a:gd name="connsiteX651" fmla="*/ 880682 w 1090712"/>
              <a:gd name="connsiteY651" fmla="*/ 608233 h 895572"/>
              <a:gd name="connsiteX652" fmla="*/ 889948 w 1090712"/>
              <a:gd name="connsiteY652" fmla="*/ 608708 h 895572"/>
              <a:gd name="connsiteX653" fmla="*/ 898976 w 1090712"/>
              <a:gd name="connsiteY653" fmla="*/ 608708 h 895572"/>
              <a:gd name="connsiteX654" fmla="*/ 908242 w 1090712"/>
              <a:gd name="connsiteY654" fmla="*/ 608708 h 895572"/>
              <a:gd name="connsiteX655" fmla="*/ 916795 w 1090712"/>
              <a:gd name="connsiteY655" fmla="*/ 608233 h 895572"/>
              <a:gd name="connsiteX656" fmla="*/ 925586 w 1090712"/>
              <a:gd name="connsiteY656" fmla="*/ 607283 h 895572"/>
              <a:gd name="connsiteX657" fmla="*/ 934140 w 1090712"/>
              <a:gd name="connsiteY657" fmla="*/ 606095 h 895572"/>
              <a:gd name="connsiteX658" fmla="*/ 942455 w 1090712"/>
              <a:gd name="connsiteY658" fmla="*/ 604669 h 895572"/>
              <a:gd name="connsiteX659" fmla="*/ 950533 w 1090712"/>
              <a:gd name="connsiteY659" fmla="*/ 603006 h 895572"/>
              <a:gd name="connsiteX660" fmla="*/ 958611 w 1090712"/>
              <a:gd name="connsiteY660" fmla="*/ 600630 h 895572"/>
              <a:gd name="connsiteX661" fmla="*/ 966452 w 1090712"/>
              <a:gd name="connsiteY661" fmla="*/ 598017 h 895572"/>
              <a:gd name="connsiteX662" fmla="*/ 974055 w 1090712"/>
              <a:gd name="connsiteY662" fmla="*/ 595403 h 895572"/>
              <a:gd name="connsiteX663" fmla="*/ 981658 w 1090712"/>
              <a:gd name="connsiteY663" fmla="*/ 591840 h 895572"/>
              <a:gd name="connsiteX664" fmla="*/ 989261 w 1090712"/>
              <a:gd name="connsiteY664" fmla="*/ 588276 h 895572"/>
              <a:gd name="connsiteX665" fmla="*/ 996388 w 1090712"/>
              <a:gd name="connsiteY665" fmla="*/ 584237 h 895572"/>
              <a:gd name="connsiteX666" fmla="*/ 1003041 w 1090712"/>
              <a:gd name="connsiteY666" fmla="*/ 579247 h 895572"/>
              <a:gd name="connsiteX667" fmla="*/ 1009694 w 1090712"/>
              <a:gd name="connsiteY667" fmla="*/ 574495 h 895572"/>
              <a:gd name="connsiteX668" fmla="*/ 1016346 w 1090712"/>
              <a:gd name="connsiteY668" fmla="*/ 569031 h 895572"/>
              <a:gd name="connsiteX669" fmla="*/ 1022998 w 1090712"/>
              <a:gd name="connsiteY669" fmla="*/ 562853 h 895572"/>
              <a:gd name="connsiteX670" fmla="*/ 1029176 w 1090712"/>
              <a:gd name="connsiteY670" fmla="*/ 556676 h 895572"/>
              <a:gd name="connsiteX671" fmla="*/ 1035116 w 1090712"/>
              <a:gd name="connsiteY671" fmla="*/ 549548 h 895572"/>
              <a:gd name="connsiteX672" fmla="*/ 1040818 w 1090712"/>
              <a:gd name="connsiteY672" fmla="*/ 541945 h 895572"/>
              <a:gd name="connsiteX673" fmla="*/ 1046520 w 1090712"/>
              <a:gd name="connsiteY673" fmla="*/ 534342 h 895572"/>
              <a:gd name="connsiteX674" fmla="*/ 1051985 w 1090712"/>
              <a:gd name="connsiteY674" fmla="*/ 526027 h 895572"/>
              <a:gd name="connsiteX675" fmla="*/ 1056737 w 1090712"/>
              <a:gd name="connsiteY675" fmla="*/ 516523 h 895572"/>
              <a:gd name="connsiteX676" fmla="*/ 1061726 w 1090712"/>
              <a:gd name="connsiteY676" fmla="*/ 507257 h 895572"/>
              <a:gd name="connsiteX677" fmla="*/ 1066715 w 1090712"/>
              <a:gd name="connsiteY677" fmla="*/ 497041 h 895572"/>
              <a:gd name="connsiteX678" fmla="*/ 1070992 w 1090712"/>
              <a:gd name="connsiteY678" fmla="*/ 486349 h 895572"/>
              <a:gd name="connsiteX679" fmla="*/ 1075506 w 1090712"/>
              <a:gd name="connsiteY679" fmla="*/ 475182 h 895572"/>
              <a:gd name="connsiteX680" fmla="*/ 1079070 w 1090712"/>
              <a:gd name="connsiteY680" fmla="*/ 462828 h 895572"/>
              <a:gd name="connsiteX681" fmla="*/ 1082634 w 1090712"/>
              <a:gd name="connsiteY681" fmla="*/ 449998 h 895572"/>
              <a:gd name="connsiteX682" fmla="*/ 1084772 w 1090712"/>
              <a:gd name="connsiteY682" fmla="*/ 437405 h 895572"/>
              <a:gd name="connsiteX683" fmla="*/ 1087148 w 1090712"/>
              <a:gd name="connsiteY683" fmla="*/ 425050 h 895572"/>
              <a:gd name="connsiteX684" fmla="*/ 1088811 w 1090712"/>
              <a:gd name="connsiteY684" fmla="*/ 411983 h 895572"/>
              <a:gd name="connsiteX685" fmla="*/ 1089762 w 1090712"/>
              <a:gd name="connsiteY685" fmla="*/ 399628 h 895572"/>
              <a:gd name="connsiteX686" fmla="*/ 1090712 w 1090712"/>
              <a:gd name="connsiteY686" fmla="*/ 386798 h 895572"/>
              <a:gd name="connsiteX687" fmla="*/ 1090712 w 1090712"/>
              <a:gd name="connsiteY687" fmla="*/ 373731 h 895572"/>
              <a:gd name="connsiteX688" fmla="*/ 1090712 w 1090712"/>
              <a:gd name="connsiteY688" fmla="*/ 360901 h 895572"/>
              <a:gd name="connsiteX689" fmla="*/ 1089762 w 1090712"/>
              <a:gd name="connsiteY689" fmla="*/ 348071 h 895572"/>
              <a:gd name="connsiteX690" fmla="*/ 1088811 w 1090712"/>
              <a:gd name="connsiteY690" fmla="*/ 335004 h 895572"/>
              <a:gd name="connsiteX691" fmla="*/ 1088099 w 1090712"/>
              <a:gd name="connsiteY691" fmla="*/ 321698 h 895572"/>
              <a:gd name="connsiteX692" fmla="*/ 1084772 w 1090712"/>
              <a:gd name="connsiteY692" fmla="*/ 295563 h 895572"/>
              <a:gd name="connsiteX693" fmla="*/ 1080971 w 1090712"/>
              <a:gd name="connsiteY693" fmla="*/ 268478 h 895572"/>
              <a:gd name="connsiteX694" fmla="*/ 1078595 w 1090712"/>
              <a:gd name="connsiteY694" fmla="*/ 258262 h 895572"/>
              <a:gd name="connsiteX695" fmla="*/ 1075981 w 1090712"/>
              <a:gd name="connsiteY695" fmla="*/ 248283 h 895572"/>
              <a:gd name="connsiteX696" fmla="*/ 1072417 w 1090712"/>
              <a:gd name="connsiteY696" fmla="*/ 238542 h 895572"/>
              <a:gd name="connsiteX697" fmla="*/ 1069329 w 1090712"/>
              <a:gd name="connsiteY697" fmla="*/ 229275 h 895572"/>
              <a:gd name="connsiteX698" fmla="*/ 1061251 w 1090712"/>
              <a:gd name="connsiteY698" fmla="*/ 210031 h 895572"/>
              <a:gd name="connsiteX699" fmla="*/ 1053173 w 1090712"/>
              <a:gd name="connsiteY699" fmla="*/ 190073 h 895572"/>
              <a:gd name="connsiteX700" fmla="*/ 1051034 w 1090712"/>
              <a:gd name="connsiteY700" fmla="*/ 186034 h 895572"/>
              <a:gd name="connsiteX701" fmla="*/ 1048896 w 1090712"/>
              <a:gd name="connsiteY701" fmla="*/ 182470 h 895572"/>
              <a:gd name="connsiteX702" fmla="*/ 1046045 w 1090712"/>
              <a:gd name="connsiteY702" fmla="*/ 179381 h 895572"/>
              <a:gd name="connsiteX703" fmla="*/ 1043906 w 1090712"/>
              <a:gd name="connsiteY703" fmla="*/ 176768 h 895572"/>
              <a:gd name="connsiteX704" fmla="*/ 1041293 w 1090712"/>
              <a:gd name="connsiteY704" fmla="*/ 174630 h 895572"/>
              <a:gd name="connsiteX705" fmla="*/ 1038680 w 1090712"/>
              <a:gd name="connsiteY705" fmla="*/ 172729 h 895572"/>
              <a:gd name="connsiteX706" fmla="*/ 1035828 w 1090712"/>
              <a:gd name="connsiteY706" fmla="*/ 171303 h 895572"/>
              <a:gd name="connsiteX707" fmla="*/ 1032740 w 1090712"/>
              <a:gd name="connsiteY707" fmla="*/ 170591 h 895572"/>
              <a:gd name="connsiteX708" fmla="*/ 1030126 w 1090712"/>
              <a:gd name="connsiteY708" fmla="*/ 170591 h 895572"/>
              <a:gd name="connsiteX709" fmla="*/ 1027038 w 1090712"/>
              <a:gd name="connsiteY709" fmla="*/ 170591 h 895572"/>
              <a:gd name="connsiteX710" fmla="*/ 1024424 w 1090712"/>
              <a:gd name="connsiteY710" fmla="*/ 171303 h 895572"/>
              <a:gd name="connsiteX711" fmla="*/ 1021335 w 1090712"/>
              <a:gd name="connsiteY711" fmla="*/ 172729 h 895572"/>
              <a:gd name="connsiteX712" fmla="*/ 1018247 w 1090712"/>
              <a:gd name="connsiteY712" fmla="*/ 174867 h 895572"/>
              <a:gd name="connsiteX713" fmla="*/ 1014920 w 1090712"/>
              <a:gd name="connsiteY713" fmla="*/ 177718 h 895572"/>
              <a:gd name="connsiteX714" fmla="*/ 1011832 w 1090712"/>
              <a:gd name="connsiteY714" fmla="*/ 180807 h 895572"/>
              <a:gd name="connsiteX715" fmla="*/ 1008743 w 1090712"/>
              <a:gd name="connsiteY715" fmla="*/ 184846 h 895572"/>
              <a:gd name="connsiteX716" fmla="*/ 991874 w 1090712"/>
              <a:gd name="connsiteY716" fmla="*/ 201240 h 895572"/>
              <a:gd name="connsiteX717" fmla="*/ 983321 w 1090712"/>
              <a:gd name="connsiteY717" fmla="*/ 209318 h 895572"/>
              <a:gd name="connsiteX718" fmla="*/ 974530 w 1090712"/>
              <a:gd name="connsiteY718" fmla="*/ 216683 h 895572"/>
              <a:gd name="connsiteX719" fmla="*/ 965739 w 1090712"/>
              <a:gd name="connsiteY719" fmla="*/ 223811 h 895572"/>
              <a:gd name="connsiteX720" fmla="*/ 956236 w 1090712"/>
              <a:gd name="connsiteY720" fmla="*/ 230226 h 895572"/>
              <a:gd name="connsiteX721" fmla="*/ 946494 w 1090712"/>
              <a:gd name="connsiteY721" fmla="*/ 235928 h 895572"/>
              <a:gd name="connsiteX722" fmla="*/ 941505 w 1090712"/>
              <a:gd name="connsiteY722" fmla="*/ 238066 h 895572"/>
              <a:gd name="connsiteX723" fmla="*/ 936753 w 1090712"/>
              <a:gd name="connsiteY723" fmla="*/ 240442 h 895572"/>
              <a:gd name="connsiteX724" fmla="*/ 932239 w 1090712"/>
              <a:gd name="connsiteY724" fmla="*/ 242581 h 895572"/>
              <a:gd name="connsiteX725" fmla="*/ 928675 w 1090712"/>
              <a:gd name="connsiteY725" fmla="*/ 245669 h 895572"/>
              <a:gd name="connsiteX726" fmla="*/ 925111 w 1090712"/>
              <a:gd name="connsiteY726" fmla="*/ 249233 h 895572"/>
              <a:gd name="connsiteX727" fmla="*/ 922022 w 1090712"/>
              <a:gd name="connsiteY727" fmla="*/ 252797 h 895572"/>
              <a:gd name="connsiteX728" fmla="*/ 919884 w 1090712"/>
              <a:gd name="connsiteY728" fmla="*/ 257311 h 895572"/>
              <a:gd name="connsiteX729" fmla="*/ 918934 w 1090712"/>
              <a:gd name="connsiteY729" fmla="*/ 259925 h 895572"/>
              <a:gd name="connsiteX730" fmla="*/ 918459 w 1090712"/>
              <a:gd name="connsiteY730" fmla="*/ 262538 h 895572"/>
              <a:gd name="connsiteX731" fmla="*/ 918459 w 1090712"/>
              <a:gd name="connsiteY731" fmla="*/ 265389 h 895572"/>
              <a:gd name="connsiteX732" fmla="*/ 918459 w 1090712"/>
              <a:gd name="connsiteY732" fmla="*/ 268003 h 895572"/>
              <a:gd name="connsiteX733" fmla="*/ 918934 w 1090712"/>
              <a:gd name="connsiteY733" fmla="*/ 271091 h 895572"/>
              <a:gd name="connsiteX734" fmla="*/ 919884 w 1090712"/>
              <a:gd name="connsiteY734" fmla="*/ 274180 h 895572"/>
              <a:gd name="connsiteX735" fmla="*/ 921547 w 1090712"/>
              <a:gd name="connsiteY735" fmla="*/ 282258 h 895572"/>
              <a:gd name="connsiteX736" fmla="*/ 922973 w 1090712"/>
              <a:gd name="connsiteY736" fmla="*/ 290574 h 895572"/>
              <a:gd name="connsiteX737" fmla="*/ 923923 w 1090712"/>
              <a:gd name="connsiteY737" fmla="*/ 299127 h 895572"/>
              <a:gd name="connsiteX738" fmla="*/ 924161 w 1090712"/>
              <a:gd name="connsiteY738" fmla="*/ 307443 h 895572"/>
              <a:gd name="connsiteX739" fmla="*/ 924161 w 1090712"/>
              <a:gd name="connsiteY739" fmla="*/ 315996 h 895572"/>
              <a:gd name="connsiteX740" fmla="*/ 923923 w 1090712"/>
              <a:gd name="connsiteY740" fmla="*/ 324550 h 895572"/>
              <a:gd name="connsiteX741" fmla="*/ 922973 w 1090712"/>
              <a:gd name="connsiteY741" fmla="*/ 332865 h 895572"/>
              <a:gd name="connsiteX742" fmla="*/ 922022 w 1090712"/>
              <a:gd name="connsiteY742" fmla="*/ 340943 h 895572"/>
              <a:gd name="connsiteX743" fmla="*/ 920597 w 1090712"/>
              <a:gd name="connsiteY743" fmla="*/ 349259 h 895572"/>
              <a:gd name="connsiteX744" fmla="*/ 918934 w 1090712"/>
              <a:gd name="connsiteY744" fmla="*/ 357812 h 895572"/>
              <a:gd name="connsiteX745" fmla="*/ 914420 w 1090712"/>
              <a:gd name="connsiteY745" fmla="*/ 374681 h 895572"/>
              <a:gd name="connsiteX746" fmla="*/ 909192 w 1090712"/>
              <a:gd name="connsiteY746" fmla="*/ 391075 h 895572"/>
              <a:gd name="connsiteX747" fmla="*/ 903253 w 1090712"/>
              <a:gd name="connsiteY747" fmla="*/ 408182 h 895572"/>
              <a:gd name="connsiteX748" fmla="*/ 903253 w 1090712"/>
              <a:gd name="connsiteY748" fmla="*/ 397965 h 895572"/>
              <a:gd name="connsiteX749" fmla="*/ 904203 w 1090712"/>
              <a:gd name="connsiteY749" fmla="*/ 387274 h 895572"/>
              <a:gd name="connsiteX750" fmla="*/ 906104 w 1090712"/>
              <a:gd name="connsiteY750" fmla="*/ 367078 h 895572"/>
              <a:gd name="connsiteX751" fmla="*/ 907767 w 1090712"/>
              <a:gd name="connsiteY751" fmla="*/ 347596 h 895572"/>
              <a:gd name="connsiteX752" fmla="*/ 908717 w 1090712"/>
              <a:gd name="connsiteY752" fmla="*/ 338567 h 895572"/>
              <a:gd name="connsiteX753" fmla="*/ 908717 w 1090712"/>
              <a:gd name="connsiteY753" fmla="*/ 329777 h 895572"/>
              <a:gd name="connsiteX754" fmla="*/ 908717 w 1090712"/>
              <a:gd name="connsiteY754" fmla="*/ 325738 h 895572"/>
              <a:gd name="connsiteX755" fmla="*/ 907767 w 1090712"/>
              <a:gd name="connsiteY755" fmla="*/ 322649 h 895572"/>
              <a:gd name="connsiteX756" fmla="*/ 906817 w 1090712"/>
              <a:gd name="connsiteY756" fmla="*/ 319560 h 895572"/>
              <a:gd name="connsiteX757" fmla="*/ 905154 w 1090712"/>
              <a:gd name="connsiteY757" fmla="*/ 316471 h 895572"/>
              <a:gd name="connsiteX758" fmla="*/ 903728 w 1090712"/>
              <a:gd name="connsiteY758" fmla="*/ 314096 h 895572"/>
              <a:gd name="connsiteX759" fmla="*/ 901590 w 1090712"/>
              <a:gd name="connsiteY759" fmla="*/ 311957 h 895572"/>
              <a:gd name="connsiteX760" fmla="*/ 897551 w 1090712"/>
              <a:gd name="connsiteY760" fmla="*/ 307443 h 895572"/>
              <a:gd name="connsiteX761" fmla="*/ 895412 w 1090712"/>
              <a:gd name="connsiteY761" fmla="*/ 309344 h 895572"/>
              <a:gd name="connsiteX762" fmla="*/ 892561 w 1090712"/>
              <a:gd name="connsiteY762" fmla="*/ 310769 h 895572"/>
              <a:gd name="connsiteX763" fmla="*/ 887334 w 1090712"/>
              <a:gd name="connsiteY763" fmla="*/ 313383 h 895572"/>
              <a:gd name="connsiteX764" fmla="*/ 884721 w 1090712"/>
              <a:gd name="connsiteY764" fmla="*/ 314096 h 895572"/>
              <a:gd name="connsiteX765" fmla="*/ 882820 w 1090712"/>
              <a:gd name="connsiteY765" fmla="*/ 315521 h 895572"/>
              <a:gd name="connsiteX766" fmla="*/ 881632 w 1090712"/>
              <a:gd name="connsiteY766" fmla="*/ 316947 h 895572"/>
              <a:gd name="connsiteX767" fmla="*/ 881157 w 1090712"/>
              <a:gd name="connsiteY767" fmla="*/ 318610 h 895572"/>
              <a:gd name="connsiteX768" fmla="*/ 872604 w 1090712"/>
              <a:gd name="connsiteY768" fmla="*/ 331915 h 895572"/>
              <a:gd name="connsiteX769" fmla="*/ 864288 w 1090712"/>
              <a:gd name="connsiteY769" fmla="*/ 346646 h 895572"/>
              <a:gd name="connsiteX770" fmla="*/ 856210 w 1090712"/>
              <a:gd name="connsiteY770" fmla="*/ 361376 h 895572"/>
              <a:gd name="connsiteX771" fmla="*/ 847656 w 1090712"/>
              <a:gd name="connsiteY771" fmla="*/ 374681 h 895572"/>
              <a:gd name="connsiteX772" fmla="*/ 841954 w 1090712"/>
              <a:gd name="connsiteY772" fmla="*/ 374681 h 895572"/>
              <a:gd name="connsiteX773" fmla="*/ 846468 w 1090712"/>
              <a:gd name="connsiteY773" fmla="*/ 357812 h 895572"/>
              <a:gd name="connsiteX774" fmla="*/ 850508 w 1090712"/>
              <a:gd name="connsiteY774" fmla="*/ 339518 h 895572"/>
              <a:gd name="connsiteX775" fmla="*/ 854784 w 1090712"/>
              <a:gd name="connsiteY775" fmla="*/ 319560 h 895572"/>
              <a:gd name="connsiteX776" fmla="*/ 858823 w 1090712"/>
              <a:gd name="connsiteY776" fmla="*/ 296514 h 895572"/>
              <a:gd name="connsiteX777" fmla="*/ 848132 w 1090712"/>
              <a:gd name="connsiteY777" fmla="*/ 303879 h 895572"/>
              <a:gd name="connsiteX778" fmla="*/ 840054 w 1090712"/>
              <a:gd name="connsiteY778" fmla="*/ 310294 h 895572"/>
              <a:gd name="connsiteX779" fmla="*/ 833163 w 1090712"/>
              <a:gd name="connsiteY779" fmla="*/ 316947 h 895572"/>
              <a:gd name="connsiteX780" fmla="*/ 825560 w 1090712"/>
              <a:gd name="connsiteY780" fmla="*/ 324550 h 895572"/>
              <a:gd name="connsiteX781" fmla="*/ 823185 w 1090712"/>
              <a:gd name="connsiteY781" fmla="*/ 326688 h 895572"/>
              <a:gd name="connsiteX782" fmla="*/ 821522 w 1090712"/>
              <a:gd name="connsiteY782" fmla="*/ 329301 h 895572"/>
              <a:gd name="connsiteX783" fmla="*/ 817007 w 1090712"/>
              <a:gd name="connsiteY783" fmla="*/ 335954 h 895572"/>
              <a:gd name="connsiteX784" fmla="*/ 812968 w 1090712"/>
              <a:gd name="connsiteY784" fmla="*/ 344032 h 895572"/>
              <a:gd name="connsiteX785" fmla="*/ 808929 w 1090712"/>
              <a:gd name="connsiteY785" fmla="*/ 352585 h 895572"/>
              <a:gd name="connsiteX786" fmla="*/ 809880 w 1090712"/>
              <a:gd name="connsiteY786" fmla="*/ 343557 h 895572"/>
              <a:gd name="connsiteX787" fmla="*/ 811305 w 1090712"/>
              <a:gd name="connsiteY787" fmla="*/ 335479 h 895572"/>
              <a:gd name="connsiteX788" fmla="*/ 812493 w 1090712"/>
              <a:gd name="connsiteY788" fmla="*/ 328826 h 895572"/>
              <a:gd name="connsiteX789" fmla="*/ 814394 w 1090712"/>
              <a:gd name="connsiteY789" fmla="*/ 323124 h 895572"/>
              <a:gd name="connsiteX790" fmla="*/ 816532 w 1090712"/>
              <a:gd name="connsiteY790" fmla="*/ 317659 h 895572"/>
              <a:gd name="connsiteX791" fmla="*/ 819146 w 1090712"/>
              <a:gd name="connsiteY791" fmla="*/ 313383 h 895572"/>
              <a:gd name="connsiteX792" fmla="*/ 822709 w 1090712"/>
              <a:gd name="connsiteY792" fmla="*/ 309344 h 895572"/>
              <a:gd name="connsiteX793" fmla="*/ 826748 w 1090712"/>
              <a:gd name="connsiteY793" fmla="*/ 306255 h 895572"/>
              <a:gd name="connsiteX794" fmla="*/ 832213 w 1090712"/>
              <a:gd name="connsiteY794" fmla="*/ 303166 h 895572"/>
              <a:gd name="connsiteX795" fmla="*/ 838390 w 1090712"/>
              <a:gd name="connsiteY795" fmla="*/ 300315 h 895572"/>
              <a:gd name="connsiteX796" fmla="*/ 845518 w 1090712"/>
              <a:gd name="connsiteY796" fmla="*/ 298177 h 895572"/>
              <a:gd name="connsiteX797" fmla="*/ 854071 w 1090712"/>
              <a:gd name="connsiteY797" fmla="*/ 295563 h 895572"/>
              <a:gd name="connsiteX798" fmla="*/ 875217 w 1090712"/>
              <a:gd name="connsiteY798" fmla="*/ 290574 h 895572"/>
              <a:gd name="connsiteX799" fmla="*/ 903253 w 1090712"/>
              <a:gd name="connsiteY799" fmla="*/ 285347 h 895572"/>
              <a:gd name="connsiteX800" fmla="*/ 886384 w 1090712"/>
              <a:gd name="connsiteY800" fmla="*/ 268478 h 895572"/>
              <a:gd name="connsiteX801" fmla="*/ 879731 w 1090712"/>
              <a:gd name="connsiteY801" fmla="*/ 270141 h 895572"/>
              <a:gd name="connsiteX802" fmla="*/ 873079 w 1090712"/>
              <a:gd name="connsiteY802" fmla="*/ 271091 h 895572"/>
              <a:gd name="connsiteX803" fmla="*/ 867376 w 1090712"/>
              <a:gd name="connsiteY803" fmla="*/ 271567 h 895572"/>
              <a:gd name="connsiteX804" fmla="*/ 862387 w 1090712"/>
              <a:gd name="connsiteY804" fmla="*/ 271091 h 895572"/>
              <a:gd name="connsiteX805" fmla="*/ 857398 w 1090712"/>
              <a:gd name="connsiteY805" fmla="*/ 269666 h 895572"/>
              <a:gd name="connsiteX806" fmla="*/ 853596 w 1090712"/>
              <a:gd name="connsiteY806" fmla="*/ 268003 h 895572"/>
              <a:gd name="connsiteX807" fmla="*/ 849557 w 1090712"/>
              <a:gd name="connsiteY807" fmla="*/ 265627 h 895572"/>
              <a:gd name="connsiteX808" fmla="*/ 846468 w 1090712"/>
              <a:gd name="connsiteY808" fmla="*/ 262538 h 895572"/>
              <a:gd name="connsiteX809" fmla="*/ 843380 w 1090712"/>
              <a:gd name="connsiteY809" fmla="*/ 259450 h 895572"/>
              <a:gd name="connsiteX810" fmla="*/ 840529 w 1090712"/>
              <a:gd name="connsiteY810" fmla="*/ 255411 h 895572"/>
              <a:gd name="connsiteX811" fmla="*/ 838390 w 1090712"/>
              <a:gd name="connsiteY811" fmla="*/ 251134 h 895572"/>
              <a:gd name="connsiteX812" fmla="*/ 836490 w 1090712"/>
              <a:gd name="connsiteY812" fmla="*/ 246620 h 895572"/>
              <a:gd name="connsiteX813" fmla="*/ 834827 w 1090712"/>
              <a:gd name="connsiteY813" fmla="*/ 241155 h 895572"/>
              <a:gd name="connsiteX814" fmla="*/ 833401 w 1090712"/>
              <a:gd name="connsiteY814" fmla="*/ 235453 h 895572"/>
              <a:gd name="connsiteX815" fmla="*/ 831263 w 1090712"/>
              <a:gd name="connsiteY815" fmla="*/ 223336 h 895572"/>
              <a:gd name="connsiteX816" fmla="*/ 897551 w 1090712"/>
              <a:gd name="connsiteY816" fmla="*/ 206942 h 895572"/>
              <a:gd name="connsiteX817" fmla="*/ 888997 w 1090712"/>
              <a:gd name="connsiteY817" fmla="*/ 194112 h 895572"/>
              <a:gd name="connsiteX818" fmla="*/ 880682 w 1090712"/>
              <a:gd name="connsiteY818" fmla="*/ 181282 h 895572"/>
              <a:gd name="connsiteX819" fmla="*/ 871416 w 1090712"/>
              <a:gd name="connsiteY819" fmla="*/ 168690 h 895572"/>
              <a:gd name="connsiteX820" fmla="*/ 866901 w 1090712"/>
              <a:gd name="connsiteY820" fmla="*/ 162988 h 895572"/>
              <a:gd name="connsiteX821" fmla="*/ 861437 w 1090712"/>
              <a:gd name="connsiteY821" fmla="*/ 157048 h 895572"/>
              <a:gd name="connsiteX822" fmla="*/ 856210 w 1090712"/>
              <a:gd name="connsiteY822" fmla="*/ 151821 h 895572"/>
              <a:gd name="connsiteX823" fmla="*/ 850745 w 1090712"/>
              <a:gd name="connsiteY823" fmla="*/ 146831 h 895572"/>
              <a:gd name="connsiteX824" fmla="*/ 844568 w 1090712"/>
              <a:gd name="connsiteY824" fmla="*/ 142555 h 895572"/>
              <a:gd name="connsiteX825" fmla="*/ 838390 w 1090712"/>
              <a:gd name="connsiteY825" fmla="*/ 138516 h 895572"/>
              <a:gd name="connsiteX826" fmla="*/ 831738 w 1090712"/>
              <a:gd name="connsiteY826" fmla="*/ 134952 h 895572"/>
              <a:gd name="connsiteX827" fmla="*/ 824610 w 1090712"/>
              <a:gd name="connsiteY827" fmla="*/ 132338 h 895572"/>
              <a:gd name="connsiteX828" fmla="*/ 817007 w 1090712"/>
              <a:gd name="connsiteY828" fmla="*/ 129963 h 895572"/>
              <a:gd name="connsiteX829" fmla="*/ 808929 w 1090712"/>
              <a:gd name="connsiteY829" fmla="*/ 128774 h 895572"/>
              <a:gd name="connsiteX830" fmla="*/ 806791 w 1090712"/>
              <a:gd name="connsiteY830" fmla="*/ 128299 h 895572"/>
              <a:gd name="connsiteX831" fmla="*/ 804652 w 1090712"/>
              <a:gd name="connsiteY831" fmla="*/ 127824 h 895572"/>
              <a:gd name="connsiteX832" fmla="*/ 802752 w 1090712"/>
              <a:gd name="connsiteY832" fmla="*/ 126399 h 895572"/>
              <a:gd name="connsiteX833" fmla="*/ 801089 w 1090712"/>
              <a:gd name="connsiteY833" fmla="*/ 125211 h 895572"/>
              <a:gd name="connsiteX834" fmla="*/ 799663 w 1090712"/>
              <a:gd name="connsiteY834" fmla="*/ 123310 h 895572"/>
              <a:gd name="connsiteX835" fmla="*/ 798713 w 1090712"/>
              <a:gd name="connsiteY835" fmla="*/ 121647 h 895572"/>
              <a:gd name="connsiteX836" fmla="*/ 798000 w 1090712"/>
              <a:gd name="connsiteY836" fmla="*/ 119271 h 895572"/>
              <a:gd name="connsiteX837" fmla="*/ 798000 w 1090712"/>
              <a:gd name="connsiteY837" fmla="*/ 117608 h 895572"/>
              <a:gd name="connsiteX838" fmla="*/ 785408 w 1090712"/>
              <a:gd name="connsiteY838" fmla="*/ 106916 h 895572"/>
              <a:gd name="connsiteX839" fmla="*/ 772578 w 1090712"/>
              <a:gd name="connsiteY839" fmla="*/ 95749 h 895572"/>
              <a:gd name="connsiteX840" fmla="*/ 747155 w 1090712"/>
              <a:gd name="connsiteY840" fmla="*/ 72703 h 895572"/>
              <a:gd name="connsiteX841" fmla="*/ 733850 w 1090712"/>
              <a:gd name="connsiteY841" fmla="*/ 61061 h 895572"/>
              <a:gd name="connsiteX842" fmla="*/ 720545 w 1090712"/>
              <a:gd name="connsiteY842" fmla="*/ 49894 h 895572"/>
              <a:gd name="connsiteX843" fmla="*/ 706765 w 1090712"/>
              <a:gd name="connsiteY843" fmla="*/ 38728 h 895572"/>
              <a:gd name="connsiteX844" fmla="*/ 692510 w 1090712"/>
              <a:gd name="connsiteY844" fmla="*/ 28036 h 895572"/>
              <a:gd name="connsiteX845" fmla="*/ 679442 w 1090712"/>
              <a:gd name="connsiteY845" fmla="*/ 21859 h 895572"/>
              <a:gd name="connsiteX846" fmla="*/ 666137 w 1090712"/>
              <a:gd name="connsiteY846" fmla="*/ 16632 h 895572"/>
              <a:gd name="connsiteX847" fmla="*/ 652832 w 1090712"/>
              <a:gd name="connsiteY847" fmla="*/ 11642 h 895572"/>
              <a:gd name="connsiteX848" fmla="*/ 639527 w 1090712"/>
              <a:gd name="connsiteY848" fmla="*/ 7603 h 895572"/>
              <a:gd name="connsiteX849" fmla="*/ 626222 w 1090712"/>
              <a:gd name="connsiteY849" fmla="*/ 4514 h 895572"/>
              <a:gd name="connsiteX850" fmla="*/ 612917 w 1090712"/>
              <a:gd name="connsiteY850" fmla="*/ 1901 h 895572"/>
              <a:gd name="connsiteX851" fmla="*/ 599374 w 1090712"/>
              <a:gd name="connsiteY851" fmla="*/ 475 h 8955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Lst>
            <a:rect l="l" t="t" r="r" b="b"/>
            <a:pathLst>
              <a:path w="1090712" h="895572">
                <a:moveTo>
                  <a:pt x="603413" y="721327"/>
                </a:moveTo>
                <a:lnTo>
                  <a:pt x="578466" y="770746"/>
                </a:lnTo>
                <a:lnTo>
                  <a:pt x="553519" y="818264"/>
                </a:lnTo>
                <a:lnTo>
                  <a:pt x="528334" y="865069"/>
                </a:lnTo>
                <a:lnTo>
                  <a:pt x="511825" y="895572"/>
                </a:lnTo>
                <a:lnTo>
                  <a:pt x="624528" y="895572"/>
                </a:lnTo>
                <a:lnTo>
                  <a:pt x="624796" y="894768"/>
                </a:lnTo>
                <a:lnTo>
                  <a:pt x="625271" y="891679"/>
                </a:lnTo>
                <a:lnTo>
                  <a:pt x="625747" y="889066"/>
                </a:lnTo>
                <a:lnTo>
                  <a:pt x="625747" y="860555"/>
                </a:lnTo>
                <a:lnTo>
                  <a:pt x="624796" y="833945"/>
                </a:lnTo>
                <a:lnTo>
                  <a:pt x="624321" y="820877"/>
                </a:lnTo>
                <a:lnTo>
                  <a:pt x="623608" y="808047"/>
                </a:lnTo>
                <a:lnTo>
                  <a:pt x="621708" y="795218"/>
                </a:lnTo>
                <a:lnTo>
                  <a:pt x="620044" y="782625"/>
                </a:lnTo>
                <a:lnTo>
                  <a:pt x="616005" y="766707"/>
                </a:lnTo>
                <a:lnTo>
                  <a:pt x="611966" y="751976"/>
                </a:lnTo>
                <a:lnTo>
                  <a:pt x="607452" y="737245"/>
                </a:lnTo>
                <a:close/>
                <a:moveTo>
                  <a:pt x="698212" y="530778"/>
                </a:moveTo>
                <a:lnTo>
                  <a:pt x="693460" y="534818"/>
                </a:lnTo>
                <a:lnTo>
                  <a:pt x="688471" y="538857"/>
                </a:lnTo>
                <a:lnTo>
                  <a:pt x="678254" y="546935"/>
                </a:lnTo>
                <a:lnTo>
                  <a:pt x="669226" y="553587"/>
                </a:lnTo>
                <a:lnTo>
                  <a:pt x="663048" y="558814"/>
                </a:lnTo>
                <a:lnTo>
                  <a:pt x="663048" y="556676"/>
                </a:lnTo>
                <a:lnTo>
                  <a:pt x="663523" y="554538"/>
                </a:lnTo>
                <a:lnTo>
                  <a:pt x="665424" y="550498"/>
                </a:lnTo>
                <a:lnTo>
                  <a:pt x="668038" y="546459"/>
                </a:lnTo>
                <a:lnTo>
                  <a:pt x="671602" y="542420"/>
                </a:lnTo>
                <a:lnTo>
                  <a:pt x="676829" y="538857"/>
                </a:lnTo>
                <a:lnTo>
                  <a:pt x="682768" y="535768"/>
                </a:lnTo>
                <a:lnTo>
                  <a:pt x="689896" y="533154"/>
                </a:lnTo>
                <a:close/>
                <a:moveTo>
                  <a:pt x="654257" y="302216"/>
                </a:moveTo>
                <a:lnTo>
                  <a:pt x="651882" y="302691"/>
                </a:lnTo>
                <a:lnTo>
                  <a:pt x="649268" y="303166"/>
                </a:lnTo>
                <a:lnTo>
                  <a:pt x="647130" y="304354"/>
                </a:lnTo>
                <a:lnTo>
                  <a:pt x="644516" y="306255"/>
                </a:lnTo>
                <a:lnTo>
                  <a:pt x="642140" y="307918"/>
                </a:lnTo>
                <a:lnTo>
                  <a:pt x="640002" y="310294"/>
                </a:lnTo>
                <a:lnTo>
                  <a:pt x="638101" y="312432"/>
                </a:lnTo>
                <a:lnTo>
                  <a:pt x="636913" y="314571"/>
                </a:lnTo>
                <a:lnTo>
                  <a:pt x="635963" y="316946"/>
                </a:lnTo>
                <a:lnTo>
                  <a:pt x="635963" y="319085"/>
                </a:lnTo>
                <a:lnTo>
                  <a:pt x="636913" y="321223"/>
                </a:lnTo>
                <a:lnTo>
                  <a:pt x="637626" y="324074"/>
                </a:lnTo>
                <a:lnTo>
                  <a:pt x="639527" y="326688"/>
                </a:lnTo>
                <a:lnTo>
                  <a:pt x="643091" y="331677"/>
                </a:lnTo>
                <a:lnTo>
                  <a:pt x="647130" y="335954"/>
                </a:lnTo>
                <a:lnTo>
                  <a:pt x="655920" y="330727"/>
                </a:lnTo>
                <a:lnTo>
                  <a:pt x="663999" y="324787"/>
                </a:lnTo>
                <a:lnTo>
                  <a:pt x="679917" y="313383"/>
                </a:lnTo>
                <a:lnTo>
                  <a:pt x="676354" y="311007"/>
                </a:lnTo>
                <a:lnTo>
                  <a:pt x="672790" y="308393"/>
                </a:lnTo>
                <a:lnTo>
                  <a:pt x="668988" y="306730"/>
                </a:lnTo>
                <a:lnTo>
                  <a:pt x="664949" y="304829"/>
                </a:lnTo>
                <a:lnTo>
                  <a:pt x="660910" y="303641"/>
                </a:lnTo>
                <a:lnTo>
                  <a:pt x="657346" y="302691"/>
                </a:lnTo>
                <a:close/>
                <a:moveTo>
                  <a:pt x="696549" y="252322"/>
                </a:moveTo>
                <a:lnTo>
                  <a:pt x="696786" y="259925"/>
                </a:lnTo>
                <a:lnTo>
                  <a:pt x="698212" y="266102"/>
                </a:lnTo>
                <a:lnTo>
                  <a:pt x="700113" y="272042"/>
                </a:lnTo>
                <a:lnTo>
                  <a:pt x="701776" y="276794"/>
                </a:lnTo>
                <a:lnTo>
                  <a:pt x="704389" y="280833"/>
                </a:lnTo>
                <a:lnTo>
                  <a:pt x="707240" y="284397"/>
                </a:lnTo>
                <a:lnTo>
                  <a:pt x="710329" y="287010"/>
                </a:lnTo>
                <a:lnTo>
                  <a:pt x="713418" y="289624"/>
                </a:lnTo>
                <a:lnTo>
                  <a:pt x="716506" y="291524"/>
                </a:lnTo>
                <a:lnTo>
                  <a:pt x="719595" y="293187"/>
                </a:lnTo>
                <a:lnTo>
                  <a:pt x="725772" y="295088"/>
                </a:lnTo>
                <a:lnTo>
                  <a:pt x="731237" y="296514"/>
                </a:lnTo>
                <a:lnTo>
                  <a:pt x="734801" y="296751"/>
                </a:lnTo>
                <a:lnTo>
                  <a:pt x="722209" y="303879"/>
                </a:lnTo>
                <a:lnTo>
                  <a:pt x="710804" y="311007"/>
                </a:lnTo>
                <a:lnTo>
                  <a:pt x="688471" y="324787"/>
                </a:lnTo>
                <a:lnTo>
                  <a:pt x="667563" y="339043"/>
                </a:lnTo>
                <a:lnTo>
                  <a:pt x="646179" y="352823"/>
                </a:lnTo>
                <a:lnTo>
                  <a:pt x="620044" y="313383"/>
                </a:lnTo>
                <a:lnTo>
                  <a:pt x="617668" y="312432"/>
                </a:lnTo>
                <a:lnTo>
                  <a:pt x="615055" y="312432"/>
                </a:lnTo>
                <a:lnTo>
                  <a:pt x="612441" y="313383"/>
                </a:lnTo>
                <a:lnTo>
                  <a:pt x="609353" y="314095"/>
                </a:lnTo>
                <a:lnTo>
                  <a:pt x="602938" y="316946"/>
                </a:lnTo>
                <a:lnTo>
                  <a:pt x="599849" y="317659"/>
                </a:lnTo>
                <a:lnTo>
                  <a:pt x="596760" y="318610"/>
                </a:lnTo>
                <a:lnTo>
                  <a:pt x="607927" y="307205"/>
                </a:lnTo>
                <a:lnTo>
                  <a:pt x="618619" y="295088"/>
                </a:lnTo>
                <a:lnTo>
                  <a:pt x="623846" y="289386"/>
                </a:lnTo>
                <a:lnTo>
                  <a:pt x="629786" y="283921"/>
                </a:lnTo>
                <a:lnTo>
                  <a:pt x="635963" y="278694"/>
                </a:lnTo>
                <a:lnTo>
                  <a:pt x="642140" y="273705"/>
                </a:lnTo>
                <a:lnTo>
                  <a:pt x="648793" y="269191"/>
                </a:lnTo>
                <a:lnTo>
                  <a:pt x="655446" y="265627"/>
                </a:lnTo>
                <a:lnTo>
                  <a:pt x="662098" y="263013"/>
                </a:lnTo>
                <a:lnTo>
                  <a:pt x="668988" y="260400"/>
                </a:lnTo>
                <a:lnTo>
                  <a:pt x="682768" y="256361"/>
                </a:lnTo>
                <a:close/>
                <a:moveTo>
                  <a:pt x="1030602" y="200289"/>
                </a:moveTo>
                <a:lnTo>
                  <a:pt x="1027513" y="207892"/>
                </a:lnTo>
                <a:lnTo>
                  <a:pt x="1023949" y="214545"/>
                </a:lnTo>
                <a:lnTo>
                  <a:pt x="1019910" y="221197"/>
                </a:lnTo>
                <a:lnTo>
                  <a:pt x="1015396" y="226899"/>
                </a:lnTo>
                <a:lnTo>
                  <a:pt x="1011119" y="232839"/>
                </a:lnTo>
                <a:lnTo>
                  <a:pt x="1006130" y="237591"/>
                </a:lnTo>
                <a:lnTo>
                  <a:pt x="1001140" y="242105"/>
                </a:lnTo>
                <a:lnTo>
                  <a:pt x="996388" y="246144"/>
                </a:lnTo>
                <a:lnTo>
                  <a:pt x="990924" y="249708"/>
                </a:lnTo>
                <a:lnTo>
                  <a:pt x="985697" y="252797"/>
                </a:lnTo>
                <a:lnTo>
                  <a:pt x="980232" y="254935"/>
                </a:lnTo>
                <a:lnTo>
                  <a:pt x="975005" y="256836"/>
                </a:lnTo>
                <a:lnTo>
                  <a:pt x="969541" y="258262"/>
                </a:lnTo>
                <a:lnTo>
                  <a:pt x="963839" y="258499"/>
                </a:lnTo>
                <a:lnTo>
                  <a:pt x="958612" y="258499"/>
                </a:lnTo>
                <a:lnTo>
                  <a:pt x="953622" y="257786"/>
                </a:lnTo>
                <a:lnTo>
                  <a:pt x="970966" y="244006"/>
                </a:lnTo>
                <a:lnTo>
                  <a:pt x="990211" y="229275"/>
                </a:lnTo>
                <a:lnTo>
                  <a:pt x="1010169" y="214069"/>
                </a:lnTo>
                <a:lnTo>
                  <a:pt x="1020385" y="206942"/>
                </a:lnTo>
                <a:close/>
                <a:moveTo>
                  <a:pt x="389581" y="176768"/>
                </a:moveTo>
                <a:lnTo>
                  <a:pt x="397422" y="177243"/>
                </a:lnTo>
                <a:lnTo>
                  <a:pt x="414766" y="178906"/>
                </a:lnTo>
                <a:lnTo>
                  <a:pt x="405500" y="179856"/>
                </a:lnTo>
                <a:lnTo>
                  <a:pt x="396946" y="181995"/>
                </a:lnTo>
                <a:lnTo>
                  <a:pt x="389581" y="184371"/>
                </a:lnTo>
                <a:lnTo>
                  <a:pt x="381978" y="186984"/>
                </a:lnTo>
                <a:lnTo>
                  <a:pt x="375326" y="190548"/>
                </a:lnTo>
                <a:lnTo>
                  <a:pt x="368911" y="194112"/>
                </a:lnTo>
                <a:lnTo>
                  <a:pt x="363208" y="198626"/>
                </a:lnTo>
                <a:lnTo>
                  <a:pt x="357981" y="202903"/>
                </a:lnTo>
                <a:lnTo>
                  <a:pt x="352517" y="208367"/>
                </a:lnTo>
                <a:lnTo>
                  <a:pt x="348003" y="214070"/>
                </a:lnTo>
                <a:lnTo>
                  <a:pt x="343726" y="220247"/>
                </a:lnTo>
                <a:lnTo>
                  <a:pt x="339687" y="226662"/>
                </a:lnTo>
                <a:lnTo>
                  <a:pt x="335648" y="233790"/>
                </a:lnTo>
                <a:lnTo>
                  <a:pt x="332559" y="240917"/>
                </a:lnTo>
                <a:lnTo>
                  <a:pt x="328995" y="248758"/>
                </a:lnTo>
                <a:lnTo>
                  <a:pt x="325907" y="256836"/>
                </a:lnTo>
                <a:lnTo>
                  <a:pt x="325432" y="252797"/>
                </a:lnTo>
                <a:lnTo>
                  <a:pt x="324956" y="248283"/>
                </a:lnTo>
                <a:lnTo>
                  <a:pt x="323056" y="239492"/>
                </a:lnTo>
                <a:lnTo>
                  <a:pt x="320917" y="229275"/>
                </a:lnTo>
                <a:lnTo>
                  <a:pt x="320442" y="223811"/>
                </a:lnTo>
                <a:lnTo>
                  <a:pt x="319967" y="217633"/>
                </a:lnTo>
                <a:lnTo>
                  <a:pt x="314740" y="217633"/>
                </a:lnTo>
                <a:lnTo>
                  <a:pt x="302148" y="243056"/>
                </a:lnTo>
                <a:lnTo>
                  <a:pt x="289793" y="267528"/>
                </a:lnTo>
                <a:lnTo>
                  <a:pt x="277438" y="291049"/>
                </a:lnTo>
                <a:lnTo>
                  <a:pt x="264371" y="312907"/>
                </a:lnTo>
                <a:lnTo>
                  <a:pt x="267459" y="295088"/>
                </a:lnTo>
                <a:lnTo>
                  <a:pt x="271023" y="279170"/>
                </a:lnTo>
                <a:lnTo>
                  <a:pt x="274587" y="263964"/>
                </a:lnTo>
                <a:lnTo>
                  <a:pt x="279101" y="250183"/>
                </a:lnTo>
                <a:lnTo>
                  <a:pt x="284091" y="238066"/>
                </a:lnTo>
                <a:lnTo>
                  <a:pt x="289318" y="226900"/>
                </a:lnTo>
                <a:lnTo>
                  <a:pt x="292406" y="221673"/>
                </a:lnTo>
                <a:lnTo>
                  <a:pt x="295495" y="217158"/>
                </a:lnTo>
                <a:lnTo>
                  <a:pt x="298584" y="212406"/>
                </a:lnTo>
                <a:lnTo>
                  <a:pt x="302148" y="208367"/>
                </a:lnTo>
                <a:lnTo>
                  <a:pt x="305711" y="204328"/>
                </a:lnTo>
                <a:lnTo>
                  <a:pt x="309275" y="200765"/>
                </a:lnTo>
                <a:lnTo>
                  <a:pt x="313314" y="197201"/>
                </a:lnTo>
                <a:lnTo>
                  <a:pt x="317354" y="194112"/>
                </a:lnTo>
                <a:lnTo>
                  <a:pt x="321868" y="191498"/>
                </a:lnTo>
                <a:lnTo>
                  <a:pt x="326382" y="188647"/>
                </a:lnTo>
                <a:lnTo>
                  <a:pt x="330659" y="186509"/>
                </a:lnTo>
                <a:lnTo>
                  <a:pt x="335648" y="184371"/>
                </a:lnTo>
                <a:lnTo>
                  <a:pt x="340637" y="182470"/>
                </a:lnTo>
                <a:lnTo>
                  <a:pt x="345864" y="181282"/>
                </a:lnTo>
                <a:lnTo>
                  <a:pt x="351091" y="179856"/>
                </a:lnTo>
                <a:lnTo>
                  <a:pt x="357031" y="178431"/>
                </a:lnTo>
                <a:lnTo>
                  <a:pt x="368911" y="177243"/>
                </a:lnTo>
                <a:lnTo>
                  <a:pt x="381978" y="176768"/>
                </a:lnTo>
                <a:close/>
                <a:moveTo>
                  <a:pt x="609353" y="174629"/>
                </a:moveTo>
                <a:lnTo>
                  <a:pt x="602463" y="180807"/>
                </a:lnTo>
                <a:lnTo>
                  <a:pt x="596285" y="187459"/>
                </a:lnTo>
                <a:lnTo>
                  <a:pt x="583931" y="201715"/>
                </a:lnTo>
                <a:lnTo>
                  <a:pt x="571101" y="215495"/>
                </a:lnTo>
                <a:lnTo>
                  <a:pt x="564686" y="222148"/>
                </a:lnTo>
                <a:lnTo>
                  <a:pt x="558508" y="228325"/>
                </a:lnTo>
                <a:lnTo>
                  <a:pt x="557558" y="223335"/>
                </a:lnTo>
                <a:lnTo>
                  <a:pt x="557083" y="219059"/>
                </a:lnTo>
                <a:lnTo>
                  <a:pt x="557083" y="215020"/>
                </a:lnTo>
                <a:lnTo>
                  <a:pt x="557558" y="210981"/>
                </a:lnTo>
                <a:lnTo>
                  <a:pt x="558508" y="207417"/>
                </a:lnTo>
                <a:lnTo>
                  <a:pt x="560409" y="203853"/>
                </a:lnTo>
                <a:lnTo>
                  <a:pt x="562072" y="200764"/>
                </a:lnTo>
                <a:lnTo>
                  <a:pt x="564686" y="197676"/>
                </a:lnTo>
                <a:lnTo>
                  <a:pt x="567774" y="194587"/>
                </a:lnTo>
                <a:lnTo>
                  <a:pt x="571813" y="191973"/>
                </a:lnTo>
                <a:lnTo>
                  <a:pt x="576328" y="188647"/>
                </a:lnTo>
                <a:lnTo>
                  <a:pt x="581317" y="186034"/>
                </a:lnTo>
                <a:lnTo>
                  <a:pt x="587019" y="183420"/>
                </a:lnTo>
                <a:lnTo>
                  <a:pt x="593672" y="180332"/>
                </a:lnTo>
                <a:close/>
                <a:moveTo>
                  <a:pt x="586544" y="0"/>
                </a:moveTo>
                <a:lnTo>
                  <a:pt x="570150" y="2851"/>
                </a:lnTo>
                <a:lnTo>
                  <a:pt x="553519" y="5940"/>
                </a:lnTo>
                <a:lnTo>
                  <a:pt x="536650" y="10454"/>
                </a:lnTo>
                <a:lnTo>
                  <a:pt x="520256" y="14731"/>
                </a:lnTo>
                <a:lnTo>
                  <a:pt x="486993" y="24472"/>
                </a:lnTo>
                <a:lnTo>
                  <a:pt x="469887" y="28986"/>
                </a:lnTo>
                <a:lnTo>
                  <a:pt x="453493" y="33500"/>
                </a:lnTo>
                <a:lnTo>
                  <a:pt x="438762" y="40153"/>
                </a:lnTo>
                <a:lnTo>
                  <a:pt x="424507" y="47281"/>
                </a:lnTo>
                <a:lnTo>
                  <a:pt x="417379" y="51320"/>
                </a:lnTo>
                <a:lnTo>
                  <a:pt x="410727" y="55834"/>
                </a:lnTo>
                <a:lnTo>
                  <a:pt x="403599" y="60111"/>
                </a:lnTo>
                <a:lnTo>
                  <a:pt x="397422" y="65100"/>
                </a:lnTo>
                <a:lnTo>
                  <a:pt x="390769" y="69852"/>
                </a:lnTo>
                <a:lnTo>
                  <a:pt x="384592" y="75792"/>
                </a:lnTo>
                <a:lnTo>
                  <a:pt x="378889" y="81494"/>
                </a:lnTo>
                <a:lnTo>
                  <a:pt x="372950" y="87671"/>
                </a:lnTo>
                <a:lnTo>
                  <a:pt x="367723" y="94324"/>
                </a:lnTo>
                <a:lnTo>
                  <a:pt x="362733" y="101452"/>
                </a:lnTo>
                <a:lnTo>
                  <a:pt x="357981" y="109055"/>
                </a:lnTo>
                <a:lnTo>
                  <a:pt x="353467" y="117608"/>
                </a:lnTo>
                <a:lnTo>
                  <a:pt x="409064" y="117608"/>
                </a:lnTo>
                <a:lnTo>
                  <a:pt x="406925" y="119271"/>
                </a:lnTo>
                <a:lnTo>
                  <a:pt x="404074" y="121647"/>
                </a:lnTo>
                <a:lnTo>
                  <a:pt x="400510" y="123310"/>
                </a:lnTo>
                <a:lnTo>
                  <a:pt x="397422" y="125211"/>
                </a:lnTo>
                <a:lnTo>
                  <a:pt x="393383" y="126399"/>
                </a:lnTo>
                <a:lnTo>
                  <a:pt x="389581" y="127824"/>
                </a:lnTo>
                <a:lnTo>
                  <a:pt x="385542" y="128299"/>
                </a:lnTo>
                <a:lnTo>
                  <a:pt x="381503" y="128774"/>
                </a:lnTo>
                <a:lnTo>
                  <a:pt x="375326" y="130438"/>
                </a:lnTo>
                <a:lnTo>
                  <a:pt x="368435" y="131863"/>
                </a:lnTo>
                <a:lnTo>
                  <a:pt x="361783" y="133051"/>
                </a:lnTo>
                <a:lnTo>
                  <a:pt x="355606" y="134001"/>
                </a:lnTo>
                <a:lnTo>
                  <a:pt x="342300" y="135427"/>
                </a:lnTo>
                <a:lnTo>
                  <a:pt x="329471" y="137090"/>
                </a:lnTo>
                <a:lnTo>
                  <a:pt x="322818" y="138040"/>
                </a:lnTo>
                <a:lnTo>
                  <a:pt x="316403" y="139704"/>
                </a:lnTo>
                <a:lnTo>
                  <a:pt x="310226" y="141604"/>
                </a:lnTo>
                <a:lnTo>
                  <a:pt x="304048" y="144218"/>
                </a:lnTo>
                <a:lnTo>
                  <a:pt x="298346" y="147307"/>
                </a:lnTo>
                <a:lnTo>
                  <a:pt x="292406" y="151346"/>
                </a:lnTo>
                <a:lnTo>
                  <a:pt x="286704" y="156335"/>
                </a:lnTo>
                <a:lnTo>
                  <a:pt x="281240" y="162037"/>
                </a:lnTo>
                <a:lnTo>
                  <a:pt x="262232" y="182945"/>
                </a:lnTo>
                <a:lnTo>
                  <a:pt x="242987" y="203378"/>
                </a:lnTo>
                <a:lnTo>
                  <a:pt x="203547" y="244006"/>
                </a:lnTo>
                <a:lnTo>
                  <a:pt x="183827" y="264439"/>
                </a:lnTo>
                <a:lnTo>
                  <a:pt x="164345" y="285822"/>
                </a:lnTo>
                <a:lnTo>
                  <a:pt x="144862" y="307443"/>
                </a:lnTo>
                <a:lnTo>
                  <a:pt x="126093" y="329777"/>
                </a:lnTo>
                <a:lnTo>
                  <a:pt x="122054" y="335004"/>
                </a:lnTo>
                <a:lnTo>
                  <a:pt x="118015" y="340468"/>
                </a:lnTo>
                <a:lnTo>
                  <a:pt x="110887" y="352110"/>
                </a:lnTo>
                <a:lnTo>
                  <a:pt x="104709" y="363514"/>
                </a:lnTo>
                <a:lnTo>
                  <a:pt x="99007" y="375156"/>
                </a:lnTo>
                <a:lnTo>
                  <a:pt x="87840" y="400103"/>
                </a:lnTo>
                <a:lnTo>
                  <a:pt x="82138" y="412458"/>
                </a:lnTo>
                <a:lnTo>
                  <a:pt x="75723" y="425050"/>
                </a:lnTo>
                <a:lnTo>
                  <a:pt x="75723" y="429802"/>
                </a:lnTo>
                <a:lnTo>
                  <a:pt x="76674" y="436217"/>
                </a:lnTo>
                <a:lnTo>
                  <a:pt x="77149" y="439306"/>
                </a:lnTo>
                <a:lnTo>
                  <a:pt x="78574" y="442395"/>
                </a:lnTo>
                <a:lnTo>
                  <a:pt x="79762" y="445008"/>
                </a:lnTo>
                <a:lnTo>
                  <a:pt x="81663" y="447147"/>
                </a:lnTo>
                <a:lnTo>
                  <a:pt x="94018" y="468055"/>
                </a:lnTo>
                <a:lnTo>
                  <a:pt x="106848" y="488963"/>
                </a:lnTo>
                <a:lnTo>
                  <a:pt x="113975" y="499654"/>
                </a:lnTo>
                <a:lnTo>
                  <a:pt x="121103" y="510346"/>
                </a:lnTo>
                <a:lnTo>
                  <a:pt x="128706" y="520562"/>
                </a:lnTo>
                <a:lnTo>
                  <a:pt x="137259" y="531254"/>
                </a:lnTo>
                <a:lnTo>
                  <a:pt x="149614" y="514385"/>
                </a:lnTo>
                <a:lnTo>
                  <a:pt x="162206" y="498466"/>
                </a:lnTo>
                <a:lnTo>
                  <a:pt x="174561" y="483260"/>
                </a:lnTo>
                <a:lnTo>
                  <a:pt x="180739" y="476133"/>
                </a:lnTo>
                <a:lnTo>
                  <a:pt x="186916" y="469480"/>
                </a:lnTo>
                <a:lnTo>
                  <a:pt x="182639" y="482310"/>
                </a:lnTo>
                <a:lnTo>
                  <a:pt x="178125" y="495615"/>
                </a:lnTo>
                <a:lnTo>
                  <a:pt x="172423" y="509871"/>
                </a:lnTo>
                <a:lnTo>
                  <a:pt x="164820" y="525552"/>
                </a:lnTo>
                <a:lnTo>
                  <a:pt x="156267" y="538381"/>
                </a:lnTo>
                <a:lnTo>
                  <a:pt x="152703" y="544559"/>
                </a:lnTo>
                <a:lnTo>
                  <a:pt x="148664" y="551449"/>
                </a:lnTo>
                <a:lnTo>
                  <a:pt x="145100" y="558339"/>
                </a:lnTo>
                <a:lnTo>
                  <a:pt x="142011" y="565467"/>
                </a:lnTo>
                <a:lnTo>
                  <a:pt x="139398" y="573070"/>
                </a:lnTo>
                <a:lnTo>
                  <a:pt x="137259" y="581623"/>
                </a:lnTo>
                <a:lnTo>
                  <a:pt x="136309" y="583761"/>
                </a:lnTo>
                <a:lnTo>
                  <a:pt x="135359" y="586137"/>
                </a:lnTo>
                <a:lnTo>
                  <a:pt x="134883" y="590889"/>
                </a:lnTo>
                <a:lnTo>
                  <a:pt x="134883" y="595879"/>
                </a:lnTo>
                <a:lnTo>
                  <a:pt x="135359" y="601106"/>
                </a:lnTo>
                <a:lnTo>
                  <a:pt x="136784" y="606095"/>
                </a:lnTo>
                <a:lnTo>
                  <a:pt x="138447" y="611322"/>
                </a:lnTo>
                <a:lnTo>
                  <a:pt x="140348" y="616311"/>
                </a:lnTo>
                <a:lnTo>
                  <a:pt x="142486" y="620826"/>
                </a:lnTo>
                <a:lnTo>
                  <a:pt x="148664" y="629616"/>
                </a:lnTo>
                <a:lnTo>
                  <a:pt x="155554" y="637219"/>
                </a:lnTo>
                <a:lnTo>
                  <a:pt x="162444" y="643872"/>
                </a:lnTo>
                <a:lnTo>
                  <a:pt x="169572" y="649099"/>
                </a:lnTo>
                <a:lnTo>
                  <a:pt x="177175" y="653613"/>
                </a:lnTo>
                <a:lnTo>
                  <a:pt x="184778" y="657177"/>
                </a:lnTo>
                <a:lnTo>
                  <a:pt x="192856" y="659553"/>
                </a:lnTo>
                <a:lnTo>
                  <a:pt x="200934" y="661216"/>
                </a:lnTo>
                <a:lnTo>
                  <a:pt x="209250" y="661691"/>
                </a:lnTo>
                <a:lnTo>
                  <a:pt x="218278" y="661691"/>
                </a:lnTo>
                <a:lnTo>
                  <a:pt x="227069" y="660266"/>
                </a:lnTo>
                <a:lnTo>
                  <a:pt x="236335" y="658603"/>
                </a:lnTo>
                <a:lnTo>
                  <a:pt x="245838" y="655514"/>
                </a:lnTo>
                <a:lnTo>
                  <a:pt x="255580" y="652425"/>
                </a:lnTo>
                <a:lnTo>
                  <a:pt x="265321" y="647911"/>
                </a:lnTo>
                <a:lnTo>
                  <a:pt x="276013" y="642922"/>
                </a:lnTo>
                <a:lnTo>
                  <a:pt x="288367" y="635081"/>
                </a:lnTo>
                <a:lnTo>
                  <a:pt x="301910" y="627478"/>
                </a:lnTo>
                <a:lnTo>
                  <a:pt x="315215" y="620350"/>
                </a:lnTo>
                <a:lnTo>
                  <a:pt x="329471" y="613698"/>
                </a:lnTo>
                <a:lnTo>
                  <a:pt x="343726" y="607283"/>
                </a:lnTo>
                <a:lnTo>
                  <a:pt x="357981" y="602056"/>
                </a:lnTo>
                <a:lnTo>
                  <a:pt x="371999" y="597066"/>
                </a:lnTo>
                <a:lnTo>
                  <a:pt x="386730" y="592790"/>
                </a:lnTo>
                <a:lnTo>
                  <a:pt x="394808" y="590414"/>
                </a:lnTo>
                <a:lnTo>
                  <a:pt x="402411" y="587325"/>
                </a:lnTo>
                <a:lnTo>
                  <a:pt x="409064" y="583761"/>
                </a:lnTo>
                <a:lnTo>
                  <a:pt x="411677" y="581623"/>
                </a:lnTo>
                <a:lnTo>
                  <a:pt x="414766" y="579247"/>
                </a:lnTo>
                <a:lnTo>
                  <a:pt x="417142" y="577109"/>
                </a:lnTo>
                <a:lnTo>
                  <a:pt x="419280" y="574495"/>
                </a:lnTo>
                <a:lnTo>
                  <a:pt x="420943" y="571407"/>
                </a:lnTo>
                <a:lnTo>
                  <a:pt x="422844" y="568318"/>
                </a:lnTo>
                <a:lnTo>
                  <a:pt x="424269" y="565229"/>
                </a:lnTo>
                <a:lnTo>
                  <a:pt x="424982" y="561665"/>
                </a:lnTo>
                <a:lnTo>
                  <a:pt x="425457" y="557626"/>
                </a:lnTo>
                <a:lnTo>
                  <a:pt x="425932" y="553587"/>
                </a:lnTo>
                <a:lnTo>
                  <a:pt x="425932" y="413884"/>
                </a:lnTo>
                <a:lnTo>
                  <a:pt x="425932" y="285347"/>
                </a:lnTo>
                <a:lnTo>
                  <a:pt x="429496" y="300078"/>
                </a:lnTo>
                <a:lnTo>
                  <a:pt x="433060" y="314096"/>
                </a:lnTo>
                <a:lnTo>
                  <a:pt x="436149" y="328826"/>
                </a:lnTo>
                <a:lnTo>
                  <a:pt x="438762" y="343082"/>
                </a:lnTo>
                <a:lnTo>
                  <a:pt x="443752" y="370642"/>
                </a:lnTo>
                <a:lnTo>
                  <a:pt x="447791" y="397015"/>
                </a:lnTo>
                <a:lnTo>
                  <a:pt x="451830" y="421962"/>
                </a:lnTo>
                <a:lnTo>
                  <a:pt x="454919" y="446434"/>
                </a:lnTo>
                <a:lnTo>
                  <a:pt x="456106" y="458313"/>
                </a:lnTo>
                <a:lnTo>
                  <a:pt x="457057" y="470430"/>
                </a:lnTo>
                <a:lnTo>
                  <a:pt x="457532" y="482310"/>
                </a:lnTo>
                <a:lnTo>
                  <a:pt x="457532" y="493952"/>
                </a:lnTo>
                <a:lnTo>
                  <a:pt x="457532" y="506069"/>
                </a:lnTo>
                <a:lnTo>
                  <a:pt x="456582" y="517473"/>
                </a:lnTo>
                <a:lnTo>
                  <a:pt x="455869" y="529116"/>
                </a:lnTo>
                <a:lnTo>
                  <a:pt x="453968" y="540757"/>
                </a:lnTo>
                <a:lnTo>
                  <a:pt x="452305" y="552162"/>
                </a:lnTo>
                <a:lnTo>
                  <a:pt x="449454" y="563804"/>
                </a:lnTo>
                <a:lnTo>
                  <a:pt x="446365" y="575446"/>
                </a:lnTo>
                <a:lnTo>
                  <a:pt x="442326" y="586850"/>
                </a:lnTo>
                <a:lnTo>
                  <a:pt x="440188" y="591364"/>
                </a:lnTo>
                <a:lnTo>
                  <a:pt x="437574" y="595403"/>
                </a:lnTo>
                <a:lnTo>
                  <a:pt x="434486" y="598967"/>
                </a:lnTo>
                <a:lnTo>
                  <a:pt x="431397" y="602531"/>
                </a:lnTo>
                <a:lnTo>
                  <a:pt x="428071" y="605145"/>
                </a:lnTo>
                <a:lnTo>
                  <a:pt x="424982" y="607283"/>
                </a:lnTo>
                <a:lnTo>
                  <a:pt x="422369" y="608708"/>
                </a:lnTo>
                <a:lnTo>
                  <a:pt x="420230" y="609659"/>
                </a:lnTo>
                <a:lnTo>
                  <a:pt x="410727" y="610847"/>
                </a:lnTo>
                <a:lnTo>
                  <a:pt x="401461" y="612748"/>
                </a:lnTo>
                <a:lnTo>
                  <a:pt x="392670" y="614886"/>
                </a:lnTo>
                <a:lnTo>
                  <a:pt x="383641" y="617262"/>
                </a:lnTo>
                <a:lnTo>
                  <a:pt x="374850" y="620350"/>
                </a:lnTo>
                <a:lnTo>
                  <a:pt x="365822" y="623914"/>
                </a:lnTo>
                <a:lnTo>
                  <a:pt x="348478" y="631042"/>
                </a:lnTo>
                <a:lnTo>
                  <a:pt x="331609" y="639358"/>
                </a:lnTo>
                <a:lnTo>
                  <a:pt x="314740" y="647911"/>
                </a:lnTo>
                <a:lnTo>
                  <a:pt x="281240" y="665255"/>
                </a:lnTo>
                <a:lnTo>
                  <a:pt x="274587" y="669294"/>
                </a:lnTo>
                <a:lnTo>
                  <a:pt x="267935" y="672858"/>
                </a:lnTo>
                <a:lnTo>
                  <a:pt x="261757" y="675947"/>
                </a:lnTo>
                <a:lnTo>
                  <a:pt x="255105" y="679035"/>
                </a:lnTo>
                <a:lnTo>
                  <a:pt x="248927" y="681174"/>
                </a:lnTo>
                <a:lnTo>
                  <a:pt x="242987" y="683075"/>
                </a:lnTo>
                <a:lnTo>
                  <a:pt x="236810" y="684738"/>
                </a:lnTo>
                <a:lnTo>
                  <a:pt x="231108" y="686163"/>
                </a:lnTo>
                <a:lnTo>
                  <a:pt x="225406" y="687114"/>
                </a:lnTo>
                <a:lnTo>
                  <a:pt x="219466" y="687589"/>
                </a:lnTo>
                <a:lnTo>
                  <a:pt x="213764" y="687589"/>
                </a:lnTo>
                <a:lnTo>
                  <a:pt x="208299" y="687589"/>
                </a:lnTo>
                <a:lnTo>
                  <a:pt x="203072" y="687114"/>
                </a:lnTo>
                <a:lnTo>
                  <a:pt x="197607" y="686163"/>
                </a:lnTo>
                <a:lnTo>
                  <a:pt x="192380" y="684738"/>
                </a:lnTo>
                <a:lnTo>
                  <a:pt x="186916" y="683550"/>
                </a:lnTo>
                <a:lnTo>
                  <a:pt x="181689" y="681649"/>
                </a:lnTo>
                <a:lnTo>
                  <a:pt x="176699" y="679986"/>
                </a:lnTo>
                <a:lnTo>
                  <a:pt x="171472" y="677610"/>
                </a:lnTo>
                <a:lnTo>
                  <a:pt x="166483" y="674996"/>
                </a:lnTo>
                <a:lnTo>
                  <a:pt x="156742" y="669294"/>
                </a:lnTo>
                <a:lnTo>
                  <a:pt x="147001" y="662167"/>
                </a:lnTo>
                <a:lnTo>
                  <a:pt x="137735" y="654564"/>
                </a:lnTo>
                <a:lnTo>
                  <a:pt x="127756" y="645535"/>
                </a:lnTo>
                <a:lnTo>
                  <a:pt x="118490" y="636269"/>
                </a:lnTo>
                <a:lnTo>
                  <a:pt x="109224" y="626053"/>
                </a:lnTo>
                <a:lnTo>
                  <a:pt x="107323" y="623914"/>
                </a:lnTo>
                <a:lnTo>
                  <a:pt x="106135" y="620350"/>
                </a:lnTo>
                <a:lnTo>
                  <a:pt x="105185" y="616311"/>
                </a:lnTo>
                <a:lnTo>
                  <a:pt x="105185" y="612272"/>
                </a:lnTo>
                <a:lnTo>
                  <a:pt x="105185" y="608233"/>
                </a:lnTo>
                <a:lnTo>
                  <a:pt x="106135" y="604194"/>
                </a:lnTo>
                <a:lnTo>
                  <a:pt x="107323" y="600630"/>
                </a:lnTo>
                <a:lnTo>
                  <a:pt x="109224" y="598017"/>
                </a:lnTo>
                <a:lnTo>
                  <a:pt x="111837" y="591840"/>
                </a:lnTo>
                <a:lnTo>
                  <a:pt x="113975" y="586137"/>
                </a:lnTo>
                <a:lnTo>
                  <a:pt x="115401" y="579722"/>
                </a:lnTo>
                <a:lnTo>
                  <a:pt x="115876" y="574020"/>
                </a:lnTo>
                <a:lnTo>
                  <a:pt x="115876" y="568318"/>
                </a:lnTo>
                <a:lnTo>
                  <a:pt x="115401" y="562378"/>
                </a:lnTo>
                <a:lnTo>
                  <a:pt x="114451" y="557151"/>
                </a:lnTo>
                <a:lnTo>
                  <a:pt x="112788" y="551449"/>
                </a:lnTo>
                <a:lnTo>
                  <a:pt x="110412" y="545984"/>
                </a:lnTo>
                <a:lnTo>
                  <a:pt x="108273" y="540757"/>
                </a:lnTo>
                <a:lnTo>
                  <a:pt x="105185" y="535293"/>
                </a:lnTo>
                <a:lnTo>
                  <a:pt x="102096" y="530066"/>
                </a:lnTo>
                <a:lnTo>
                  <a:pt x="94968" y="519374"/>
                </a:lnTo>
                <a:lnTo>
                  <a:pt x="86890" y="508683"/>
                </a:lnTo>
                <a:lnTo>
                  <a:pt x="78812" y="497991"/>
                </a:lnTo>
                <a:lnTo>
                  <a:pt x="70972" y="486824"/>
                </a:lnTo>
                <a:lnTo>
                  <a:pt x="67408" y="481122"/>
                </a:lnTo>
                <a:lnTo>
                  <a:pt x="64319" y="474707"/>
                </a:lnTo>
                <a:lnTo>
                  <a:pt x="61230" y="469005"/>
                </a:lnTo>
                <a:lnTo>
                  <a:pt x="58379" y="462828"/>
                </a:lnTo>
                <a:lnTo>
                  <a:pt x="56716" y="456175"/>
                </a:lnTo>
                <a:lnTo>
                  <a:pt x="54815" y="449998"/>
                </a:lnTo>
                <a:lnTo>
                  <a:pt x="54103" y="443345"/>
                </a:lnTo>
                <a:lnTo>
                  <a:pt x="53627" y="436455"/>
                </a:lnTo>
                <a:lnTo>
                  <a:pt x="53627" y="429327"/>
                </a:lnTo>
                <a:lnTo>
                  <a:pt x="54815" y="422675"/>
                </a:lnTo>
                <a:lnTo>
                  <a:pt x="56716" y="415547"/>
                </a:lnTo>
                <a:lnTo>
                  <a:pt x="59330" y="408182"/>
                </a:lnTo>
                <a:lnTo>
                  <a:pt x="60280" y="403192"/>
                </a:lnTo>
                <a:lnTo>
                  <a:pt x="61943" y="397965"/>
                </a:lnTo>
                <a:lnTo>
                  <a:pt x="65507" y="387986"/>
                </a:lnTo>
                <a:lnTo>
                  <a:pt x="69546" y="378720"/>
                </a:lnTo>
                <a:lnTo>
                  <a:pt x="74535" y="369929"/>
                </a:lnTo>
                <a:lnTo>
                  <a:pt x="79762" y="360901"/>
                </a:lnTo>
                <a:lnTo>
                  <a:pt x="85940" y="352585"/>
                </a:lnTo>
                <a:lnTo>
                  <a:pt x="98057" y="335479"/>
                </a:lnTo>
                <a:lnTo>
                  <a:pt x="102571" y="328113"/>
                </a:lnTo>
                <a:lnTo>
                  <a:pt x="106848" y="320986"/>
                </a:lnTo>
                <a:lnTo>
                  <a:pt x="116827" y="307205"/>
                </a:lnTo>
                <a:lnTo>
                  <a:pt x="127043" y="293188"/>
                </a:lnTo>
                <a:lnTo>
                  <a:pt x="137735" y="279407"/>
                </a:lnTo>
                <a:lnTo>
                  <a:pt x="159831" y="251847"/>
                </a:lnTo>
                <a:lnTo>
                  <a:pt x="170522" y="238066"/>
                </a:lnTo>
                <a:lnTo>
                  <a:pt x="181214" y="223336"/>
                </a:lnTo>
                <a:lnTo>
                  <a:pt x="164820" y="223336"/>
                </a:lnTo>
                <a:lnTo>
                  <a:pt x="137972" y="230226"/>
                </a:lnTo>
                <a:lnTo>
                  <a:pt x="125142" y="233790"/>
                </a:lnTo>
                <a:lnTo>
                  <a:pt x="112788" y="237591"/>
                </a:lnTo>
                <a:lnTo>
                  <a:pt x="100195" y="241630"/>
                </a:lnTo>
                <a:lnTo>
                  <a:pt x="87840" y="245669"/>
                </a:lnTo>
                <a:lnTo>
                  <a:pt x="75723" y="250183"/>
                </a:lnTo>
                <a:lnTo>
                  <a:pt x="64319" y="254935"/>
                </a:lnTo>
                <a:lnTo>
                  <a:pt x="52677" y="260400"/>
                </a:lnTo>
                <a:lnTo>
                  <a:pt x="41035" y="265627"/>
                </a:lnTo>
                <a:lnTo>
                  <a:pt x="29868" y="271567"/>
                </a:lnTo>
                <a:lnTo>
                  <a:pt x="18939" y="277744"/>
                </a:lnTo>
                <a:lnTo>
                  <a:pt x="7772" y="284397"/>
                </a:lnTo>
                <a:lnTo>
                  <a:pt x="0" y="289924"/>
                </a:lnTo>
                <a:lnTo>
                  <a:pt x="0" y="895572"/>
                </a:lnTo>
                <a:lnTo>
                  <a:pt x="125653" y="895572"/>
                </a:lnTo>
                <a:lnTo>
                  <a:pt x="127756" y="892155"/>
                </a:lnTo>
                <a:lnTo>
                  <a:pt x="131082" y="885502"/>
                </a:lnTo>
                <a:lnTo>
                  <a:pt x="133696" y="878374"/>
                </a:lnTo>
                <a:lnTo>
                  <a:pt x="135834" y="871722"/>
                </a:lnTo>
                <a:lnTo>
                  <a:pt x="137735" y="864594"/>
                </a:lnTo>
                <a:lnTo>
                  <a:pt x="138923" y="857466"/>
                </a:lnTo>
                <a:lnTo>
                  <a:pt x="140348" y="850339"/>
                </a:lnTo>
                <a:lnTo>
                  <a:pt x="141298" y="843211"/>
                </a:lnTo>
                <a:lnTo>
                  <a:pt x="142011" y="828955"/>
                </a:lnTo>
                <a:lnTo>
                  <a:pt x="142486" y="814225"/>
                </a:lnTo>
                <a:lnTo>
                  <a:pt x="142486" y="799494"/>
                </a:lnTo>
                <a:lnTo>
                  <a:pt x="142486" y="782625"/>
                </a:lnTo>
                <a:lnTo>
                  <a:pt x="142486" y="771458"/>
                </a:lnTo>
                <a:lnTo>
                  <a:pt x="143912" y="778586"/>
                </a:lnTo>
                <a:lnTo>
                  <a:pt x="145100" y="784526"/>
                </a:lnTo>
                <a:lnTo>
                  <a:pt x="147476" y="789753"/>
                </a:lnTo>
                <a:lnTo>
                  <a:pt x="149614" y="794267"/>
                </a:lnTo>
                <a:lnTo>
                  <a:pt x="152228" y="797831"/>
                </a:lnTo>
                <a:lnTo>
                  <a:pt x="155554" y="801395"/>
                </a:lnTo>
                <a:lnTo>
                  <a:pt x="158643" y="803533"/>
                </a:lnTo>
                <a:lnTo>
                  <a:pt x="162206" y="805909"/>
                </a:lnTo>
                <a:lnTo>
                  <a:pt x="165770" y="807572"/>
                </a:lnTo>
                <a:lnTo>
                  <a:pt x="169572" y="808523"/>
                </a:lnTo>
                <a:lnTo>
                  <a:pt x="174086" y="809473"/>
                </a:lnTo>
                <a:lnTo>
                  <a:pt x="178600" y="810186"/>
                </a:lnTo>
                <a:lnTo>
                  <a:pt x="187866" y="810661"/>
                </a:lnTo>
                <a:lnTo>
                  <a:pt x="198083" y="810661"/>
                </a:lnTo>
                <a:lnTo>
                  <a:pt x="236810" y="810661"/>
                </a:lnTo>
                <a:lnTo>
                  <a:pt x="249640" y="811136"/>
                </a:lnTo>
                <a:lnTo>
                  <a:pt x="263183" y="811611"/>
                </a:lnTo>
                <a:lnTo>
                  <a:pt x="270310" y="811611"/>
                </a:lnTo>
                <a:lnTo>
                  <a:pt x="276963" y="811136"/>
                </a:lnTo>
                <a:lnTo>
                  <a:pt x="283140" y="810186"/>
                </a:lnTo>
                <a:lnTo>
                  <a:pt x="289793" y="808523"/>
                </a:lnTo>
                <a:lnTo>
                  <a:pt x="295495" y="806147"/>
                </a:lnTo>
                <a:lnTo>
                  <a:pt x="301435" y="803058"/>
                </a:lnTo>
                <a:lnTo>
                  <a:pt x="304524" y="801395"/>
                </a:lnTo>
                <a:lnTo>
                  <a:pt x="307137" y="799256"/>
                </a:lnTo>
                <a:lnTo>
                  <a:pt x="309275" y="796881"/>
                </a:lnTo>
                <a:lnTo>
                  <a:pt x="312126" y="794267"/>
                </a:lnTo>
                <a:lnTo>
                  <a:pt x="314265" y="791178"/>
                </a:lnTo>
                <a:lnTo>
                  <a:pt x="316403" y="788090"/>
                </a:lnTo>
                <a:lnTo>
                  <a:pt x="318304" y="784051"/>
                </a:lnTo>
                <a:lnTo>
                  <a:pt x="319967" y="780012"/>
                </a:lnTo>
                <a:lnTo>
                  <a:pt x="321868" y="775973"/>
                </a:lnTo>
                <a:lnTo>
                  <a:pt x="323056" y="771221"/>
                </a:lnTo>
                <a:lnTo>
                  <a:pt x="324481" y="765756"/>
                </a:lnTo>
                <a:lnTo>
                  <a:pt x="325907" y="760529"/>
                </a:lnTo>
                <a:lnTo>
                  <a:pt x="325907" y="827530"/>
                </a:lnTo>
                <a:lnTo>
                  <a:pt x="310226" y="835608"/>
                </a:lnTo>
                <a:lnTo>
                  <a:pt x="295970" y="843686"/>
                </a:lnTo>
                <a:lnTo>
                  <a:pt x="282665" y="850339"/>
                </a:lnTo>
                <a:lnTo>
                  <a:pt x="276488" y="852952"/>
                </a:lnTo>
                <a:lnTo>
                  <a:pt x="270310" y="855565"/>
                </a:lnTo>
                <a:lnTo>
                  <a:pt x="266271" y="857942"/>
                </a:lnTo>
                <a:lnTo>
                  <a:pt x="262708" y="860080"/>
                </a:lnTo>
                <a:lnTo>
                  <a:pt x="259619" y="862693"/>
                </a:lnTo>
                <a:lnTo>
                  <a:pt x="256768" y="865544"/>
                </a:lnTo>
                <a:lnTo>
                  <a:pt x="254154" y="868633"/>
                </a:lnTo>
                <a:lnTo>
                  <a:pt x="252491" y="871722"/>
                </a:lnTo>
                <a:lnTo>
                  <a:pt x="250590" y="874810"/>
                </a:lnTo>
                <a:lnTo>
                  <a:pt x="249402" y="877899"/>
                </a:lnTo>
                <a:lnTo>
                  <a:pt x="248452" y="880988"/>
                </a:lnTo>
                <a:lnTo>
                  <a:pt x="247977" y="884076"/>
                </a:lnTo>
                <a:lnTo>
                  <a:pt x="247977" y="887165"/>
                </a:lnTo>
                <a:lnTo>
                  <a:pt x="248452" y="890016"/>
                </a:lnTo>
                <a:lnTo>
                  <a:pt x="249402" y="893105"/>
                </a:lnTo>
                <a:lnTo>
                  <a:pt x="250075" y="895572"/>
                </a:lnTo>
                <a:lnTo>
                  <a:pt x="474750" y="895572"/>
                </a:lnTo>
                <a:lnTo>
                  <a:pt x="475827" y="894768"/>
                </a:lnTo>
                <a:lnTo>
                  <a:pt x="486993" y="882889"/>
                </a:lnTo>
                <a:lnTo>
                  <a:pt x="497210" y="870296"/>
                </a:lnTo>
                <a:lnTo>
                  <a:pt x="506951" y="857942"/>
                </a:lnTo>
                <a:lnTo>
                  <a:pt x="515742" y="844636"/>
                </a:lnTo>
                <a:lnTo>
                  <a:pt x="523820" y="831094"/>
                </a:lnTo>
                <a:lnTo>
                  <a:pt x="531898" y="816838"/>
                </a:lnTo>
                <a:lnTo>
                  <a:pt x="539026" y="802583"/>
                </a:lnTo>
                <a:lnTo>
                  <a:pt x="545678" y="788565"/>
                </a:lnTo>
                <a:lnTo>
                  <a:pt x="552331" y="773359"/>
                </a:lnTo>
                <a:lnTo>
                  <a:pt x="558033" y="758628"/>
                </a:lnTo>
                <a:lnTo>
                  <a:pt x="563498" y="743185"/>
                </a:lnTo>
                <a:lnTo>
                  <a:pt x="568725" y="727979"/>
                </a:lnTo>
                <a:lnTo>
                  <a:pt x="573714" y="712298"/>
                </a:lnTo>
                <a:lnTo>
                  <a:pt x="577991" y="696855"/>
                </a:lnTo>
                <a:lnTo>
                  <a:pt x="586544" y="665255"/>
                </a:lnTo>
                <a:lnTo>
                  <a:pt x="586069" y="663117"/>
                </a:lnTo>
                <a:lnTo>
                  <a:pt x="584881" y="660266"/>
                </a:lnTo>
                <a:lnTo>
                  <a:pt x="582980" y="657177"/>
                </a:lnTo>
                <a:lnTo>
                  <a:pt x="580367" y="654088"/>
                </a:lnTo>
                <a:lnTo>
                  <a:pt x="574902" y="647911"/>
                </a:lnTo>
                <a:lnTo>
                  <a:pt x="570150" y="642922"/>
                </a:lnTo>
                <a:lnTo>
                  <a:pt x="565636" y="636744"/>
                </a:lnTo>
                <a:lnTo>
                  <a:pt x="560647" y="631517"/>
                </a:lnTo>
                <a:lnTo>
                  <a:pt x="555420" y="626053"/>
                </a:lnTo>
                <a:lnTo>
                  <a:pt x="550193" y="621301"/>
                </a:lnTo>
                <a:lnTo>
                  <a:pt x="544253" y="616787"/>
                </a:lnTo>
                <a:lnTo>
                  <a:pt x="538075" y="612272"/>
                </a:lnTo>
                <a:lnTo>
                  <a:pt x="525721" y="603719"/>
                </a:lnTo>
                <a:lnTo>
                  <a:pt x="563023" y="619875"/>
                </a:lnTo>
                <a:lnTo>
                  <a:pt x="581317" y="628191"/>
                </a:lnTo>
                <a:lnTo>
                  <a:pt x="599374" y="636744"/>
                </a:lnTo>
                <a:lnTo>
                  <a:pt x="607927" y="641259"/>
                </a:lnTo>
                <a:lnTo>
                  <a:pt x="616718" y="646010"/>
                </a:lnTo>
                <a:lnTo>
                  <a:pt x="625271" y="651000"/>
                </a:lnTo>
                <a:lnTo>
                  <a:pt x="633349" y="656227"/>
                </a:lnTo>
                <a:lnTo>
                  <a:pt x="641665" y="662167"/>
                </a:lnTo>
                <a:lnTo>
                  <a:pt x="649268" y="668344"/>
                </a:lnTo>
                <a:lnTo>
                  <a:pt x="656871" y="674996"/>
                </a:lnTo>
                <a:lnTo>
                  <a:pt x="664474" y="682124"/>
                </a:lnTo>
                <a:lnTo>
                  <a:pt x="668988" y="686163"/>
                </a:lnTo>
                <a:lnTo>
                  <a:pt x="672790" y="690202"/>
                </a:lnTo>
                <a:lnTo>
                  <a:pt x="677304" y="693291"/>
                </a:lnTo>
                <a:lnTo>
                  <a:pt x="682293" y="696855"/>
                </a:lnTo>
                <a:lnTo>
                  <a:pt x="686570" y="699468"/>
                </a:lnTo>
                <a:lnTo>
                  <a:pt x="691559" y="702082"/>
                </a:lnTo>
                <a:lnTo>
                  <a:pt x="696549" y="703983"/>
                </a:lnTo>
                <a:lnTo>
                  <a:pt x="701300" y="705646"/>
                </a:lnTo>
                <a:lnTo>
                  <a:pt x="706290" y="707071"/>
                </a:lnTo>
                <a:lnTo>
                  <a:pt x="711042" y="708497"/>
                </a:lnTo>
                <a:lnTo>
                  <a:pt x="716506" y="708734"/>
                </a:lnTo>
                <a:lnTo>
                  <a:pt x="721258" y="708734"/>
                </a:lnTo>
                <a:lnTo>
                  <a:pt x="726723" y="708497"/>
                </a:lnTo>
                <a:lnTo>
                  <a:pt x="731712" y="707546"/>
                </a:lnTo>
                <a:lnTo>
                  <a:pt x="736939" y="706121"/>
                </a:lnTo>
                <a:lnTo>
                  <a:pt x="742166" y="704458"/>
                </a:lnTo>
                <a:lnTo>
                  <a:pt x="749294" y="702082"/>
                </a:lnTo>
                <a:lnTo>
                  <a:pt x="756184" y="699468"/>
                </a:lnTo>
                <a:lnTo>
                  <a:pt x="762361" y="696380"/>
                </a:lnTo>
                <a:lnTo>
                  <a:pt x="768063" y="692816"/>
                </a:lnTo>
                <a:lnTo>
                  <a:pt x="773528" y="689252"/>
                </a:lnTo>
                <a:lnTo>
                  <a:pt x="778755" y="684738"/>
                </a:lnTo>
                <a:lnTo>
                  <a:pt x="783269" y="680461"/>
                </a:lnTo>
                <a:lnTo>
                  <a:pt x="787308" y="674996"/>
                </a:lnTo>
                <a:lnTo>
                  <a:pt x="791110" y="669769"/>
                </a:lnTo>
                <a:lnTo>
                  <a:pt x="794436" y="663830"/>
                </a:lnTo>
                <a:lnTo>
                  <a:pt x="797050" y="657652"/>
                </a:lnTo>
                <a:lnTo>
                  <a:pt x="799188" y="651000"/>
                </a:lnTo>
                <a:lnTo>
                  <a:pt x="801089" y="643872"/>
                </a:lnTo>
                <a:lnTo>
                  <a:pt x="802277" y="636744"/>
                </a:lnTo>
                <a:lnTo>
                  <a:pt x="803227" y="628666"/>
                </a:lnTo>
                <a:lnTo>
                  <a:pt x="803227" y="620826"/>
                </a:lnTo>
                <a:lnTo>
                  <a:pt x="801089" y="622489"/>
                </a:lnTo>
                <a:lnTo>
                  <a:pt x="798238" y="623914"/>
                </a:lnTo>
                <a:lnTo>
                  <a:pt x="793011" y="626053"/>
                </a:lnTo>
                <a:lnTo>
                  <a:pt x="790397" y="627478"/>
                </a:lnTo>
                <a:lnTo>
                  <a:pt x="788496" y="628191"/>
                </a:lnTo>
                <a:lnTo>
                  <a:pt x="787308" y="630092"/>
                </a:lnTo>
                <a:lnTo>
                  <a:pt x="786833" y="631755"/>
                </a:lnTo>
                <a:lnTo>
                  <a:pt x="785408" y="635794"/>
                </a:lnTo>
                <a:lnTo>
                  <a:pt x="784220" y="639833"/>
                </a:lnTo>
                <a:lnTo>
                  <a:pt x="780656" y="646485"/>
                </a:lnTo>
                <a:lnTo>
                  <a:pt x="776617" y="653138"/>
                </a:lnTo>
                <a:lnTo>
                  <a:pt x="772103" y="659078"/>
                </a:lnTo>
                <a:lnTo>
                  <a:pt x="762361" y="670007"/>
                </a:lnTo>
                <a:lnTo>
                  <a:pt x="757847" y="675947"/>
                </a:lnTo>
                <a:lnTo>
                  <a:pt x="753333" y="682124"/>
                </a:lnTo>
                <a:lnTo>
                  <a:pt x="750244" y="684738"/>
                </a:lnTo>
                <a:lnTo>
                  <a:pt x="747155" y="687589"/>
                </a:lnTo>
                <a:lnTo>
                  <a:pt x="744067" y="689252"/>
                </a:lnTo>
                <a:lnTo>
                  <a:pt x="740978" y="690915"/>
                </a:lnTo>
                <a:lnTo>
                  <a:pt x="737890" y="691865"/>
                </a:lnTo>
                <a:lnTo>
                  <a:pt x="734801" y="692816"/>
                </a:lnTo>
                <a:lnTo>
                  <a:pt x="731950" y="693291"/>
                </a:lnTo>
                <a:lnTo>
                  <a:pt x="728861" y="693291"/>
                </a:lnTo>
                <a:lnTo>
                  <a:pt x="723634" y="692816"/>
                </a:lnTo>
                <a:lnTo>
                  <a:pt x="718169" y="691390"/>
                </a:lnTo>
                <a:lnTo>
                  <a:pt x="713418" y="689727"/>
                </a:lnTo>
                <a:lnTo>
                  <a:pt x="708903" y="687826"/>
                </a:lnTo>
                <a:lnTo>
                  <a:pt x="706765" y="687589"/>
                </a:lnTo>
                <a:lnTo>
                  <a:pt x="704864" y="687114"/>
                </a:lnTo>
                <a:lnTo>
                  <a:pt x="703201" y="686163"/>
                </a:lnTo>
                <a:lnTo>
                  <a:pt x="701776" y="684738"/>
                </a:lnTo>
                <a:lnTo>
                  <a:pt x="698687" y="681649"/>
                </a:lnTo>
                <a:lnTo>
                  <a:pt x="696549" y="678085"/>
                </a:lnTo>
                <a:lnTo>
                  <a:pt x="694648" y="673571"/>
                </a:lnTo>
                <a:lnTo>
                  <a:pt x="693460" y="668819"/>
                </a:lnTo>
                <a:lnTo>
                  <a:pt x="692510" y="664305"/>
                </a:lnTo>
                <a:lnTo>
                  <a:pt x="692510" y="659790"/>
                </a:lnTo>
                <a:lnTo>
                  <a:pt x="692510" y="647436"/>
                </a:lnTo>
                <a:lnTo>
                  <a:pt x="693460" y="635319"/>
                </a:lnTo>
                <a:lnTo>
                  <a:pt x="694173" y="624389"/>
                </a:lnTo>
                <a:lnTo>
                  <a:pt x="695598" y="612748"/>
                </a:lnTo>
                <a:lnTo>
                  <a:pt x="699162" y="591364"/>
                </a:lnTo>
                <a:lnTo>
                  <a:pt x="703676" y="570456"/>
                </a:lnTo>
                <a:lnTo>
                  <a:pt x="720070" y="574971"/>
                </a:lnTo>
                <a:lnTo>
                  <a:pt x="736939" y="579247"/>
                </a:lnTo>
                <a:lnTo>
                  <a:pt x="770677" y="589226"/>
                </a:lnTo>
                <a:lnTo>
                  <a:pt x="788021" y="593503"/>
                </a:lnTo>
                <a:lnTo>
                  <a:pt x="805365" y="597542"/>
                </a:lnTo>
                <a:lnTo>
                  <a:pt x="823660" y="601106"/>
                </a:lnTo>
                <a:lnTo>
                  <a:pt x="841954" y="603719"/>
                </a:lnTo>
                <a:lnTo>
                  <a:pt x="861437" y="606570"/>
                </a:lnTo>
                <a:lnTo>
                  <a:pt x="880682" y="608233"/>
                </a:lnTo>
                <a:lnTo>
                  <a:pt x="889948" y="608708"/>
                </a:lnTo>
                <a:lnTo>
                  <a:pt x="898976" y="608708"/>
                </a:lnTo>
                <a:lnTo>
                  <a:pt x="908242" y="608708"/>
                </a:lnTo>
                <a:lnTo>
                  <a:pt x="916795" y="608233"/>
                </a:lnTo>
                <a:lnTo>
                  <a:pt x="925586" y="607283"/>
                </a:lnTo>
                <a:lnTo>
                  <a:pt x="934140" y="606095"/>
                </a:lnTo>
                <a:lnTo>
                  <a:pt x="942455" y="604669"/>
                </a:lnTo>
                <a:lnTo>
                  <a:pt x="950533" y="603006"/>
                </a:lnTo>
                <a:lnTo>
                  <a:pt x="958611" y="600630"/>
                </a:lnTo>
                <a:lnTo>
                  <a:pt x="966452" y="598017"/>
                </a:lnTo>
                <a:lnTo>
                  <a:pt x="974055" y="595403"/>
                </a:lnTo>
                <a:lnTo>
                  <a:pt x="981658" y="591840"/>
                </a:lnTo>
                <a:lnTo>
                  <a:pt x="989261" y="588276"/>
                </a:lnTo>
                <a:lnTo>
                  <a:pt x="996388" y="584237"/>
                </a:lnTo>
                <a:lnTo>
                  <a:pt x="1003041" y="579247"/>
                </a:lnTo>
                <a:lnTo>
                  <a:pt x="1009694" y="574495"/>
                </a:lnTo>
                <a:lnTo>
                  <a:pt x="1016346" y="569031"/>
                </a:lnTo>
                <a:lnTo>
                  <a:pt x="1022998" y="562853"/>
                </a:lnTo>
                <a:lnTo>
                  <a:pt x="1029176" y="556676"/>
                </a:lnTo>
                <a:lnTo>
                  <a:pt x="1035116" y="549548"/>
                </a:lnTo>
                <a:lnTo>
                  <a:pt x="1040818" y="541945"/>
                </a:lnTo>
                <a:lnTo>
                  <a:pt x="1046520" y="534342"/>
                </a:lnTo>
                <a:lnTo>
                  <a:pt x="1051985" y="526027"/>
                </a:lnTo>
                <a:lnTo>
                  <a:pt x="1056737" y="516523"/>
                </a:lnTo>
                <a:lnTo>
                  <a:pt x="1061726" y="507257"/>
                </a:lnTo>
                <a:lnTo>
                  <a:pt x="1066715" y="497041"/>
                </a:lnTo>
                <a:lnTo>
                  <a:pt x="1070992" y="486349"/>
                </a:lnTo>
                <a:lnTo>
                  <a:pt x="1075506" y="475182"/>
                </a:lnTo>
                <a:lnTo>
                  <a:pt x="1079070" y="462828"/>
                </a:lnTo>
                <a:lnTo>
                  <a:pt x="1082634" y="449998"/>
                </a:lnTo>
                <a:lnTo>
                  <a:pt x="1084772" y="437405"/>
                </a:lnTo>
                <a:lnTo>
                  <a:pt x="1087148" y="425050"/>
                </a:lnTo>
                <a:lnTo>
                  <a:pt x="1088811" y="411983"/>
                </a:lnTo>
                <a:lnTo>
                  <a:pt x="1089762" y="399628"/>
                </a:lnTo>
                <a:lnTo>
                  <a:pt x="1090712" y="386798"/>
                </a:lnTo>
                <a:lnTo>
                  <a:pt x="1090712" y="373731"/>
                </a:lnTo>
                <a:lnTo>
                  <a:pt x="1090712" y="360901"/>
                </a:lnTo>
                <a:lnTo>
                  <a:pt x="1089762" y="348071"/>
                </a:lnTo>
                <a:lnTo>
                  <a:pt x="1088811" y="335004"/>
                </a:lnTo>
                <a:lnTo>
                  <a:pt x="1088099" y="321698"/>
                </a:lnTo>
                <a:lnTo>
                  <a:pt x="1084772" y="295563"/>
                </a:lnTo>
                <a:lnTo>
                  <a:pt x="1080971" y="268478"/>
                </a:lnTo>
                <a:lnTo>
                  <a:pt x="1078595" y="258262"/>
                </a:lnTo>
                <a:lnTo>
                  <a:pt x="1075981" y="248283"/>
                </a:lnTo>
                <a:lnTo>
                  <a:pt x="1072417" y="238542"/>
                </a:lnTo>
                <a:lnTo>
                  <a:pt x="1069329" y="229275"/>
                </a:lnTo>
                <a:lnTo>
                  <a:pt x="1061251" y="210031"/>
                </a:lnTo>
                <a:lnTo>
                  <a:pt x="1053173" y="190073"/>
                </a:lnTo>
                <a:lnTo>
                  <a:pt x="1051034" y="186034"/>
                </a:lnTo>
                <a:lnTo>
                  <a:pt x="1048896" y="182470"/>
                </a:lnTo>
                <a:lnTo>
                  <a:pt x="1046045" y="179381"/>
                </a:lnTo>
                <a:lnTo>
                  <a:pt x="1043906" y="176768"/>
                </a:lnTo>
                <a:lnTo>
                  <a:pt x="1041293" y="174630"/>
                </a:lnTo>
                <a:lnTo>
                  <a:pt x="1038680" y="172729"/>
                </a:lnTo>
                <a:lnTo>
                  <a:pt x="1035828" y="171303"/>
                </a:lnTo>
                <a:lnTo>
                  <a:pt x="1032740" y="170591"/>
                </a:lnTo>
                <a:lnTo>
                  <a:pt x="1030126" y="170591"/>
                </a:lnTo>
                <a:lnTo>
                  <a:pt x="1027038" y="170591"/>
                </a:lnTo>
                <a:lnTo>
                  <a:pt x="1024424" y="171303"/>
                </a:lnTo>
                <a:lnTo>
                  <a:pt x="1021335" y="172729"/>
                </a:lnTo>
                <a:lnTo>
                  <a:pt x="1018247" y="174867"/>
                </a:lnTo>
                <a:lnTo>
                  <a:pt x="1014920" y="177718"/>
                </a:lnTo>
                <a:lnTo>
                  <a:pt x="1011832" y="180807"/>
                </a:lnTo>
                <a:lnTo>
                  <a:pt x="1008743" y="184846"/>
                </a:lnTo>
                <a:lnTo>
                  <a:pt x="991874" y="201240"/>
                </a:lnTo>
                <a:lnTo>
                  <a:pt x="983321" y="209318"/>
                </a:lnTo>
                <a:lnTo>
                  <a:pt x="974530" y="216683"/>
                </a:lnTo>
                <a:lnTo>
                  <a:pt x="965739" y="223811"/>
                </a:lnTo>
                <a:lnTo>
                  <a:pt x="956236" y="230226"/>
                </a:lnTo>
                <a:lnTo>
                  <a:pt x="946494" y="235928"/>
                </a:lnTo>
                <a:lnTo>
                  <a:pt x="941505" y="238066"/>
                </a:lnTo>
                <a:lnTo>
                  <a:pt x="936753" y="240442"/>
                </a:lnTo>
                <a:lnTo>
                  <a:pt x="932239" y="242581"/>
                </a:lnTo>
                <a:lnTo>
                  <a:pt x="928675" y="245669"/>
                </a:lnTo>
                <a:lnTo>
                  <a:pt x="925111" y="249233"/>
                </a:lnTo>
                <a:lnTo>
                  <a:pt x="922022" y="252797"/>
                </a:lnTo>
                <a:lnTo>
                  <a:pt x="919884" y="257311"/>
                </a:lnTo>
                <a:lnTo>
                  <a:pt x="918934" y="259925"/>
                </a:lnTo>
                <a:lnTo>
                  <a:pt x="918459" y="262538"/>
                </a:lnTo>
                <a:lnTo>
                  <a:pt x="918459" y="265389"/>
                </a:lnTo>
                <a:lnTo>
                  <a:pt x="918459" y="268003"/>
                </a:lnTo>
                <a:lnTo>
                  <a:pt x="918934" y="271091"/>
                </a:lnTo>
                <a:lnTo>
                  <a:pt x="919884" y="274180"/>
                </a:lnTo>
                <a:lnTo>
                  <a:pt x="921547" y="282258"/>
                </a:lnTo>
                <a:lnTo>
                  <a:pt x="922973" y="290574"/>
                </a:lnTo>
                <a:lnTo>
                  <a:pt x="923923" y="299127"/>
                </a:lnTo>
                <a:lnTo>
                  <a:pt x="924161" y="307443"/>
                </a:lnTo>
                <a:lnTo>
                  <a:pt x="924161" y="315996"/>
                </a:lnTo>
                <a:lnTo>
                  <a:pt x="923923" y="324550"/>
                </a:lnTo>
                <a:lnTo>
                  <a:pt x="922973" y="332865"/>
                </a:lnTo>
                <a:lnTo>
                  <a:pt x="922022" y="340943"/>
                </a:lnTo>
                <a:lnTo>
                  <a:pt x="920597" y="349259"/>
                </a:lnTo>
                <a:lnTo>
                  <a:pt x="918934" y="357812"/>
                </a:lnTo>
                <a:lnTo>
                  <a:pt x="914420" y="374681"/>
                </a:lnTo>
                <a:lnTo>
                  <a:pt x="909192" y="391075"/>
                </a:lnTo>
                <a:lnTo>
                  <a:pt x="903253" y="408182"/>
                </a:lnTo>
                <a:lnTo>
                  <a:pt x="903253" y="397965"/>
                </a:lnTo>
                <a:lnTo>
                  <a:pt x="904203" y="387274"/>
                </a:lnTo>
                <a:lnTo>
                  <a:pt x="906104" y="367078"/>
                </a:lnTo>
                <a:lnTo>
                  <a:pt x="907767" y="347596"/>
                </a:lnTo>
                <a:lnTo>
                  <a:pt x="908717" y="338567"/>
                </a:lnTo>
                <a:lnTo>
                  <a:pt x="908717" y="329777"/>
                </a:lnTo>
                <a:lnTo>
                  <a:pt x="908717" y="325738"/>
                </a:lnTo>
                <a:lnTo>
                  <a:pt x="907767" y="322649"/>
                </a:lnTo>
                <a:lnTo>
                  <a:pt x="906817" y="319560"/>
                </a:lnTo>
                <a:lnTo>
                  <a:pt x="905154" y="316471"/>
                </a:lnTo>
                <a:lnTo>
                  <a:pt x="903728" y="314096"/>
                </a:lnTo>
                <a:lnTo>
                  <a:pt x="901590" y="311957"/>
                </a:lnTo>
                <a:lnTo>
                  <a:pt x="897551" y="307443"/>
                </a:lnTo>
                <a:lnTo>
                  <a:pt x="895412" y="309344"/>
                </a:lnTo>
                <a:lnTo>
                  <a:pt x="892561" y="310769"/>
                </a:lnTo>
                <a:lnTo>
                  <a:pt x="887334" y="313383"/>
                </a:lnTo>
                <a:lnTo>
                  <a:pt x="884721" y="314096"/>
                </a:lnTo>
                <a:lnTo>
                  <a:pt x="882820" y="315521"/>
                </a:lnTo>
                <a:lnTo>
                  <a:pt x="881632" y="316947"/>
                </a:lnTo>
                <a:lnTo>
                  <a:pt x="881157" y="318610"/>
                </a:lnTo>
                <a:lnTo>
                  <a:pt x="872604" y="331915"/>
                </a:lnTo>
                <a:lnTo>
                  <a:pt x="864288" y="346646"/>
                </a:lnTo>
                <a:lnTo>
                  <a:pt x="856210" y="361376"/>
                </a:lnTo>
                <a:lnTo>
                  <a:pt x="847656" y="374681"/>
                </a:lnTo>
                <a:lnTo>
                  <a:pt x="841954" y="374681"/>
                </a:lnTo>
                <a:lnTo>
                  <a:pt x="846468" y="357812"/>
                </a:lnTo>
                <a:lnTo>
                  <a:pt x="850508" y="339518"/>
                </a:lnTo>
                <a:lnTo>
                  <a:pt x="854784" y="319560"/>
                </a:lnTo>
                <a:lnTo>
                  <a:pt x="858823" y="296514"/>
                </a:lnTo>
                <a:lnTo>
                  <a:pt x="848132" y="303879"/>
                </a:lnTo>
                <a:lnTo>
                  <a:pt x="840054" y="310294"/>
                </a:lnTo>
                <a:lnTo>
                  <a:pt x="833163" y="316947"/>
                </a:lnTo>
                <a:lnTo>
                  <a:pt x="825560" y="324550"/>
                </a:lnTo>
                <a:lnTo>
                  <a:pt x="823185" y="326688"/>
                </a:lnTo>
                <a:lnTo>
                  <a:pt x="821522" y="329301"/>
                </a:lnTo>
                <a:lnTo>
                  <a:pt x="817007" y="335954"/>
                </a:lnTo>
                <a:lnTo>
                  <a:pt x="812968" y="344032"/>
                </a:lnTo>
                <a:lnTo>
                  <a:pt x="808929" y="352585"/>
                </a:lnTo>
                <a:lnTo>
                  <a:pt x="809880" y="343557"/>
                </a:lnTo>
                <a:lnTo>
                  <a:pt x="811305" y="335479"/>
                </a:lnTo>
                <a:lnTo>
                  <a:pt x="812493" y="328826"/>
                </a:lnTo>
                <a:lnTo>
                  <a:pt x="814394" y="323124"/>
                </a:lnTo>
                <a:lnTo>
                  <a:pt x="816532" y="317659"/>
                </a:lnTo>
                <a:lnTo>
                  <a:pt x="819146" y="313383"/>
                </a:lnTo>
                <a:lnTo>
                  <a:pt x="822709" y="309344"/>
                </a:lnTo>
                <a:lnTo>
                  <a:pt x="826748" y="306255"/>
                </a:lnTo>
                <a:lnTo>
                  <a:pt x="832213" y="303166"/>
                </a:lnTo>
                <a:lnTo>
                  <a:pt x="838390" y="300315"/>
                </a:lnTo>
                <a:lnTo>
                  <a:pt x="845518" y="298177"/>
                </a:lnTo>
                <a:lnTo>
                  <a:pt x="854071" y="295563"/>
                </a:lnTo>
                <a:lnTo>
                  <a:pt x="875217" y="290574"/>
                </a:lnTo>
                <a:lnTo>
                  <a:pt x="903253" y="285347"/>
                </a:lnTo>
                <a:lnTo>
                  <a:pt x="886384" y="268478"/>
                </a:lnTo>
                <a:lnTo>
                  <a:pt x="879731" y="270141"/>
                </a:lnTo>
                <a:lnTo>
                  <a:pt x="873079" y="271091"/>
                </a:lnTo>
                <a:lnTo>
                  <a:pt x="867376" y="271567"/>
                </a:lnTo>
                <a:lnTo>
                  <a:pt x="862387" y="271091"/>
                </a:lnTo>
                <a:lnTo>
                  <a:pt x="857398" y="269666"/>
                </a:lnTo>
                <a:lnTo>
                  <a:pt x="853596" y="268003"/>
                </a:lnTo>
                <a:lnTo>
                  <a:pt x="849557" y="265627"/>
                </a:lnTo>
                <a:lnTo>
                  <a:pt x="846468" y="262538"/>
                </a:lnTo>
                <a:lnTo>
                  <a:pt x="843380" y="259450"/>
                </a:lnTo>
                <a:lnTo>
                  <a:pt x="840529" y="255411"/>
                </a:lnTo>
                <a:lnTo>
                  <a:pt x="838390" y="251134"/>
                </a:lnTo>
                <a:lnTo>
                  <a:pt x="836490" y="246620"/>
                </a:lnTo>
                <a:lnTo>
                  <a:pt x="834827" y="241155"/>
                </a:lnTo>
                <a:lnTo>
                  <a:pt x="833401" y="235453"/>
                </a:lnTo>
                <a:lnTo>
                  <a:pt x="831263" y="223336"/>
                </a:lnTo>
                <a:lnTo>
                  <a:pt x="897551" y="206942"/>
                </a:lnTo>
                <a:lnTo>
                  <a:pt x="888997" y="194112"/>
                </a:lnTo>
                <a:lnTo>
                  <a:pt x="880682" y="181282"/>
                </a:lnTo>
                <a:lnTo>
                  <a:pt x="871416" y="168690"/>
                </a:lnTo>
                <a:lnTo>
                  <a:pt x="866901" y="162988"/>
                </a:lnTo>
                <a:lnTo>
                  <a:pt x="861437" y="157048"/>
                </a:lnTo>
                <a:lnTo>
                  <a:pt x="856210" y="151821"/>
                </a:lnTo>
                <a:lnTo>
                  <a:pt x="850745" y="146831"/>
                </a:lnTo>
                <a:lnTo>
                  <a:pt x="844568" y="142555"/>
                </a:lnTo>
                <a:lnTo>
                  <a:pt x="838390" y="138516"/>
                </a:lnTo>
                <a:lnTo>
                  <a:pt x="831738" y="134952"/>
                </a:lnTo>
                <a:lnTo>
                  <a:pt x="824610" y="132338"/>
                </a:lnTo>
                <a:lnTo>
                  <a:pt x="817007" y="129963"/>
                </a:lnTo>
                <a:lnTo>
                  <a:pt x="808929" y="128774"/>
                </a:lnTo>
                <a:lnTo>
                  <a:pt x="806791" y="128299"/>
                </a:lnTo>
                <a:lnTo>
                  <a:pt x="804652" y="127824"/>
                </a:lnTo>
                <a:lnTo>
                  <a:pt x="802752" y="126399"/>
                </a:lnTo>
                <a:lnTo>
                  <a:pt x="801089" y="125211"/>
                </a:lnTo>
                <a:lnTo>
                  <a:pt x="799663" y="123310"/>
                </a:lnTo>
                <a:lnTo>
                  <a:pt x="798713" y="121647"/>
                </a:lnTo>
                <a:lnTo>
                  <a:pt x="798000" y="119271"/>
                </a:lnTo>
                <a:lnTo>
                  <a:pt x="798000" y="117608"/>
                </a:lnTo>
                <a:lnTo>
                  <a:pt x="785408" y="106916"/>
                </a:lnTo>
                <a:lnTo>
                  <a:pt x="772578" y="95749"/>
                </a:lnTo>
                <a:lnTo>
                  <a:pt x="747155" y="72703"/>
                </a:lnTo>
                <a:lnTo>
                  <a:pt x="733850" y="61061"/>
                </a:lnTo>
                <a:lnTo>
                  <a:pt x="720545" y="49894"/>
                </a:lnTo>
                <a:lnTo>
                  <a:pt x="706765" y="38728"/>
                </a:lnTo>
                <a:lnTo>
                  <a:pt x="692510" y="28036"/>
                </a:lnTo>
                <a:lnTo>
                  <a:pt x="679442" y="21859"/>
                </a:lnTo>
                <a:lnTo>
                  <a:pt x="666137" y="16632"/>
                </a:lnTo>
                <a:lnTo>
                  <a:pt x="652832" y="11642"/>
                </a:lnTo>
                <a:lnTo>
                  <a:pt x="639527" y="7603"/>
                </a:lnTo>
                <a:lnTo>
                  <a:pt x="626222" y="4514"/>
                </a:lnTo>
                <a:lnTo>
                  <a:pt x="612917" y="1901"/>
                </a:lnTo>
                <a:lnTo>
                  <a:pt x="599374" y="475"/>
                </a:lnTo>
                <a:close/>
              </a:path>
            </a:pathLst>
          </a:custGeom>
          <a:solidFill>
            <a:schemeClr val="bg1">
              <a:alpha val="25000"/>
            </a:schemeClr>
          </a:solidFill>
          <a:ln>
            <a:noFill/>
          </a:ln>
        </p:spPr>
        <p:txBody>
          <a:bodyPr vert="horz" wrap="square" lIns="89642" tIns="44821" rIns="89642" bIns="44821" numCol="1" anchor="t" anchorCtr="0" compatLnSpc="1">
            <a:prstTxWarp prst="textNoShape">
              <a:avLst/>
            </a:prstTxWarp>
            <a:noAutofit/>
          </a:bodyPr>
          <a:lstStyle/>
          <a:p>
            <a:pPr defTabSz="914367"/>
            <a:endParaRPr lang="en-IN" sz="1765" dirty="0">
              <a:solidFill>
                <a:srgbClr val="000000"/>
              </a:solidFill>
            </a:endParaRPr>
          </a:p>
        </p:txBody>
      </p:sp>
      <p:sp>
        <p:nvSpPr>
          <p:cNvPr id="7" name="Rectangle 6"/>
          <p:cNvSpPr/>
          <p:nvPr/>
        </p:nvSpPr>
        <p:spPr>
          <a:xfrm>
            <a:off x="8929" y="1213304"/>
            <a:ext cx="5220355" cy="825547"/>
          </a:xfrm>
          <a:prstGeom prst="rect">
            <a:avLst/>
          </a:prstGeom>
        </p:spPr>
        <p:txBody>
          <a:bodyPr wrap="square" lIns="268927">
            <a:spAutoFit/>
          </a:bodyPr>
          <a:lstStyle/>
          <a:p>
            <a:pPr defTabSz="914102" fontAlgn="base">
              <a:lnSpc>
                <a:spcPct val="90000"/>
              </a:lnSpc>
              <a:spcBef>
                <a:spcPct val="0"/>
              </a:spcBef>
              <a:spcAft>
                <a:spcPct val="0"/>
              </a:spcAft>
            </a:pPr>
            <a:r>
              <a:rPr lang="en-US" sz="5294" dirty="0" smtClean="0">
                <a:solidFill>
                  <a:srgbClr val="FFFFFF"/>
                </a:solidFill>
                <a:latin typeface="Segoe UI Light"/>
                <a:ea typeface="Segoe UI" pitchFamily="34" charset="0"/>
                <a:cs typeface="Segoe UI" pitchFamily="34" charset="0"/>
              </a:rPr>
              <a:t>Spark SQL</a:t>
            </a:r>
            <a:endParaRPr lang="en-US" sz="5294" dirty="0">
              <a:solidFill>
                <a:srgbClr val="FFFFFF"/>
              </a:solidFill>
              <a:latin typeface="Segoe UI Light"/>
              <a:ea typeface="Segoe UI" pitchFamily="34" charset="0"/>
              <a:cs typeface="Segoe UI" pitchFamily="34" charset="0"/>
            </a:endParaRPr>
          </a:p>
        </p:txBody>
      </p:sp>
      <p:sp>
        <p:nvSpPr>
          <p:cNvPr id="2" name="Slide Number Placeholder 1"/>
          <p:cNvSpPr>
            <a:spLocks noGrp="1"/>
          </p:cNvSpPr>
          <p:nvPr>
            <p:ph type="sldNum" sz="quarter" idx="11"/>
          </p:nvPr>
        </p:nvSpPr>
        <p:spPr/>
        <p:txBody>
          <a:bodyPr/>
          <a:lstStyle/>
          <a:p>
            <a:pPr>
              <a:defRPr/>
            </a:pPr>
            <a:fld id="{F8A0AC42-AA1D-4944-8D96-660DE70C7E1B}" type="slidenum">
              <a:rPr lang="en-IN"/>
              <a:pPr>
                <a:defRPr/>
              </a:pPr>
              <a:t>40</a:t>
            </a:fld>
            <a:endParaRPr lang="en-IN" dirty="0"/>
          </a:p>
        </p:txBody>
      </p:sp>
      <p:sp>
        <p:nvSpPr>
          <p:cNvPr id="8" name="TextBox 7"/>
          <p:cNvSpPr txBox="1"/>
          <p:nvPr/>
        </p:nvSpPr>
        <p:spPr>
          <a:xfrm>
            <a:off x="5220356" y="1793544"/>
            <a:ext cx="6553002" cy="3271883"/>
          </a:xfrm>
          <a:prstGeom prst="rect">
            <a:avLst/>
          </a:prstGeom>
          <a:noFill/>
        </p:spPr>
        <p:txBody>
          <a:bodyPr wrap="square" lIns="268927" tIns="143428" rIns="179285" bIns="143428" rtlCol="0">
            <a:noAutofit/>
          </a:bodyPr>
          <a:lstStyle/>
          <a:p>
            <a:pPr marL="52912" lvl="1" defTabSz="913770" fontAlgn="base">
              <a:spcBef>
                <a:spcPts val="1176"/>
              </a:spcBef>
              <a:buClr>
                <a:srgbClr val="68217A">
                  <a:lumMod val="50000"/>
                </a:srgbClr>
              </a:buClr>
            </a:pPr>
            <a:r>
              <a:rPr lang="en-US" sz="3137" dirty="0" smtClean="0">
                <a:ln>
                  <a:solidFill>
                    <a:srgbClr val="FFFFFF">
                      <a:alpha val="0"/>
                    </a:srgbClr>
                  </a:solidFill>
                </a:ln>
                <a:solidFill>
                  <a:srgbClr val="68217A"/>
                </a:solidFill>
                <a:latin typeface="Segoe UI Light"/>
                <a:ea typeface="Segoe UI" pitchFamily="34" charset="0"/>
                <a:cs typeface="Segoe UI" pitchFamily="34" charset="0"/>
              </a:rPr>
              <a:t>Agenda</a:t>
            </a:r>
            <a:endParaRPr lang="en-US" sz="3137" dirty="0">
              <a:ln>
                <a:solidFill>
                  <a:srgbClr val="FFFFFF">
                    <a:alpha val="0"/>
                  </a:srgbClr>
                </a:solidFill>
              </a:ln>
              <a:solidFill>
                <a:srgbClr val="68217A"/>
              </a:solidFill>
              <a:latin typeface="Segoe UI Light"/>
              <a:ea typeface="Segoe UI" pitchFamily="34" charset="0"/>
              <a:cs typeface="Segoe UI" pitchFamily="34" charset="0"/>
            </a:endParaRPr>
          </a:p>
          <a:p>
            <a:pPr marL="558686" lvl="1" indent="-448193" defTabSz="913770" fontAlgn="base">
              <a:buClr>
                <a:srgbClr val="68217A">
                  <a:lumMod val="50000"/>
                </a:srgbClr>
              </a:buClr>
              <a:buBlip>
                <a:blip r:embed="rId2"/>
              </a:buBlip>
            </a:pPr>
            <a:r>
              <a:rPr lang="en-US" sz="2353" dirty="0" smtClean="0">
                <a:ln>
                  <a:solidFill>
                    <a:srgbClr val="FFFFFF">
                      <a:alpha val="0"/>
                    </a:srgbClr>
                  </a:solidFill>
                </a:ln>
                <a:gradFill>
                  <a:gsLst>
                    <a:gs pos="85321">
                      <a:srgbClr val="505050"/>
                    </a:gs>
                    <a:gs pos="57000">
                      <a:srgbClr val="505050"/>
                    </a:gs>
                  </a:gsLst>
                </a:gradFill>
                <a:ea typeface="Segoe UI" pitchFamily="34" charset="0"/>
                <a:cs typeface="Segoe UI" pitchFamily="34" charset="0"/>
              </a:rPr>
              <a:t>Overview</a:t>
            </a:r>
          </a:p>
          <a:p>
            <a:pPr marL="558686" lvl="1" indent="-448193" defTabSz="913770" fontAlgn="base">
              <a:buClr>
                <a:srgbClr val="68217A">
                  <a:lumMod val="50000"/>
                </a:srgbClr>
              </a:buClr>
              <a:buBlip>
                <a:blip r:embed="rId2"/>
              </a:buBlip>
            </a:pPr>
            <a:r>
              <a:rPr lang="en-US" sz="2353" dirty="0" smtClean="0">
                <a:ln>
                  <a:solidFill>
                    <a:srgbClr val="FFFFFF">
                      <a:alpha val="0"/>
                    </a:srgbClr>
                  </a:solidFill>
                </a:ln>
                <a:gradFill>
                  <a:gsLst>
                    <a:gs pos="85321">
                      <a:srgbClr val="505050"/>
                    </a:gs>
                    <a:gs pos="57000">
                      <a:srgbClr val="505050"/>
                    </a:gs>
                  </a:gsLst>
                </a:gradFill>
                <a:ea typeface="Segoe UI" pitchFamily="34" charset="0"/>
                <a:cs typeface="Segoe UI" pitchFamily="34" charset="0"/>
              </a:rPr>
              <a:t>SQLContext and HiveContext</a:t>
            </a:r>
          </a:p>
          <a:p>
            <a:pPr marL="558686" lvl="1" indent="-448193" defTabSz="913770" fontAlgn="base">
              <a:buClr>
                <a:srgbClr val="68217A">
                  <a:lumMod val="50000"/>
                </a:srgbClr>
              </a:buClr>
              <a:buBlip>
                <a:blip r:embed="rId2"/>
              </a:buBlip>
            </a:pPr>
            <a:r>
              <a:rPr lang="en-US" sz="2353" dirty="0" smtClean="0">
                <a:ln>
                  <a:solidFill>
                    <a:srgbClr val="FFFFFF">
                      <a:alpha val="0"/>
                    </a:srgbClr>
                  </a:solidFill>
                </a:ln>
                <a:gradFill>
                  <a:gsLst>
                    <a:gs pos="85321">
                      <a:srgbClr val="505050"/>
                    </a:gs>
                    <a:gs pos="57000">
                      <a:srgbClr val="505050"/>
                    </a:gs>
                  </a:gsLst>
                </a:gradFill>
                <a:ea typeface="Segoe UI" pitchFamily="34" charset="0"/>
                <a:cs typeface="Segoe UI" pitchFamily="34" charset="0"/>
              </a:rPr>
              <a:t>DataFrames Abstractions</a:t>
            </a:r>
          </a:p>
          <a:p>
            <a:pPr marL="558686" lvl="1" indent="-448193" defTabSz="913770" fontAlgn="base">
              <a:buClr>
                <a:srgbClr val="68217A">
                  <a:lumMod val="50000"/>
                </a:srgbClr>
              </a:buClr>
              <a:buBlip>
                <a:blip r:embed="rId2"/>
              </a:buBlip>
            </a:pPr>
            <a:r>
              <a:rPr lang="en-US" sz="2353" dirty="0" smtClean="0">
                <a:ln>
                  <a:solidFill>
                    <a:srgbClr val="FFFFFF">
                      <a:alpha val="0"/>
                    </a:srgbClr>
                  </a:solidFill>
                </a:ln>
                <a:gradFill>
                  <a:gsLst>
                    <a:gs pos="85321">
                      <a:srgbClr val="505050"/>
                    </a:gs>
                    <a:gs pos="57000">
                      <a:srgbClr val="505050"/>
                    </a:gs>
                  </a:gsLst>
                </a:gradFill>
                <a:ea typeface="Segoe UI" pitchFamily="34" charset="0"/>
                <a:cs typeface="Segoe UI" pitchFamily="34" charset="0"/>
              </a:rPr>
              <a:t>DStream Operations</a:t>
            </a:r>
          </a:p>
          <a:p>
            <a:pPr marL="558686" lvl="1" indent="-448193" defTabSz="913770" fontAlgn="base">
              <a:buClr>
                <a:srgbClr val="68217A">
                  <a:lumMod val="50000"/>
                </a:srgbClr>
              </a:buClr>
              <a:buBlip>
                <a:blip r:embed="rId2"/>
              </a:buBlip>
            </a:pPr>
            <a:r>
              <a:rPr lang="en-US" sz="2353" dirty="0" smtClean="0">
                <a:ln>
                  <a:solidFill>
                    <a:srgbClr val="FFFFFF">
                      <a:alpha val="0"/>
                    </a:srgbClr>
                  </a:solidFill>
                </a:ln>
                <a:gradFill>
                  <a:gsLst>
                    <a:gs pos="85321">
                      <a:srgbClr val="505050"/>
                    </a:gs>
                    <a:gs pos="57000">
                      <a:srgbClr val="505050"/>
                    </a:gs>
                  </a:gsLst>
                </a:gradFill>
                <a:ea typeface="Segoe UI" pitchFamily="34" charset="0"/>
                <a:cs typeface="Segoe UI" pitchFamily="34" charset="0"/>
              </a:rPr>
              <a:t>DataFrame and RDDs</a:t>
            </a:r>
          </a:p>
          <a:p>
            <a:pPr marL="558686" lvl="1" indent="-448193" defTabSz="913770" fontAlgn="base">
              <a:buClr>
                <a:srgbClr val="68217A">
                  <a:lumMod val="50000"/>
                </a:srgbClr>
              </a:buClr>
              <a:buBlip>
                <a:blip r:embed="rId2"/>
              </a:buBlip>
            </a:pPr>
            <a:r>
              <a:rPr lang="en-US" sz="2353" dirty="0" smtClean="0">
                <a:ln>
                  <a:solidFill>
                    <a:srgbClr val="FFFFFF">
                      <a:alpha val="0"/>
                    </a:srgbClr>
                  </a:solidFill>
                </a:ln>
                <a:gradFill>
                  <a:gsLst>
                    <a:gs pos="85321">
                      <a:srgbClr val="505050"/>
                    </a:gs>
                    <a:gs pos="57000">
                      <a:srgbClr val="505050"/>
                    </a:gs>
                  </a:gsLst>
                </a:gradFill>
                <a:ea typeface="Segoe UI" pitchFamily="34" charset="0"/>
                <a:cs typeface="Segoe UI" pitchFamily="34" charset="0"/>
              </a:rPr>
              <a:t>Tables and Queries</a:t>
            </a:r>
          </a:p>
          <a:p>
            <a:pPr marL="558686" lvl="1" indent="-448193" defTabSz="913770" fontAlgn="base">
              <a:buClr>
                <a:srgbClr val="68217A">
                  <a:lumMod val="50000"/>
                </a:srgbClr>
              </a:buClr>
              <a:buBlip>
                <a:blip r:embed="rId2"/>
              </a:buBlip>
            </a:pPr>
            <a:r>
              <a:rPr lang="en-US" sz="2353" dirty="0" smtClean="0">
                <a:ln>
                  <a:solidFill>
                    <a:srgbClr val="FFFFFF">
                      <a:alpha val="0"/>
                    </a:srgbClr>
                  </a:solidFill>
                </a:ln>
                <a:gradFill>
                  <a:gsLst>
                    <a:gs pos="85321">
                      <a:srgbClr val="505050"/>
                    </a:gs>
                    <a:gs pos="57000">
                      <a:srgbClr val="505050"/>
                    </a:gs>
                  </a:gsLst>
                </a:gradFill>
                <a:ea typeface="Segoe UI" pitchFamily="34" charset="0"/>
                <a:cs typeface="Segoe UI" pitchFamily="34" charset="0"/>
              </a:rPr>
              <a:t>Hive Tables</a:t>
            </a:r>
          </a:p>
          <a:p>
            <a:pPr marL="558686" lvl="1" indent="-448193" defTabSz="913770" fontAlgn="base">
              <a:buClr>
                <a:srgbClr val="68217A">
                  <a:lumMod val="50000"/>
                </a:srgbClr>
              </a:buClr>
              <a:buBlip>
                <a:blip r:embed="rId2"/>
              </a:buBlip>
            </a:pPr>
            <a:endParaRPr lang="en-US" sz="2353" dirty="0" smtClean="0">
              <a:ln>
                <a:solidFill>
                  <a:srgbClr val="FFFFFF">
                    <a:alpha val="0"/>
                  </a:srgbClr>
                </a:solidFill>
              </a:ln>
              <a:gradFill>
                <a:gsLst>
                  <a:gs pos="85321">
                    <a:srgbClr val="505050"/>
                  </a:gs>
                  <a:gs pos="57000">
                    <a:srgbClr val="505050"/>
                  </a:gs>
                </a:gsLst>
              </a:gradFill>
              <a:ea typeface="Segoe UI" pitchFamily="34" charset="0"/>
              <a:cs typeface="Segoe UI" pitchFamily="34" charset="0"/>
            </a:endParaRPr>
          </a:p>
        </p:txBody>
      </p:sp>
    </p:spTree>
    <p:extLst>
      <p:ext uri="{BB962C8B-B14F-4D97-AF65-F5344CB8AC3E}">
        <p14:creationId xmlns:p14="http://schemas.microsoft.com/office/powerpoint/2010/main" val="2461452120"/>
      </p:ext>
    </p:extLst>
  </p:cSld>
  <p:clrMapOvr>
    <a:masterClrMapping/>
  </p:clrMapOvr>
  <p:transition spd="med">
    <p:fade/>
  </p:transition>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park SQL Overview</a:t>
            </a:r>
            <a:endParaRPr lang="en-US" dirty="0"/>
          </a:p>
        </p:txBody>
      </p:sp>
      <p:sp>
        <p:nvSpPr>
          <p:cNvPr id="3" name="Slide Number Placeholder 2"/>
          <p:cNvSpPr>
            <a:spLocks noGrp="1"/>
          </p:cNvSpPr>
          <p:nvPr>
            <p:ph type="sldNum" sz="quarter" idx="11"/>
          </p:nvPr>
        </p:nvSpPr>
        <p:spPr/>
        <p:txBody>
          <a:bodyPr/>
          <a:lstStyle/>
          <a:p>
            <a:pPr>
              <a:defRPr/>
            </a:pPr>
            <a:fld id="{F8A0AC42-AA1D-4944-8D96-660DE70C7E1B}" type="slidenum">
              <a:rPr lang="en-US" smtClean="0"/>
              <a:pPr>
                <a:defRPr/>
              </a:pPr>
              <a:t>41</a:t>
            </a:fld>
            <a:endParaRPr lang="en-US" dirty="0"/>
          </a:p>
        </p:txBody>
      </p:sp>
      <p:sp>
        <p:nvSpPr>
          <p:cNvPr id="4" name="TextBox 3"/>
          <p:cNvSpPr txBox="1"/>
          <p:nvPr/>
        </p:nvSpPr>
        <p:spPr>
          <a:xfrm>
            <a:off x="532322" y="1295991"/>
            <a:ext cx="11126731" cy="2776145"/>
          </a:xfrm>
          <a:prstGeom prst="rect">
            <a:avLst/>
          </a:prstGeom>
          <a:solidFill>
            <a:schemeClr val="bg1"/>
          </a:solidFill>
          <a:ln>
            <a:noFill/>
          </a:ln>
        </p:spPr>
        <p:txBody>
          <a:bodyPr wrap="square">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2"/>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lvl="1">
              <a:spcBef>
                <a:spcPts val="600"/>
              </a:spcBef>
              <a:spcAft>
                <a:spcPts val="0"/>
              </a:spcAft>
            </a:pPr>
            <a:r>
              <a:rPr lang="en-US" sz="1800" dirty="0" smtClean="0"/>
              <a:t>An extension to Spark for processing </a:t>
            </a:r>
            <a:r>
              <a:rPr lang="en-US" sz="1800" i="1" dirty="0" smtClean="0"/>
              <a:t>structured data</a:t>
            </a:r>
            <a:r>
              <a:rPr lang="en-US" sz="1800" dirty="0" smtClean="0"/>
              <a:t>.</a:t>
            </a:r>
          </a:p>
          <a:p>
            <a:pPr marL="1085850" lvl="2" indent="-171450">
              <a:buFont typeface="Arial" panose="020B0604020202020204" pitchFamily="34" charset="0"/>
              <a:buChar char="•"/>
            </a:pPr>
            <a:r>
              <a:rPr lang="en-US" sz="160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Part of the core distribution since Spark 1.0 (April 2014)</a:t>
            </a:r>
          </a:p>
          <a:p>
            <a:pPr lvl="1">
              <a:spcBef>
                <a:spcPts val="600"/>
              </a:spcBef>
            </a:pPr>
            <a:r>
              <a:rPr lang="en-US" sz="1800" dirty="0"/>
              <a:t>I</a:t>
            </a:r>
            <a:r>
              <a:rPr lang="en-US" sz="1800" dirty="0" smtClean="0"/>
              <a:t>s a distributed SQL query engine</a:t>
            </a:r>
          </a:p>
          <a:p>
            <a:pPr lvl="1">
              <a:spcBef>
                <a:spcPts val="600"/>
              </a:spcBef>
            </a:pPr>
            <a:r>
              <a:rPr lang="en-US" sz="1800" dirty="0"/>
              <a:t>Supports SQL and HiveQL as query </a:t>
            </a:r>
            <a:r>
              <a:rPr lang="en-US" sz="1800" dirty="0" smtClean="0"/>
              <a:t>languages</a:t>
            </a:r>
          </a:p>
          <a:p>
            <a:pPr lvl="1">
              <a:spcBef>
                <a:spcPts val="600"/>
              </a:spcBef>
            </a:pPr>
            <a:r>
              <a:rPr lang="en-US" sz="1800" dirty="0" smtClean="0"/>
              <a:t>Also a </a:t>
            </a:r>
            <a:r>
              <a:rPr lang="en-US" sz="1800" i="1" dirty="0" smtClean="0"/>
              <a:t>general purpose </a:t>
            </a:r>
            <a:r>
              <a:rPr lang="en-US" sz="1800" dirty="0" smtClean="0"/>
              <a:t>distributed data processing API.</a:t>
            </a:r>
          </a:p>
          <a:p>
            <a:pPr lvl="1">
              <a:spcBef>
                <a:spcPts val="600"/>
              </a:spcBef>
            </a:pPr>
            <a:r>
              <a:rPr lang="en-US" sz="1800" dirty="0" smtClean="0"/>
              <a:t>Binding in Python, Scala and Java</a:t>
            </a:r>
            <a:endParaRPr lang="en-US" sz="1800" dirty="0"/>
          </a:p>
          <a:p>
            <a:pPr lvl="1">
              <a:spcBef>
                <a:spcPts val="600"/>
              </a:spcBef>
            </a:pPr>
            <a:r>
              <a:rPr lang="en-US" sz="1800" dirty="0" smtClean="0"/>
              <a:t>Can query data stored in external databases, structured data files (eg JSON), Hive tables etc more. [See </a:t>
            </a:r>
            <a:r>
              <a:rPr lang="en-US" sz="1800" dirty="0" smtClean="0">
                <a:hlinkClick r:id="rId3"/>
              </a:rPr>
              <a:t>spark </a:t>
            </a:r>
            <a:r>
              <a:rPr lang="en-US" sz="1800" dirty="0">
                <a:hlinkClick r:id="rId3"/>
              </a:rPr>
              <a:t>packages</a:t>
            </a:r>
            <a:r>
              <a:rPr lang="en-US" sz="1800" dirty="0"/>
              <a:t> for a full list of sources that are currently </a:t>
            </a:r>
            <a:r>
              <a:rPr lang="en-US" sz="1800" dirty="0" smtClean="0"/>
              <a:t>available]</a:t>
            </a:r>
          </a:p>
        </p:txBody>
      </p:sp>
      <p:pic>
        <p:nvPicPr>
          <p:cNvPr id="5" name="Picture 4"/>
          <p:cNvPicPr>
            <a:picLocks noChangeAspect="1"/>
          </p:cNvPicPr>
          <p:nvPr/>
        </p:nvPicPr>
        <p:blipFill>
          <a:blip r:embed="rId4"/>
          <a:stretch>
            <a:fillRect/>
          </a:stretch>
        </p:blipFill>
        <p:spPr>
          <a:xfrm>
            <a:off x="3038162" y="4211951"/>
            <a:ext cx="6115050" cy="2085975"/>
          </a:xfrm>
          <a:prstGeom prst="rect">
            <a:avLst/>
          </a:prstGeom>
          <a:ln>
            <a:solidFill>
              <a:schemeClr val="bg2">
                <a:lumMod val="75000"/>
              </a:schemeClr>
            </a:solidFill>
          </a:ln>
        </p:spPr>
      </p:pic>
      <p:grpSp>
        <p:nvGrpSpPr>
          <p:cNvPr id="6" name="Group 5"/>
          <p:cNvGrpSpPr/>
          <p:nvPr/>
        </p:nvGrpSpPr>
        <p:grpSpPr>
          <a:xfrm>
            <a:off x="8600649" y="1214321"/>
            <a:ext cx="1901979" cy="2199598"/>
            <a:chOff x="8484902" y="1226507"/>
            <a:chExt cx="1901979" cy="2199598"/>
          </a:xfrm>
        </p:grpSpPr>
        <p:pic>
          <p:nvPicPr>
            <p:cNvPr id="2050" name="Picture 2" descr="https://www.python.org/static/community_logos/python-logo-master-v3-TM-flattened.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8484902" y="2783672"/>
              <a:ext cx="1901979" cy="642433"/>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http://techguylabs.com/sites/techguylabs.com/files/styles/tgl-4col/public/java-logo.jpeg?itok=sPY6NQsh"/>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791641" y="1905787"/>
              <a:ext cx="1288500" cy="790463"/>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descr="http://upload.wikimedia.org/wikipedia/en/8/85/Scala_logo.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510118" y="1226507"/>
              <a:ext cx="1851546" cy="523385"/>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1744739891"/>
      </p:ext>
    </p:extLst>
  </p:cSld>
  <p:clrMapOvr>
    <a:masterClrMapping/>
  </p:clrMapOvr>
  <p:transition spd="med">
    <p:fade/>
  </p:transition>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qlContext and </a:t>
            </a:r>
            <a:r>
              <a:rPr lang="en-US" dirty="0"/>
              <a:t>h</a:t>
            </a:r>
            <a:r>
              <a:rPr lang="en-US" dirty="0" smtClean="0"/>
              <a:t>iveContext</a:t>
            </a:r>
            <a:endParaRPr lang="en-US" dirty="0"/>
          </a:p>
        </p:txBody>
      </p:sp>
      <p:sp>
        <p:nvSpPr>
          <p:cNvPr id="3" name="Slide Number Placeholder 2"/>
          <p:cNvSpPr>
            <a:spLocks noGrp="1"/>
          </p:cNvSpPr>
          <p:nvPr>
            <p:ph type="sldNum" sz="quarter" idx="11"/>
          </p:nvPr>
        </p:nvSpPr>
        <p:spPr/>
        <p:txBody>
          <a:bodyPr/>
          <a:lstStyle/>
          <a:p>
            <a:pPr>
              <a:defRPr/>
            </a:pPr>
            <a:fld id="{F8A0AC42-AA1D-4944-8D96-660DE70C7E1B}" type="slidenum">
              <a:rPr lang="en-US" smtClean="0"/>
              <a:pPr>
                <a:defRPr/>
              </a:pPr>
              <a:t>42</a:t>
            </a:fld>
            <a:endParaRPr lang="en-US" dirty="0"/>
          </a:p>
        </p:txBody>
      </p:sp>
      <p:sp>
        <p:nvSpPr>
          <p:cNvPr id="4" name="TextBox 3"/>
          <p:cNvSpPr txBox="1"/>
          <p:nvPr/>
        </p:nvSpPr>
        <p:spPr>
          <a:xfrm>
            <a:off x="552893" y="1349304"/>
            <a:ext cx="10096542" cy="590931"/>
          </a:xfrm>
          <a:prstGeom prst="rect">
            <a:avLst/>
          </a:prstGeom>
          <a:solidFill>
            <a:schemeClr val="bg1"/>
          </a:solidFill>
          <a:ln>
            <a:noFill/>
          </a:ln>
        </p:spPr>
        <p:txBody>
          <a:bodyPr wrap="square">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2"/>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lvl="1">
              <a:spcBef>
                <a:spcPts val="600"/>
              </a:spcBef>
            </a:pPr>
            <a:r>
              <a:rPr lang="en-US" sz="1800" dirty="0"/>
              <a:t>The entry point into all functionality in Spark SQL is the SQLContext class, or one of its descendants. To create a basic SQLContext, all you need is a </a:t>
            </a:r>
            <a:r>
              <a:rPr lang="en-US" sz="1800" dirty="0" smtClean="0"/>
              <a:t>SparkContext</a:t>
            </a:r>
            <a:endParaRPr lang="en-US" sz="2400" dirty="0" smtClean="0"/>
          </a:p>
        </p:txBody>
      </p:sp>
      <p:sp>
        <p:nvSpPr>
          <p:cNvPr id="6" name="TextBox 5"/>
          <p:cNvSpPr txBox="1"/>
          <p:nvPr/>
        </p:nvSpPr>
        <p:spPr>
          <a:xfrm>
            <a:off x="1146620" y="2151595"/>
            <a:ext cx="9502815" cy="689420"/>
          </a:xfrm>
          <a:prstGeom prst="rect">
            <a:avLst/>
          </a:prstGeom>
          <a:solidFill>
            <a:schemeClr val="bg1">
              <a:lumMod val="95000"/>
            </a:schemeClr>
          </a:solidFill>
          <a:ln>
            <a:noFill/>
          </a:ln>
        </p:spPr>
        <p:txBody>
          <a:bodyPr wrap="square">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2"/>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93" lvl="1" indent="0">
              <a:spcBef>
                <a:spcPts val="600"/>
              </a:spcBef>
              <a:buNone/>
            </a:pPr>
            <a:r>
              <a:rPr lang="en-US" sz="1600" dirty="0">
                <a:solidFill>
                  <a:schemeClr val="accent4"/>
                </a:solidFill>
                <a:latin typeface="Arial Narrow" panose="020B0606020202030204" pitchFamily="34" charset="0"/>
              </a:rPr>
              <a:t>&gt;&gt;&gt; </a:t>
            </a:r>
            <a:r>
              <a:rPr lang="en-US" sz="1600" dirty="0" smtClean="0">
                <a:solidFill>
                  <a:schemeClr val="accent2"/>
                </a:solidFill>
              </a:rPr>
              <a:t>val</a:t>
            </a:r>
            <a:r>
              <a:rPr lang="en-US" sz="1600" dirty="0" smtClean="0"/>
              <a:t> </a:t>
            </a:r>
            <a:r>
              <a:rPr lang="en-US" sz="1600" dirty="0"/>
              <a:t>sc: </a:t>
            </a:r>
            <a:r>
              <a:rPr lang="en-US" sz="1600" dirty="0">
                <a:solidFill>
                  <a:schemeClr val="accent4">
                    <a:lumMod val="75000"/>
                  </a:schemeClr>
                </a:solidFill>
              </a:rPr>
              <a:t>SparkContext</a:t>
            </a:r>
            <a:r>
              <a:rPr lang="en-US" sz="1600" dirty="0"/>
              <a:t> </a:t>
            </a:r>
            <a:r>
              <a:rPr lang="en-US" sz="1600" dirty="0">
                <a:solidFill>
                  <a:schemeClr val="accent5">
                    <a:lumMod val="75000"/>
                  </a:schemeClr>
                </a:solidFill>
              </a:rPr>
              <a:t>// An existing SparkContext</a:t>
            </a:r>
            <a:r>
              <a:rPr lang="en-US" sz="1600" dirty="0">
                <a:solidFill>
                  <a:schemeClr val="accent1"/>
                </a:solidFill>
              </a:rPr>
              <a:t>.</a:t>
            </a:r>
          </a:p>
          <a:p>
            <a:pPr marL="110493" lvl="1" indent="0">
              <a:spcBef>
                <a:spcPts val="600"/>
              </a:spcBef>
              <a:buNone/>
            </a:pPr>
            <a:r>
              <a:rPr lang="en-US" sz="1600" dirty="0">
                <a:solidFill>
                  <a:schemeClr val="accent4"/>
                </a:solidFill>
                <a:latin typeface="Arial Narrow" panose="020B0606020202030204" pitchFamily="34" charset="0"/>
              </a:rPr>
              <a:t>&gt;&gt;&gt; </a:t>
            </a:r>
            <a:r>
              <a:rPr lang="en-US" sz="1600" dirty="0" smtClean="0">
                <a:solidFill>
                  <a:schemeClr val="accent2"/>
                </a:solidFill>
              </a:rPr>
              <a:t>val</a:t>
            </a:r>
            <a:r>
              <a:rPr lang="en-US" sz="1600" dirty="0" smtClean="0"/>
              <a:t> </a:t>
            </a:r>
            <a:r>
              <a:rPr lang="en-US" sz="1600" dirty="0"/>
              <a:t>sqlContext = </a:t>
            </a:r>
            <a:r>
              <a:rPr lang="en-US" sz="1600" dirty="0">
                <a:solidFill>
                  <a:schemeClr val="accent2"/>
                </a:solidFill>
              </a:rPr>
              <a:t>new</a:t>
            </a:r>
            <a:r>
              <a:rPr lang="en-US" sz="1600" dirty="0"/>
              <a:t> org.apache.spark.sql.</a:t>
            </a:r>
            <a:r>
              <a:rPr lang="en-US" sz="1600" dirty="0">
                <a:solidFill>
                  <a:schemeClr val="accent1">
                    <a:lumMod val="75000"/>
                  </a:schemeClr>
                </a:solidFill>
              </a:rPr>
              <a:t>SQLContext</a:t>
            </a:r>
            <a:r>
              <a:rPr lang="en-US" sz="1600" dirty="0"/>
              <a:t>(sc</a:t>
            </a:r>
            <a:r>
              <a:rPr lang="en-US" sz="1600" dirty="0" smtClean="0"/>
              <a:t>)</a:t>
            </a:r>
            <a:endParaRPr lang="en-US" sz="1600" dirty="0"/>
          </a:p>
        </p:txBody>
      </p:sp>
      <p:sp>
        <p:nvSpPr>
          <p:cNvPr id="7" name="TextBox 6"/>
          <p:cNvSpPr txBox="1"/>
          <p:nvPr/>
        </p:nvSpPr>
        <p:spPr>
          <a:xfrm>
            <a:off x="566541" y="3184347"/>
            <a:ext cx="10082894" cy="2705356"/>
          </a:xfrm>
          <a:prstGeom prst="rect">
            <a:avLst/>
          </a:prstGeom>
          <a:solidFill>
            <a:schemeClr val="bg1"/>
          </a:solidFill>
          <a:ln>
            <a:noFill/>
          </a:ln>
        </p:spPr>
        <p:txBody>
          <a:bodyPr wrap="square">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2"/>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lvl="1">
              <a:spcBef>
                <a:spcPts val="600"/>
              </a:spcBef>
              <a:spcAft>
                <a:spcPts val="1200"/>
              </a:spcAft>
            </a:pPr>
            <a:r>
              <a:rPr lang="en-US" sz="1800" dirty="0" smtClean="0"/>
              <a:t>You can also HiveContext instead of sqlContext</a:t>
            </a:r>
            <a:r>
              <a:rPr lang="en-US" sz="1800" dirty="0"/>
              <a:t>. HiveContext is only packaged separately to avoid including all of Hive’s dependencies in the default Spark </a:t>
            </a:r>
            <a:r>
              <a:rPr lang="en-US" sz="1800" dirty="0" smtClean="0"/>
              <a:t>build</a:t>
            </a:r>
          </a:p>
          <a:p>
            <a:pPr lvl="1">
              <a:spcBef>
                <a:spcPts val="0"/>
              </a:spcBef>
              <a:spcAft>
                <a:spcPts val="0"/>
              </a:spcAft>
            </a:pPr>
            <a:r>
              <a:rPr lang="en-US" sz="1800" dirty="0" smtClean="0"/>
              <a:t>HiveContext has additional features:</a:t>
            </a:r>
          </a:p>
          <a:p>
            <a:pPr lvl="2" indent="-285750">
              <a:buFont typeface="Arial" panose="020B0604020202020204" pitchFamily="34" charset="0"/>
              <a:buChar char="•"/>
            </a:pPr>
            <a:r>
              <a:rPr lang="en-US" sz="160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Write more using the more complete HiveQL parser</a:t>
            </a:r>
          </a:p>
          <a:p>
            <a:pPr lvl="2" indent="-285750">
              <a:buFont typeface="Arial" panose="020B0604020202020204" pitchFamily="34" charset="0"/>
              <a:buChar char="•"/>
            </a:pPr>
            <a:r>
              <a:rPr lang="en-US" sz="160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Access to Hive UDFs</a:t>
            </a:r>
          </a:p>
          <a:p>
            <a:pPr lvl="2" indent="-285750">
              <a:buFont typeface="Arial" panose="020B0604020202020204" pitchFamily="34" charset="0"/>
              <a:buChar char="•"/>
            </a:pPr>
            <a:r>
              <a:rPr lang="en-US" sz="160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Read data from Hive Tables</a:t>
            </a:r>
          </a:p>
          <a:p>
            <a:pPr lvl="1" indent="-285750">
              <a:spcBef>
                <a:spcPts val="1200"/>
              </a:spcBef>
              <a:buFont typeface="Arial" panose="020B0604020202020204" pitchFamily="34" charset="0"/>
              <a:buChar char="•"/>
            </a:pPr>
            <a:r>
              <a:rPr lang="en-US" sz="1800" dirty="0" smtClean="0">
                <a:solidFill>
                  <a:schemeClr val="tx1">
                    <a:lumMod val="75000"/>
                    <a:lumOff val="25000"/>
                  </a:schemeClr>
                </a:solidFill>
              </a:rPr>
              <a:t>Use the </a:t>
            </a:r>
            <a:r>
              <a:rPr lang="en-US" sz="1800" i="1" dirty="0" smtClean="0">
                <a:solidFill>
                  <a:schemeClr val="tx1">
                    <a:lumMod val="75000"/>
                    <a:lumOff val="25000"/>
                  </a:schemeClr>
                </a:solidFill>
              </a:rPr>
              <a:t>spark.sql.dialect</a:t>
            </a:r>
            <a:r>
              <a:rPr lang="en-US" sz="1800" dirty="0" smtClean="0">
                <a:solidFill>
                  <a:schemeClr val="tx1">
                    <a:lumMod val="75000"/>
                    <a:lumOff val="25000"/>
                  </a:schemeClr>
                </a:solidFill>
              </a:rPr>
              <a:t> option to select the specific variant of SQL used</a:t>
            </a:r>
          </a:p>
          <a:p>
            <a:pPr lvl="2" indent="-285750">
              <a:buFont typeface="Arial" panose="020B0604020202020204" pitchFamily="34" charset="0"/>
              <a:buChar char="•"/>
            </a:pPr>
            <a:r>
              <a:rPr lang="en-US" sz="160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For SQLContext the only option is “sql”</a:t>
            </a:r>
          </a:p>
          <a:p>
            <a:pPr lvl="2" indent="-285750">
              <a:buFont typeface="Arial" panose="020B0604020202020204" pitchFamily="34" charset="0"/>
              <a:buChar char="•"/>
            </a:pPr>
            <a:r>
              <a:rPr lang="en-US" sz="160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For HiveContext the only option is “hiveql”</a:t>
            </a:r>
          </a:p>
        </p:txBody>
      </p:sp>
    </p:spTree>
    <p:extLst>
      <p:ext uri="{BB962C8B-B14F-4D97-AF65-F5344CB8AC3E}">
        <p14:creationId xmlns:p14="http://schemas.microsoft.com/office/powerpoint/2010/main" val="626704202"/>
      </p:ext>
    </p:extLst>
  </p:cSld>
  <p:clrMapOvr>
    <a:masterClrMapping/>
  </p:clrMapOvr>
  <p:transition spd="med">
    <p:fade/>
  </p:transition>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re Abstraction - DataFrames</a:t>
            </a:r>
            <a:endParaRPr lang="en-US" dirty="0"/>
          </a:p>
        </p:txBody>
      </p:sp>
      <p:sp>
        <p:nvSpPr>
          <p:cNvPr id="3" name="Slide Number Placeholder 2"/>
          <p:cNvSpPr>
            <a:spLocks noGrp="1"/>
          </p:cNvSpPr>
          <p:nvPr>
            <p:ph type="sldNum" sz="quarter" idx="11"/>
          </p:nvPr>
        </p:nvSpPr>
        <p:spPr/>
        <p:txBody>
          <a:bodyPr/>
          <a:lstStyle/>
          <a:p>
            <a:pPr>
              <a:defRPr/>
            </a:pPr>
            <a:fld id="{F8A0AC42-AA1D-4944-8D96-660DE70C7E1B}" type="slidenum">
              <a:rPr lang="en-US" smtClean="0"/>
              <a:pPr>
                <a:defRPr/>
              </a:pPr>
              <a:t>43</a:t>
            </a:fld>
            <a:endParaRPr lang="en-US" dirty="0"/>
          </a:p>
        </p:txBody>
      </p:sp>
      <p:sp>
        <p:nvSpPr>
          <p:cNvPr id="4" name="TextBox 3"/>
          <p:cNvSpPr txBox="1"/>
          <p:nvPr/>
        </p:nvSpPr>
        <p:spPr>
          <a:xfrm>
            <a:off x="552893" y="1349304"/>
            <a:ext cx="4943218" cy="3954929"/>
          </a:xfrm>
          <a:prstGeom prst="rect">
            <a:avLst/>
          </a:prstGeom>
          <a:solidFill>
            <a:schemeClr val="bg1"/>
          </a:solidFill>
          <a:ln>
            <a:noFill/>
          </a:ln>
        </p:spPr>
        <p:txBody>
          <a:bodyPr wrap="square">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2"/>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lvl="1">
              <a:spcBef>
                <a:spcPts val="600"/>
              </a:spcBef>
            </a:pPr>
            <a:r>
              <a:rPr lang="en-US" sz="2000" dirty="0" smtClean="0"/>
              <a:t>Is a distributed collection data organized into named columns.</a:t>
            </a:r>
          </a:p>
          <a:p>
            <a:pPr lvl="1">
              <a:spcBef>
                <a:spcPts val="600"/>
              </a:spcBef>
            </a:pPr>
            <a:r>
              <a:rPr lang="en-US" sz="2000" dirty="0" smtClean="0"/>
              <a:t>Think of them as </a:t>
            </a:r>
            <a:r>
              <a:rPr lang="en-US" sz="2000" i="1" dirty="0" smtClean="0"/>
              <a:t>RDDs with schema</a:t>
            </a:r>
          </a:p>
          <a:p>
            <a:pPr lvl="1">
              <a:spcBef>
                <a:spcPts val="600"/>
              </a:spcBef>
            </a:pPr>
            <a:r>
              <a:rPr lang="en-US" sz="2000" dirty="0" smtClean="0"/>
              <a:t>Conceptually equivalent to </a:t>
            </a:r>
            <a:r>
              <a:rPr lang="en-US" sz="2000" i="1" dirty="0" smtClean="0"/>
              <a:t>tables in a relational database </a:t>
            </a:r>
            <a:r>
              <a:rPr lang="en-US" sz="2000" dirty="0" smtClean="0"/>
              <a:t>or </a:t>
            </a:r>
            <a:r>
              <a:rPr lang="en-US" sz="2000" i="1" dirty="0" smtClean="0"/>
              <a:t>data frames in R/Python</a:t>
            </a:r>
          </a:p>
          <a:p>
            <a:pPr lvl="1">
              <a:spcBef>
                <a:spcPts val="600"/>
              </a:spcBef>
            </a:pPr>
            <a:r>
              <a:rPr lang="en-US" sz="2000" i="1" dirty="0" smtClean="0"/>
              <a:t>Domain-specific functions designed for common tasks</a:t>
            </a:r>
          </a:p>
          <a:p>
            <a:pPr lvl="2" indent="-342900">
              <a:buFont typeface="Arial" panose="020B0604020202020204" pitchFamily="34" charset="0"/>
              <a:buChar char="•"/>
            </a:pPr>
            <a:r>
              <a:rPr lang="en-US" dirty="0" smtClean="0">
                <a:ln>
                  <a:solidFill>
                    <a:srgbClr val="FFFFFF">
                      <a:alpha val="0"/>
                    </a:srgbClr>
                  </a:solidFill>
                </a:ln>
                <a:gradFill>
                  <a:gsLst>
                    <a:gs pos="85321">
                      <a:srgbClr val="505050"/>
                    </a:gs>
                    <a:gs pos="57000">
                      <a:srgbClr val="505050"/>
                    </a:gs>
                  </a:gsLst>
                </a:gradFill>
                <a:ea typeface="Segoe UI" pitchFamily="34" charset="0"/>
                <a:cs typeface="Segoe UI" pitchFamily="34" charset="0"/>
              </a:rPr>
              <a:t>Metadata</a:t>
            </a:r>
            <a:endParaRPr lang="en-US" dirty="0">
              <a:ln>
                <a:solidFill>
                  <a:srgbClr val="FFFFFF">
                    <a:alpha val="0"/>
                  </a:srgbClr>
                </a:solidFill>
              </a:ln>
              <a:gradFill>
                <a:gsLst>
                  <a:gs pos="85321">
                    <a:srgbClr val="505050"/>
                  </a:gs>
                  <a:gs pos="57000">
                    <a:srgbClr val="505050"/>
                  </a:gs>
                </a:gsLst>
              </a:gradFill>
              <a:ea typeface="Segoe UI" pitchFamily="34" charset="0"/>
              <a:cs typeface="Segoe UI" pitchFamily="34" charset="0"/>
            </a:endParaRPr>
          </a:p>
          <a:p>
            <a:pPr lvl="2" indent="-342900">
              <a:buFont typeface="Arial" panose="020B0604020202020204" pitchFamily="34" charset="0"/>
              <a:buChar char="•"/>
            </a:pPr>
            <a:r>
              <a:rPr lang="en-US" dirty="0">
                <a:ln>
                  <a:solidFill>
                    <a:srgbClr val="FFFFFF">
                      <a:alpha val="0"/>
                    </a:srgbClr>
                  </a:solidFill>
                </a:ln>
                <a:gradFill>
                  <a:gsLst>
                    <a:gs pos="85321">
                      <a:srgbClr val="505050"/>
                    </a:gs>
                    <a:gs pos="57000">
                      <a:srgbClr val="505050"/>
                    </a:gs>
                  </a:gsLst>
                </a:gradFill>
                <a:ea typeface="Segoe UI" pitchFamily="34" charset="0"/>
                <a:cs typeface="Segoe UI" pitchFamily="34" charset="0"/>
              </a:rPr>
              <a:t>Sampling</a:t>
            </a:r>
          </a:p>
          <a:p>
            <a:pPr lvl="2" indent="-342900">
              <a:buFont typeface="Arial" panose="020B0604020202020204" pitchFamily="34" charset="0"/>
              <a:buChar char="•"/>
            </a:pPr>
            <a:r>
              <a:rPr lang="en-US" dirty="0">
                <a:ln>
                  <a:solidFill>
                    <a:srgbClr val="FFFFFF">
                      <a:alpha val="0"/>
                    </a:srgbClr>
                  </a:solidFill>
                </a:ln>
                <a:gradFill>
                  <a:gsLst>
                    <a:gs pos="85321">
                      <a:srgbClr val="505050"/>
                    </a:gs>
                    <a:gs pos="57000">
                      <a:srgbClr val="505050"/>
                    </a:gs>
                  </a:gsLst>
                </a:gradFill>
                <a:ea typeface="Segoe UI" pitchFamily="34" charset="0"/>
                <a:cs typeface="Segoe UI" pitchFamily="34" charset="0"/>
              </a:rPr>
              <a:t>Project, filter, aggregation, join …</a:t>
            </a:r>
          </a:p>
          <a:p>
            <a:pPr lvl="2" indent="-342900">
              <a:buFont typeface="Arial" panose="020B0604020202020204" pitchFamily="34" charset="0"/>
              <a:buChar char="•"/>
            </a:pPr>
            <a:r>
              <a:rPr lang="en-US" dirty="0" smtClean="0">
                <a:ln>
                  <a:solidFill>
                    <a:srgbClr val="FFFFFF">
                      <a:alpha val="0"/>
                    </a:srgbClr>
                  </a:solidFill>
                </a:ln>
                <a:gradFill>
                  <a:gsLst>
                    <a:gs pos="85321">
                      <a:srgbClr val="505050"/>
                    </a:gs>
                    <a:gs pos="57000">
                      <a:srgbClr val="505050"/>
                    </a:gs>
                  </a:gsLst>
                </a:gradFill>
                <a:ea typeface="Segoe UI" pitchFamily="34" charset="0"/>
                <a:cs typeface="Segoe UI" pitchFamily="34" charset="0"/>
              </a:rPr>
              <a:t>UDFs</a:t>
            </a:r>
            <a:endParaRPr lang="en-US" dirty="0">
              <a:ln>
                <a:solidFill>
                  <a:srgbClr val="FFFFFF">
                    <a:alpha val="0"/>
                  </a:srgbClr>
                </a:solidFill>
              </a:ln>
              <a:gradFill>
                <a:gsLst>
                  <a:gs pos="85321">
                    <a:srgbClr val="505050"/>
                  </a:gs>
                  <a:gs pos="57000">
                    <a:srgbClr val="505050"/>
                  </a:gs>
                </a:gsLst>
              </a:gradFill>
              <a:ea typeface="Segoe UI" pitchFamily="34" charset="0"/>
              <a:cs typeface="Segoe UI" pitchFamily="34" charset="0"/>
            </a:endParaRPr>
          </a:p>
        </p:txBody>
      </p:sp>
      <p:sp>
        <p:nvSpPr>
          <p:cNvPr id="5" name="Rounded Rectangle 4"/>
          <p:cNvSpPr/>
          <p:nvPr/>
        </p:nvSpPr>
        <p:spPr bwMode="auto">
          <a:xfrm>
            <a:off x="7789761" y="1446828"/>
            <a:ext cx="1215342" cy="625033"/>
          </a:xfrm>
          <a:prstGeom prst="round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000" dirty="0" smtClean="0">
                <a:solidFill>
                  <a:schemeClr val="bg1"/>
                </a:solidFill>
                <a:ea typeface="Segoe UI" pitchFamily="34" charset="0"/>
                <a:cs typeface="Segoe UI" pitchFamily="34" charset="0"/>
              </a:rPr>
              <a:t>User</a:t>
            </a:r>
          </a:p>
        </p:txBody>
      </p:sp>
      <p:sp>
        <p:nvSpPr>
          <p:cNvPr id="6" name="Rounded Rectangle 5"/>
          <p:cNvSpPr/>
          <p:nvPr/>
        </p:nvSpPr>
        <p:spPr bwMode="auto">
          <a:xfrm>
            <a:off x="9053330" y="1446827"/>
            <a:ext cx="1215342" cy="625033"/>
          </a:xfrm>
          <a:prstGeom prst="round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000" dirty="0" smtClean="0">
                <a:solidFill>
                  <a:schemeClr val="bg1"/>
                </a:solidFill>
                <a:ea typeface="Segoe UI" pitchFamily="34" charset="0"/>
                <a:cs typeface="Segoe UI" pitchFamily="34" charset="0"/>
              </a:rPr>
              <a:t>User</a:t>
            </a:r>
          </a:p>
        </p:txBody>
      </p:sp>
      <p:sp>
        <p:nvSpPr>
          <p:cNvPr id="7" name="Rounded Rectangle 6"/>
          <p:cNvSpPr/>
          <p:nvPr/>
        </p:nvSpPr>
        <p:spPr bwMode="auto">
          <a:xfrm>
            <a:off x="10316899" y="1446826"/>
            <a:ext cx="1215342" cy="625033"/>
          </a:xfrm>
          <a:prstGeom prst="round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000" dirty="0" smtClean="0">
                <a:solidFill>
                  <a:schemeClr val="bg1"/>
                </a:solidFill>
                <a:ea typeface="Segoe UI" pitchFamily="34" charset="0"/>
                <a:cs typeface="Segoe UI" pitchFamily="34" charset="0"/>
              </a:rPr>
              <a:t>User</a:t>
            </a:r>
          </a:p>
        </p:txBody>
      </p:sp>
      <p:sp>
        <p:nvSpPr>
          <p:cNvPr id="8" name="Rounded Rectangle 7"/>
          <p:cNvSpPr/>
          <p:nvPr/>
        </p:nvSpPr>
        <p:spPr bwMode="auto">
          <a:xfrm>
            <a:off x="7803261" y="2120088"/>
            <a:ext cx="1215342" cy="625033"/>
          </a:xfrm>
          <a:prstGeom prst="round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000" dirty="0" smtClean="0">
                <a:solidFill>
                  <a:schemeClr val="bg1"/>
                </a:solidFill>
                <a:ea typeface="Segoe UI" pitchFamily="34" charset="0"/>
                <a:cs typeface="Segoe UI" pitchFamily="34" charset="0"/>
              </a:rPr>
              <a:t>User</a:t>
            </a:r>
          </a:p>
        </p:txBody>
      </p:sp>
      <p:sp>
        <p:nvSpPr>
          <p:cNvPr id="9" name="Rounded Rectangle 8"/>
          <p:cNvSpPr/>
          <p:nvPr/>
        </p:nvSpPr>
        <p:spPr bwMode="auto">
          <a:xfrm>
            <a:off x="9066830" y="2120087"/>
            <a:ext cx="1215342" cy="625033"/>
          </a:xfrm>
          <a:prstGeom prst="round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000" dirty="0" smtClean="0">
                <a:solidFill>
                  <a:schemeClr val="bg1"/>
                </a:solidFill>
                <a:ea typeface="Segoe UI" pitchFamily="34" charset="0"/>
                <a:cs typeface="Segoe UI" pitchFamily="34" charset="0"/>
              </a:rPr>
              <a:t>User</a:t>
            </a:r>
          </a:p>
        </p:txBody>
      </p:sp>
      <p:sp>
        <p:nvSpPr>
          <p:cNvPr id="10" name="Rounded Rectangle 9"/>
          <p:cNvSpPr/>
          <p:nvPr/>
        </p:nvSpPr>
        <p:spPr bwMode="auto">
          <a:xfrm>
            <a:off x="10330399" y="2120086"/>
            <a:ext cx="1215342" cy="625033"/>
          </a:xfrm>
          <a:prstGeom prst="round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000" dirty="0" smtClean="0">
                <a:solidFill>
                  <a:schemeClr val="bg1"/>
                </a:solidFill>
                <a:ea typeface="Segoe UI" pitchFamily="34" charset="0"/>
                <a:cs typeface="Segoe UI" pitchFamily="34" charset="0"/>
              </a:rPr>
              <a:t>User</a:t>
            </a:r>
          </a:p>
        </p:txBody>
      </p:sp>
      <p:grpSp>
        <p:nvGrpSpPr>
          <p:cNvPr id="35" name="Group 34"/>
          <p:cNvGrpSpPr/>
          <p:nvPr/>
        </p:nvGrpSpPr>
        <p:grpSpPr>
          <a:xfrm>
            <a:off x="7836061" y="3105883"/>
            <a:ext cx="3649880" cy="1483551"/>
            <a:chOff x="7895861" y="4289552"/>
            <a:chExt cx="3649880" cy="1483551"/>
          </a:xfrm>
        </p:grpSpPr>
        <p:grpSp>
          <p:nvGrpSpPr>
            <p:cNvPr id="23" name="Group 22"/>
            <p:cNvGrpSpPr/>
            <p:nvPr/>
          </p:nvGrpSpPr>
          <p:grpSpPr>
            <a:xfrm>
              <a:off x="7895861" y="4289552"/>
              <a:ext cx="3649880" cy="486137"/>
              <a:chOff x="7882360" y="3292089"/>
              <a:chExt cx="3649880" cy="486137"/>
            </a:xfrm>
          </p:grpSpPr>
          <p:sp>
            <p:nvSpPr>
              <p:cNvPr id="24" name="Rectangle 23"/>
              <p:cNvSpPr/>
              <p:nvPr/>
            </p:nvSpPr>
            <p:spPr bwMode="auto">
              <a:xfrm>
                <a:off x="7882360" y="3292089"/>
                <a:ext cx="1184470" cy="48613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000" dirty="0" smtClean="0">
                    <a:solidFill>
                      <a:schemeClr val="bg1"/>
                    </a:solidFill>
                    <a:ea typeface="Segoe UI" pitchFamily="34" charset="0"/>
                    <a:cs typeface="Segoe UI" pitchFamily="34" charset="0"/>
                  </a:rPr>
                  <a:t>Name</a:t>
                </a:r>
              </a:p>
            </p:txBody>
          </p:sp>
          <p:sp>
            <p:nvSpPr>
              <p:cNvPr id="25" name="Rectangle 24"/>
              <p:cNvSpPr/>
              <p:nvPr/>
            </p:nvSpPr>
            <p:spPr bwMode="auto">
              <a:xfrm>
                <a:off x="9066830" y="3292089"/>
                <a:ext cx="1250069" cy="486137"/>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000" dirty="0" smtClean="0">
                    <a:solidFill>
                      <a:schemeClr val="bg1"/>
                    </a:solidFill>
                    <a:ea typeface="Segoe UI" pitchFamily="34" charset="0"/>
                    <a:cs typeface="Segoe UI" pitchFamily="34" charset="0"/>
                  </a:rPr>
                  <a:t>Age</a:t>
                </a:r>
              </a:p>
            </p:txBody>
          </p:sp>
          <p:sp>
            <p:nvSpPr>
              <p:cNvPr id="26" name="Rectangle 25"/>
              <p:cNvSpPr/>
              <p:nvPr/>
            </p:nvSpPr>
            <p:spPr bwMode="auto">
              <a:xfrm>
                <a:off x="10330399" y="3292089"/>
                <a:ext cx="1201841" cy="486137"/>
              </a:xfrm>
              <a:prstGeom prst="rect">
                <a:avLst/>
              </a:prstGeom>
              <a:solidFill>
                <a:schemeClr val="accent6">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000" dirty="0" smtClean="0">
                    <a:solidFill>
                      <a:schemeClr val="bg1"/>
                    </a:solidFill>
                    <a:ea typeface="Segoe UI" pitchFamily="34" charset="0"/>
                    <a:cs typeface="Segoe UI" pitchFamily="34" charset="0"/>
                  </a:rPr>
                  <a:t>Sex</a:t>
                </a:r>
              </a:p>
            </p:txBody>
          </p:sp>
        </p:grpSp>
        <p:grpSp>
          <p:nvGrpSpPr>
            <p:cNvPr id="27" name="Group 26"/>
            <p:cNvGrpSpPr/>
            <p:nvPr/>
          </p:nvGrpSpPr>
          <p:grpSpPr>
            <a:xfrm>
              <a:off x="7895861" y="4789197"/>
              <a:ext cx="3649880" cy="486137"/>
              <a:chOff x="7882360" y="3292089"/>
              <a:chExt cx="3649880" cy="486137"/>
            </a:xfrm>
          </p:grpSpPr>
          <p:sp>
            <p:nvSpPr>
              <p:cNvPr id="28" name="Rectangle 27"/>
              <p:cNvSpPr/>
              <p:nvPr/>
            </p:nvSpPr>
            <p:spPr bwMode="auto">
              <a:xfrm>
                <a:off x="7882360" y="3292089"/>
                <a:ext cx="1184470" cy="48613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000" dirty="0" smtClean="0">
                    <a:solidFill>
                      <a:schemeClr val="bg1"/>
                    </a:solidFill>
                    <a:ea typeface="Segoe UI" pitchFamily="34" charset="0"/>
                    <a:cs typeface="Segoe UI" pitchFamily="34" charset="0"/>
                  </a:rPr>
                  <a:t>Name</a:t>
                </a:r>
              </a:p>
            </p:txBody>
          </p:sp>
          <p:sp>
            <p:nvSpPr>
              <p:cNvPr id="29" name="Rectangle 28"/>
              <p:cNvSpPr/>
              <p:nvPr/>
            </p:nvSpPr>
            <p:spPr bwMode="auto">
              <a:xfrm>
                <a:off x="9066830" y="3292089"/>
                <a:ext cx="1250069" cy="486137"/>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000" dirty="0" smtClean="0">
                    <a:solidFill>
                      <a:schemeClr val="bg1"/>
                    </a:solidFill>
                    <a:ea typeface="Segoe UI" pitchFamily="34" charset="0"/>
                    <a:cs typeface="Segoe UI" pitchFamily="34" charset="0"/>
                  </a:rPr>
                  <a:t>Age</a:t>
                </a:r>
              </a:p>
            </p:txBody>
          </p:sp>
          <p:sp>
            <p:nvSpPr>
              <p:cNvPr id="30" name="Rectangle 29"/>
              <p:cNvSpPr/>
              <p:nvPr/>
            </p:nvSpPr>
            <p:spPr bwMode="auto">
              <a:xfrm>
                <a:off x="10330399" y="3292089"/>
                <a:ext cx="1201841" cy="486137"/>
              </a:xfrm>
              <a:prstGeom prst="rect">
                <a:avLst/>
              </a:prstGeom>
              <a:solidFill>
                <a:schemeClr val="accent6">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000" dirty="0" smtClean="0">
                    <a:solidFill>
                      <a:schemeClr val="bg1"/>
                    </a:solidFill>
                    <a:ea typeface="Segoe UI" pitchFamily="34" charset="0"/>
                    <a:cs typeface="Segoe UI" pitchFamily="34" charset="0"/>
                  </a:rPr>
                  <a:t>Sex</a:t>
                </a:r>
              </a:p>
            </p:txBody>
          </p:sp>
        </p:grpSp>
        <p:grpSp>
          <p:nvGrpSpPr>
            <p:cNvPr id="31" name="Group 30"/>
            <p:cNvGrpSpPr/>
            <p:nvPr/>
          </p:nvGrpSpPr>
          <p:grpSpPr>
            <a:xfrm>
              <a:off x="7895861" y="5286966"/>
              <a:ext cx="3649880" cy="486137"/>
              <a:chOff x="7882360" y="3292089"/>
              <a:chExt cx="3649880" cy="486137"/>
            </a:xfrm>
          </p:grpSpPr>
          <p:sp>
            <p:nvSpPr>
              <p:cNvPr id="32" name="Rectangle 31"/>
              <p:cNvSpPr/>
              <p:nvPr/>
            </p:nvSpPr>
            <p:spPr bwMode="auto">
              <a:xfrm>
                <a:off x="7882360" y="3292089"/>
                <a:ext cx="1184470" cy="48613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000" dirty="0" smtClean="0">
                    <a:solidFill>
                      <a:schemeClr val="bg1"/>
                    </a:solidFill>
                    <a:ea typeface="Segoe UI" pitchFamily="34" charset="0"/>
                    <a:cs typeface="Segoe UI" pitchFamily="34" charset="0"/>
                  </a:rPr>
                  <a:t>Name</a:t>
                </a:r>
              </a:p>
            </p:txBody>
          </p:sp>
          <p:sp>
            <p:nvSpPr>
              <p:cNvPr id="33" name="Rectangle 32"/>
              <p:cNvSpPr/>
              <p:nvPr/>
            </p:nvSpPr>
            <p:spPr bwMode="auto">
              <a:xfrm>
                <a:off x="9066830" y="3292089"/>
                <a:ext cx="1250069" cy="486137"/>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000" dirty="0" smtClean="0">
                    <a:solidFill>
                      <a:schemeClr val="bg1"/>
                    </a:solidFill>
                    <a:ea typeface="Segoe UI" pitchFamily="34" charset="0"/>
                    <a:cs typeface="Segoe UI" pitchFamily="34" charset="0"/>
                  </a:rPr>
                  <a:t>Age</a:t>
                </a:r>
              </a:p>
            </p:txBody>
          </p:sp>
          <p:sp>
            <p:nvSpPr>
              <p:cNvPr id="34" name="Rectangle 33"/>
              <p:cNvSpPr/>
              <p:nvPr/>
            </p:nvSpPr>
            <p:spPr bwMode="auto">
              <a:xfrm>
                <a:off x="10330399" y="3292089"/>
                <a:ext cx="1201841" cy="486137"/>
              </a:xfrm>
              <a:prstGeom prst="rect">
                <a:avLst/>
              </a:prstGeom>
              <a:solidFill>
                <a:schemeClr val="accent6">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000" dirty="0" smtClean="0">
                    <a:solidFill>
                      <a:schemeClr val="bg1"/>
                    </a:solidFill>
                    <a:ea typeface="Segoe UI" pitchFamily="34" charset="0"/>
                    <a:cs typeface="Segoe UI" pitchFamily="34" charset="0"/>
                  </a:rPr>
                  <a:t>Sex</a:t>
                </a:r>
              </a:p>
            </p:txBody>
          </p:sp>
        </p:grpSp>
      </p:grpSp>
      <p:grpSp>
        <p:nvGrpSpPr>
          <p:cNvPr id="40" name="Group 39"/>
          <p:cNvGrpSpPr/>
          <p:nvPr/>
        </p:nvGrpSpPr>
        <p:grpSpPr>
          <a:xfrm>
            <a:off x="7837991" y="4681969"/>
            <a:ext cx="3649880" cy="1483551"/>
            <a:chOff x="7895861" y="4289552"/>
            <a:chExt cx="3649880" cy="1483551"/>
          </a:xfrm>
        </p:grpSpPr>
        <p:grpSp>
          <p:nvGrpSpPr>
            <p:cNvPr id="41" name="Group 40"/>
            <p:cNvGrpSpPr/>
            <p:nvPr/>
          </p:nvGrpSpPr>
          <p:grpSpPr>
            <a:xfrm>
              <a:off x="7895861" y="4289552"/>
              <a:ext cx="3649880" cy="486137"/>
              <a:chOff x="7882360" y="3292089"/>
              <a:chExt cx="3649880" cy="486137"/>
            </a:xfrm>
          </p:grpSpPr>
          <p:sp>
            <p:nvSpPr>
              <p:cNvPr id="50" name="Rectangle 49"/>
              <p:cNvSpPr/>
              <p:nvPr/>
            </p:nvSpPr>
            <p:spPr bwMode="auto">
              <a:xfrm>
                <a:off x="7882360" y="3292089"/>
                <a:ext cx="1184470" cy="48613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000" dirty="0" smtClean="0">
                    <a:solidFill>
                      <a:schemeClr val="bg1"/>
                    </a:solidFill>
                    <a:ea typeface="Segoe UI" pitchFamily="34" charset="0"/>
                    <a:cs typeface="Segoe UI" pitchFamily="34" charset="0"/>
                  </a:rPr>
                  <a:t>Name</a:t>
                </a:r>
              </a:p>
            </p:txBody>
          </p:sp>
          <p:sp>
            <p:nvSpPr>
              <p:cNvPr id="51" name="Rectangle 50"/>
              <p:cNvSpPr/>
              <p:nvPr/>
            </p:nvSpPr>
            <p:spPr bwMode="auto">
              <a:xfrm>
                <a:off x="9066830" y="3292089"/>
                <a:ext cx="1250069" cy="486137"/>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000" dirty="0" smtClean="0">
                    <a:solidFill>
                      <a:schemeClr val="bg1"/>
                    </a:solidFill>
                    <a:ea typeface="Segoe UI" pitchFamily="34" charset="0"/>
                    <a:cs typeface="Segoe UI" pitchFamily="34" charset="0"/>
                  </a:rPr>
                  <a:t>Age</a:t>
                </a:r>
              </a:p>
            </p:txBody>
          </p:sp>
          <p:sp>
            <p:nvSpPr>
              <p:cNvPr id="52" name="Rectangle 51"/>
              <p:cNvSpPr/>
              <p:nvPr/>
            </p:nvSpPr>
            <p:spPr bwMode="auto">
              <a:xfrm>
                <a:off x="10330399" y="3292089"/>
                <a:ext cx="1201841" cy="486137"/>
              </a:xfrm>
              <a:prstGeom prst="rect">
                <a:avLst/>
              </a:prstGeom>
              <a:solidFill>
                <a:schemeClr val="accent6">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000" dirty="0" smtClean="0">
                    <a:solidFill>
                      <a:schemeClr val="bg1"/>
                    </a:solidFill>
                    <a:ea typeface="Segoe UI" pitchFamily="34" charset="0"/>
                    <a:cs typeface="Segoe UI" pitchFamily="34" charset="0"/>
                  </a:rPr>
                  <a:t>Sex</a:t>
                </a:r>
              </a:p>
            </p:txBody>
          </p:sp>
        </p:grpSp>
        <p:grpSp>
          <p:nvGrpSpPr>
            <p:cNvPr id="42" name="Group 41"/>
            <p:cNvGrpSpPr/>
            <p:nvPr/>
          </p:nvGrpSpPr>
          <p:grpSpPr>
            <a:xfrm>
              <a:off x="7895861" y="4789197"/>
              <a:ext cx="3649880" cy="486137"/>
              <a:chOff x="7882360" y="3292089"/>
              <a:chExt cx="3649880" cy="486137"/>
            </a:xfrm>
          </p:grpSpPr>
          <p:sp>
            <p:nvSpPr>
              <p:cNvPr id="47" name="Rectangle 46"/>
              <p:cNvSpPr/>
              <p:nvPr/>
            </p:nvSpPr>
            <p:spPr bwMode="auto">
              <a:xfrm>
                <a:off x="7882360" y="3292089"/>
                <a:ext cx="1184470" cy="48613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000" dirty="0" smtClean="0">
                    <a:solidFill>
                      <a:schemeClr val="bg1"/>
                    </a:solidFill>
                    <a:ea typeface="Segoe UI" pitchFamily="34" charset="0"/>
                    <a:cs typeface="Segoe UI" pitchFamily="34" charset="0"/>
                  </a:rPr>
                  <a:t>Name</a:t>
                </a:r>
              </a:p>
            </p:txBody>
          </p:sp>
          <p:sp>
            <p:nvSpPr>
              <p:cNvPr id="48" name="Rectangle 47"/>
              <p:cNvSpPr/>
              <p:nvPr/>
            </p:nvSpPr>
            <p:spPr bwMode="auto">
              <a:xfrm>
                <a:off x="9066830" y="3292089"/>
                <a:ext cx="1250069" cy="486137"/>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000" dirty="0" smtClean="0">
                    <a:solidFill>
                      <a:schemeClr val="bg1"/>
                    </a:solidFill>
                    <a:ea typeface="Segoe UI" pitchFamily="34" charset="0"/>
                    <a:cs typeface="Segoe UI" pitchFamily="34" charset="0"/>
                  </a:rPr>
                  <a:t>Age</a:t>
                </a:r>
              </a:p>
            </p:txBody>
          </p:sp>
          <p:sp>
            <p:nvSpPr>
              <p:cNvPr id="49" name="Rectangle 48"/>
              <p:cNvSpPr/>
              <p:nvPr/>
            </p:nvSpPr>
            <p:spPr bwMode="auto">
              <a:xfrm>
                <a:off x="10330399" y="3292089"/>
                <a:ext cx="1201841" cy="486137"/>
              </a:xfrm>
              <a:prstGeom prst="rect">
                <a:avLst/>
              </a:prstGeom>
              <a:solidFill>
                <a:schemeClr val="accent6">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000" dirty="0" smtClean="0">
                    <a:solidFill>
                      <a:schemeClr val="bg1"/>
                    </a:solidFill>
                    <a:ea typeface="Segoe UI" pitchFamily="34" charset="0"/>
                    <a:cs typeface="Segoe UI" pitchFamily="34" charset="0"/>
                  </a:rPr>
                  <a:t>Sex</a:t>
                </a:r>
              </a:p>
            </p:txBody>
          </p:sp>
        </p:grpSp>
        <p:grpSp>
          <p:nvGrpSpPr>
            <p:cNvPr id="43" name="Group 42"/>
            <p:cNvGrpSpPr/>
            <p:nvPr/>
          </p:nvGrpSpPr>
          <p:grpSpPr>
            <a:xfrm>
              <a:off x="7895861" y="5286966"/>
              <a:ext cx="3649880" cy="486137"/>
              <a:chOff x="7882360" y="3292089"/>
              <a:chExt cx="3649880" cy="486137"/>
            </a:xfrm>
          </p:grpSpPr>
          <p:sp>
            <p:nvSpPr>
              <p:cNvPr id="44" name="Rectangle 43"/>
              <p:cNvSpPr/>
              <p:nvPr/>
            </p:nvSpPr>
            <p:spPr bwMode="auto">
              <a:xfrm>
                <a:off x="7882360" y="3292089"/>
                <a:ext cx="1184470" cy="48613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000" dirty="0" smtClean="0">
                    <a:solidFill>
                      <a:schemeClr val="bg1"/>
                    </a:solidFill>
                    <a:ea typeface="Segoe UI" pitchFamily="34" charset="0"/>
                    <a:cs typeface="Segoe UI" pitchFamily="34" charset="0"/>
                  </a:rPr>
                  <a:t>Name</a:t>
                </a:r>
              </a:p>
            </p:txBody>
          </p:sp>
          <p:sp>
            <p:nvSpPr>
              <p:cNvPr id="45" name="Rectangle 44"/>
              <p:cNvSpPr/>
              <p:nvPr/>
            </p:nvSpPr>
            <p:spPr bwMode="auto">
              <a:xfrm>
                <a:off x="9066830" y="3292089"/>
                <a:ext cx="1250069" cy="486137"/>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000" dirty="0" smtClean="0">
                    <a:solidFill>
                      <a:schemeClr val="bg1"/>
                    </a:solidFill>
                    <a:ea typeface="Segoe UI" pitchFamily="34" charset="0"/>
                    <a:cs typeface="Segoe UI" pitchFamily="34" charset="0"/>
                  </a:rPr>
                  <a:t>Age</a:t>
                </a:r>
              </a:p>
            </p:txBody>
          </p:sp>
          <p:sp>
            <p:nvSpPr>
              <p:cNvPr id="46" name="Rectangle 45"/>
              <p:cNvSpPr/>
              <p:nvPr/>
            </p:nvSpPr>
            <p:spPr bwMode="auto">
              <a:xfrm>
                <a:off x="10330399" y="3292089"/>
                <a:ext cx="1201841" cy="486137"/>
              </a:xfrm>
              <a:prstGeom prst="rect">
                <a:avLst/>
              </a:prstGeom>
              <a:solidFill>
                <a:schemeClr val="accent6">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000" dirty="0" smtClean="0">
                    <a:solidFill>
                      <a:schemeClr val="bg1"/>
                    </a:solidFill>
                    <a:ea typeface="Segoe UI" pitchFamily="34" charset="0"/>
                    <a:cs typeface="Segoe UI" pitchFamily="34" charset="0"/>
                  </a:rPr>
                  <a:t>Sex</a:t>
                </a:r>
              </a:p>
            </p:txBody>
          </p:sp>
        </p:grpSp>
      </p:grpSp>
      <p:sp>
        <p:nvSpPr>
          <p:cNvPr id="54" name="TextBox 53"/>
          <p:cNvSpPr txBox="1"/>
          <p:nvPr/>
        </p:nvSpPr>
        <p:spPr>
          <a:xfrm>
            <a:off x="5764981" y="1498517"/>
            <a:ext cx="1742411" cy="1449628"/>
          </a:xfrm>
          <a:prstGeom prst="rect">
            <a:avLst/>
          </a:prstGeom>
          <a:solidFill>
            <a:schemeClr val="bg1">
              <a:lumMod val="95000"/>
            </a:schemeClr>
          </a:solidFill>
          <a:ln>
            <a:noFill/>
          </a:ln>
        </p:spPr>
        <p:txBody>
          <a:bodyPr wrap="square">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2"/>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93" lvl="1" indent="0">
              <a:spcBef>
                <a:spcPts val="600"/>
              </a:spcBef>
              <a:buNone/>
            </a:pPr>
            <a:r>
              <a:rPr lang="en-US" sz="1400" i="1" dirty="0" smtClean="0"/>
              <a:t>RDDs are collection of ‘Opaque’ objects (i.e. internal structure notknown to Spark)</a:t>
            </a:r>
          </a:p>
        </p:txBody>
      </p:sp>
      <p:sp>
        <p:nvSpPr>
          <p:cNvPr id="55" name="TextBox 54"/>
          <p:cNvSpPr txBox="1"/>
          <p:nvPr/>
        </p:nvSpPr>
        <p:spPr>
          <a:xfrm>
            <a:off x="5836350" y="4150624"/>
            <a:ext cx="1742411" cy="1061829"/>
          </a:xfrm>
          <a:prstGeom prst="rect">
            <a:avLst/>
          </a:prstGeom>
          <a:solidFill>
            <a:schemeClr val="bg1">
              <a:lumMod val="95000"/>
            </a:schemeClr>
          </a:solidFill>
          <a:ln>
            <a:noFill/>
          </a:ln>
        </p:spPr>
        <p:txBody>
          <a:bodyPr wrap="square">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2"/>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93" lvl="1" indent="0">
              <a:spcBef>
                <a:spcPts val="600"/>
              </a:spcBef>
              <a:buNone/>
            </a:pPr>
            <a:r>
              <a:rPr lang="en-US" sz="1400" i="1" dirty="0" smtClean="0"/>
              <a:t>DataFrames are collection of objects with Schema known to Spark SQL</a:t>
            </a:r>
          </a:p>
        </p:txBody>
      </p:sp>
    </p:spTree>
    <p:extLst>
      <p:ext uri="{BB962C8B-B14F-4D97-AF65-F5344CB8AC3E}">
        <p14:creationId xmlns:p14="http://schemas.microsoft.com/office/powerpoint/2010/main" val="3135104824"/>
      </p:ext>
    </p:extLst>
  </p:cSld>
  <p:clrMapOvr>
    <a:masterClrMapping/>
  </p:clrMapOvr>
  <p:transition spd="med">
    <p:fade/>
  </p:transition>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reating DataFrames from Data Sources</a:t>
            </a:r>
            <a:endParaRPr lang="en-US" dirty="0"/>
          </a:p>
        </p:txBody>
      </p:sp>
      <p:sp>
        <p:nvSpPr>
          <p:cNvPr id="3" name="Slide Number Placeholder 2"/>
          <p:cNvSpPr>
            <a:spLocks noGrp="1"/>
          </p:cNvSpPr>
          <p:nvPr>
            <p:ph type="sldNum" sz="quarter" idx="11"/>
          </p:nvPr>
        </p:nvSpPr>
        <p:spPr/>
        <p:txBody>
          <a:bodyPr/>
          <a:lstStyle/>
          <a:p>
            <a:pPr>
              <a:defRPr/>
            </a:pPr>
            <a:fld id="{F8A0AC42-AA1D-4944-8D96-660DE70C7E1B}" type="slidenum">
              <a:rPr lang="en-US" smtClean="0"/>
              <a:pPr>
                <a:defRPr/>
              </a:pPr>
              <a:t>44</a:t>
            </a:fld>
            <a:endParaRPr lang="en-US" dirty="0"/>
          </a:p>
        </p:txBody>
      </p:sp>
      <p:sp>
        <p:nvSpPr>
          <p:cNvPr id="5" name="TextBox 4"/>
          <p:cNvSpPr txBox="1"/>
          <p:nvPr/>
        </p:nvSpPr>
        <p:spPr>
          <a:xfrm>
            <a:off x="856097" y="2550259"/>
            <a:ext cx="10211295" cy="2118529"/>
          </a:xfrm>
          <a:prstGeom prst="rect">
            <a:avLst/>
          </a:prstGeom>
          <a:solidFill>
            <a:schemeClr val="bg1">
              <a:lumMod val="95000"/>
            </a:schemeClr>
          </a:solidFill>
          <a:ln>
            <a:noFill/>
          </a:ln>
        </p:spPr>
        <p:txBody>
          <a:bodyPr wrap="square">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2"/>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93" lvl="1" indent="0">
              <a:lnSpc>
                <a:spcPts val="2600"/>
              </a:lnSpc>
              <a:spcBef>
                <a:spcPts val="600"/>
              </a:spcBef>
              <a:spcAft>
                <a:spcPts val="1200"/>
              </a:spcAft>
              <a:buNone/>
            </a:pPr>
            <a:r>
              <a:rPr lang="en-US" sz="1600" dirty="0" smtClean="0">
                <a:solidFill>
                  <a:schemeClr val="accent4"/>
                </a:solidFill>
                <a:latin typeface="Arial Narrow" panose="020B0606020202030204" pitchFamily="34" charset="0"/>
              </a:rPr>
              <a:t>&gt;&gt;&gt;</a:t>
            </a:r>
            <a:r>
              <a:rPr lang="en-US" sz="1600" dirty="0" smtClean="0">
                <a:solidFill>
                  <a:schemeClr val="accent2">
                    <a:lumMod val="20000"/>
                    <a:lumOff val="80000"/>
                  </a:schemeClr>
                </a:solidFill>
                <a:latin typeface="Arial Narrow" panose="020B0606020202030204" pitchFamily="34" charset="0"/>
              </a:rPr>
              <a:t> </a:t>
            </a:r>
            <a:r>
              <a:rPr lang="en-US" sz="1600" dirty="0" smtClean="0">
                <a:solidFill>
                  <a:schemeClr val="accent2"/>
                </a:solidFill>
              </a:rPr>
              <a:t>val</a:t>
            </a:r>
            <a:r>
              <a:rPr lang="en-US" sz="1600" dirty="0" smtClean="0">
                <a:solidFill>
                  <a:schemeClr val="accent2">
                    <a:lumMod val="20000"/>
                    <a:lumOff val="80000"/>
                  </a:schemeClr>
                </a:solidFill>
              </a:rPr>
              <a:t> </a:t>
            </a:r>
            <a:r>
              <a:rPr lang="en-US" sz="1600" dirty="0">
                <a:solidFill>
                  <a:schemeClr val="tx1">
                    <a:lumMod val="75000"/>
                    <a:lumOff val="25000"/>
                  </a:schemeClr>
                </a:solidFill>
              </a:rPr>
              <a:t>df = </a:t>
            </a:r>
            <a:r>
              <a:rPr lang="en-US" sz="1600" dirty="0" smtClean="0">
                <a:solidFill>
                  <a:schemeClr val="tx1">
                    <a:lumMod val="75000"/>
                    <a:lumOff val="25000"/>
                  </a:schemeClr>
                </a:solidFill>
              </a:rPr>
              <a:t>sqlContext.jsonFile(”</a:t>
            </a:r>
            <a:r>
              <a:rPr lang="en-US" sz="1600" dirty="0" smtClean="0">
                <a:solidFill>
                  <a:schemeClr val="accent1">
                    <a:lumMod val="50000"/>
                  </a:schemeClr>
                </a:solidFill>
              </a:rPr>
              <a:t>somejasonfile.json</a:t>
            </a:r>
            <a:r>
              <a:rPr lang="en-US" sz="1600" dirty="0" smtClean="0">
                <a:solidFill>
                  <a:schemeClr val="tx1">
                    <a:lumMod val="75000"/>
                    <a:lumOff val="25000"/>
                  </a:schemeClr>
                </a:solidFill>
              </a:rPr>
              <a:t>“)</a:t>
            </a:r>
            <a:r>
              <a:rPr lang="en-US" sz="1600" dirty="0">
                <a:solidFill>
                  <a:schemeClr val="tx1">
                    <a:lumMod val="75000"/>
                    <a:lumOff val="25000"/>
                  </a:schemeClr>
                </a:solidFill>
              </a:rPr>
              <a:t>	</a:t>
            </a:r>
            <a:r>
              <a:rPr lang="en-US" sz="1600" dirty="0" smtClean="0">
                <a:solidFill>
                  <a:schemeClr val="tx1">
                    <a:lumMod val="75000"/>
                    <a:lumOff val="25000"/>
                  </a:schemeClr>
                </a:solidFill>
              </a:rPr>
              <a:t>		      </a:t>
            </a:r>
            <a:r>
              <a:rPr lang="en-US" sz="1600" dirty="0" smtClean="0">
                <a:solidFill>
                  <a:schemeClr val="accent4">
                    <a:lumMod val="75000"/>
                  </a:schemeClr>
                </a:solidFill>
              </a:rPr>
              <a:t>//from JSON file*</a:t>
            </a:r>
          </a:p>
          <a:p>
            <a:pPr marL="110493" lvl="1" indent="0">
              <a:lnSpc>
                <a:spcPts val="2600"/>
              </a:lnSpc>
              <a:spcBef>
                <a:spcPts val="600"/>
              </a:spcBef>
              <a:spcAft>
                <a:spcPts val="1200"/>
              </a:spcAft>
              <a:buNone/>
            </a:pPr>
            <a:r>
              <a:rPr lang="en-US" sz="1600" dirty="0">
                <a:solidFill>
                  <a:schemeClr val="accent4"/>
                </a:solidFill>
                <a:latin typeface="Arial Narrow" panose="020B0606020202030204" pitchFamily="34" charset="0"/>
              </a:rPr>
              <a:t>&gt;&gt;&gt; </a:t>
            </a:r>
            <a:r>
              <a:rPr lang="en-US" sz="1600" dirty="0" smtClean="0">
                <a:solidFill>
                  <a:schemeClr val="accent2"/>
                </a:solidFill>
              </a:rPr>
              <a:t>val</a:t>
            </a:r>
            <a:r>
              <a:rPr lang="en-US" sz="1600" dirty="0" smtClean="0"/>
              <a:t> </a:t>
            </a:r>
            <a:r>
              <a:rPr lang="en-US" sz="1600" dirty="0"/>
              <a:t>df = hiveContext.table</a:t>
            </a:r>
            <a:r>
              <a:rPr lang="en-US" sz="1600" dirty="0" smtClean="0"/>
              <a:t>(”</a:t>
            </a:r>
            <a:r>
              <a:rPr lang="en-US" sz="1600" dirty="0" smtClean="0">
                <a:solidFill>
                  <a:schemeClr val="accent1">
                    <a:lumMod val="50000"/>
                  </a:schemeClr>
                </a:solidFill>
              </a:rPr>
              <a:t>somehivetable</a:t>
            </a:r>
            <a:r>
              <a:rPr lang="en-US" sz="1600" dirty="0" smtClean="0"/>
              <a:t>“)				       </a:t>
            </a:r>
            <a:r>
              <a:rPr lang="en-US" sz="1600" dirty="0" smtClean="0">
                <a:solidFill>
                  <a:schemeClr val="accent4">
                    <a:lumMod val="75000"/>
                  </a:schemeClr>
                </a:solidFill>
              </a:rPr>
              <a:t>//from a  Hive Table</a:t>
            </a:r>
            <a:endParaRPr lang="en-US" sz="1600" dirty="0">
              <a:solidFill>
                <a:schemeClr val="accent4">
                  <a:lumMod val="75000"/>
                </a:schemeClr>
              </a:solidFill>
            </a:endParaRPr>
          </a:p>
          <a:p>
            <a:pPr marL="110493" lvl="1" indent="0">
              <a:lnSpc>
                <a:spcPts val="2600"/>
              </a:lnSpc>
              <a:spcBef>
                <a:spcPts val="600"/>
              </a:spcBef>
              <a:spcAft>
                <a:spcPts val="1200"/>
              </a:spcAft>
              <a:buNone/>
            </a:pPr>
            <a:r>
              <a:rPr lang="en-US" sz="1600" dirty="0">
                <a:solidFill>
                  <a:schemeClr val="accent4"/>
                </a:solidFill>
                <a:latin typeface="Arial Narrow" panose="020B0606020202030204" pitchFamily="34" charset="0"/>
              </a:rPr>
              <a:t>&gt;&gt;&gt; </a:t>
            </a:r>
            <a:r>
              <a:rPr lang="en-US" sz="1600" dirty="0" smtClean="0">
                <a:solidFill>
                  <a:schemeClr val="accent2"/>
                </a:solidFill>
              </a:rPr>
              <a:t>val</a:t>
            </a:r>
            <a:r>
              <a:rPr lang="en-US" sz="1600" dirty="0" smtClean="0">
                <a:solidFill>
                  <a:schemeClr val="tx1">
                    <a:lumMod val="75000"/>
                    <a:lumOff val="25000"/>
                  </a:schemeClr>
                </a:solidFill>
              </a:rPr>
              <a:t> </a:t>
            </a:r>
            <a:r>
              <a:rPr lang="en-US" sz="1600" dirty="0">
                <a:solidFill>
                  <a:schemeClr val="tx1">
                    <a:lumMod val="75000"/>
                    <a:lumOff val="25000"/>
                  </a:schemeClr>
                </a:solidFill>
              </a:rPr>
              <a:t>df = </a:t>
            </a:r>
            <a:r>
              <a:rPr lang="en-US" sz="1600" dirty="0" smtClean="0">
                <a:solidFill>
                  <a:schemeClr val="tx1">
                    <a:lumMod val="75000"/>
                    <a:lumOff val="25000"/>
                  </a:schemeClr>
                </a:solidFill>
              </a:rPr>
              <a:t>sqlContext.parquetFile(”</a:t>
            </a:r>
            <a:r>
              <a:rPr lang="en-US" sz="1600" dirty="0" smtClean="0">
                <a:solidFill>
                  <a:schemeClr val="accent1">
                    <a:lumMod val="50000"/>
                  </a:schemeClr>
                </a:solidFill>
              </a:rPr>
              <a:t>someparquetsource</a:t>
            </a:r>
            <a:r>
              <a:rPr lang="en-US" sz="1600" dirty="0" smtClean="0">
                <a:solidFill>
                  <a:schemeClr val="tx1">
                    <a:lumMod val="75000"/>
                    <a:lumOff val="25000"/>
                  </a:schemeClr>
                </a:solidFill>
              </a:rPr>
              <a:t>“)			       </a:t>
            </a:r>
            <a:r>
              <a:rPr lang="en-US" sz="1600" dirty="0" smtClean="0">
                <a:solidFill>
                  <a:schemeClr val="accent4">
                    <a:lumMod val="75000"/>
                  </a:schemeClr>
                </a:solidFill>
              </a:rPr>
              <a:t>//from a parquet file</a:t>
            </a:r>
            <a:endParaRPr lang="en-US" sz="1600" dirty="0">
              <a:solidFill>
                <a:schemeClr val="accent4">
                  <a:lumMod val="75000"/>
                </a:schemeClr>
              </a:solidFill>
            </a:endParaRPr>
          </a:p>
          <a:p>
            <a:pPr marL="110493" lvl="1" indent="0">
              <a:lnSpc>
                <a:spcPts val="2600"/>
              </a:lnSpc>
              <a:spcBef>
                <a:spcPts val="600"/>
              </a:spcBef>
              <a:spcAft>
                <a:spcPts val="1200"/>
              </a:spcAft>
              <a:buNone/>
            </a:pPr>
            <a:r>
              <a:rPr lang="en-US" sz="1600" dirty="0">
                <a:solidFill>
                  <a:schemeClr val="accent4"/>
                </a:solidFill>
                <a:latin typeface="Arial Narrow" panose="020B0606020202030204" pitchFamily="34" charset="0"/>
              </a:rPr>
              <a:t>&gt;&gt;&gt; </a:t>
            </a:r>
            <a:r>
              <a:rPr lang="en-US" sz="1600" dirty="0" smtClean="0">
                <a:solidFill>
                  <a:schemeClr val="accent2"/>
                </a:solidFill>
                <a:latin typeface="Arial Narrow" panose="020B0606020202030204" pitchFamily="34" charset="0"/>
              </a:rPr>
              <a:t>val</a:t>
            </a:r>
            <a:r>
              <a:rPr lang="en-US" sz="1600" dirty="0" smtClean="0">
                <a:solidFill>
                  <a:schemeClr val="accent4"/>
                </a:solidFill>
                <a:latin typeface="Arial Narrow" panose="020B0606020202030204" pitchFamily="34" charset="0"/>
              </a:rPr>
              <a:t> </a:t>
            </a:r>
            <a:r>
              <a:rPr lang="en-US" sz="1600" dirty="0" smtClean="0">
                <a:solidFill>
                  <a:schemeClr val="tx1">
                    <a:lumMod val="75000"/>
                    <a:lumOff val="25000"/>
                  </a:schemeClr>
                </a:solidFill>
              </a:rPr>
              <a:t>df </a:t>
            </a:r>
            <a:r>
              <a:rPr lang="en-US" sz="1600" dirty="0">
                <a:solidFill>
                  <a:schemeClr val="tx1">
                    <a:lumMod val="75000"/>
                    <a:lumOff val="25000"/>
                  </a:schemeClr>
                </a:solidFill>
              </a:rPr>
              <a:t>= sqlContext.load(source="jdbc", url</a:t>
            </a:r>
            <a:r>
              <a:rPr lang="en-US" sz="1600" dirty="0" smtClean="0">
                <a:solidFill>
                  <a:schemeClr val="tx1">
                    <a:lumMod val="75000"/>
                    <a:lumOff val="25000"/>
                  </a:schemeClr>
                </a:solidFill>
              </a:rPr>
              <a:t>=“UrlToConnect", dbtable=“tablename")</a:t>
            </a:r>
            <a:r>
              <a:rPr lang="en-US" sz="1600" dirty="0" smtClean="0">
                <a:solidFill>
                  <a:schemeClr val="accent4">
                    <a:lumMod val="75000"/>
                  </a:schemeClr>
                </a:solidFill>
              </a:rPr>
              <a:t>//from JDBC source</a:t>
            </a:r>
            <a:endParaRPr lang="en-US" sz="1600" dirty="0">
              <a:solidFill>
                <a:schemeClr val="accent4">
                  <a:lumMod val="75000"/>
                </a:schemeClr>
              </a:solidFill>
            </a:endParaRPr>
          </a:p>
        </p:txBody>
      </p:sp>
      <p:sp>
        <p:nvSpPr>
          <p:cNvPr id="10" name="TextBox 9"/>
          <p:cNvSpPr txBox="1"/>
          <p:nvPr/>
        </p:nvSpPr>
        <p:spPr>
          <a:xfrm>
            <a:off x="675252" y="1423685"/>
            <a:ext cx="10129381" cy="938719"/>
          </a:xfrm>
          <a:prstGeom prst="rect">
            <a:avLst/>
          </a:prstGeom>
          <a:noFill/>
          <a:ln>
            <a:noFill/>
          </a:ln>
        </p:spPr>
        <p:txBody>
          <a:bodyPr wrap="square">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2"/>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93" lvl="1" indent="0">
              <a:lnSpc>
                <a:spcPts val="3300"/>
              </a:lnSpc>
              <a:spcBef>
                <a:spcPts val="600"/>
              </a:spcBef>
              <a:buNone/>
            </a:pPr>
            <a:r>
              <a:rPr lang="en-US" sz="2000" dirty="0" smtClean="0"/>
              <a:t>DataFrames can be created by reading in data from Spark data source, </a:t>
            </a:r>
            <a:r>
              <a:rPr lang="en-US" sz="2000" i="1" dirty="0" smtClean="0"/>
              <a:t>whose schema is understood by spark</a:t>
            </a:r>
            <a:r>
              <a:rPr lang="en-US" sz="2000" dirty="0" smtClean="0"/>
              <a:t>. Examples include JSON files, JDBC source, Parquet, Hive Tables etc. </a:t>
            </a:r>
          </a:p>
        </p:txBody>
      </p:sp>
      <p:sp>
        <p:nvSpPr>
          <p:cNvPr id="14" name="TextBox 13"/>
          <p:cNvSpPr txBox="1"/>
          <p:nvPr/>
        </p:nvSpPr>
        <p:spPr>
          <a:xfrm>
            <a:off x="856098" y="4856643"/>
            <a:ext cx="9615450" cy="677430"/>
          </a:xfrm>
          <a:prstGeom prst="rect">
            <a:avLst/>
          </a:prstGeom>
          <a:noFill/>
          <a:ln>
            <a:noFill/>
          </a:ln>
        </p:spPr>
        <p:txBody>
          <a:bodyPr wrap="square">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2"/>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93" lvl="1" indent="0">
              <a:lnSpc>
                <a:spcPts val="2400"/>
              </a:lnSpc>
              <a:spcBef>
                <a:spcPts val="600"/>
              </a:spcBef>
              <a:buNone/>
            </a:pPr>
            <a:r>
              <a:rPr lang="en-US" sz="1600" dirty="0" smtClean="0">
                <a:solidFill>
                  <a:schemeClr val="accent6">
                    <a:lumMod val="50000"/>
                  </a:schemeClr>
                </a:solidFill>
              </a:rPr>
              <a:t>*Note </a:t>
            </a:r>
            <a:r>
              <a:rPr lang="en-US" sz="1600" dirty="0">
                <a:solidFill>
                  <a:schemeClr val="accent6">
                    <a:lumMod val="50000"/>
                  </a:schemeClr>
                </a:solidFill>
              </a:rPr>
              <a:t>that the file that is offered as </a:t>
            </a:r>
            <a:r>
              <a:rPr lang="en-US" sz="1600" i="1" dirty="0">
                <a:solidFill>
                  <a:schemeClr val="accent6">
                    <a:lumMod val="50000"/>
                  </a:schemeClr>
                </a:solidFill>
              </a:rPr>
              <a:t>jsonFile</a:t>
            </a:r>
            <a:r>
              <a:rPr lang="en-US" sz="1600" dirty="0">
                <a:solidFill>
                  <a:schemeClr val="accent6">
                    <a:lumMod val="50000"/>
                  </a:schemeClr>
                </a:solidFill>
              </a:rPr>
              <a:t> is not a typical JSON file. Each line must contain a separate, self-contained valid JSON object. R</a:t>
            </a:r>
            <a:r>
              <a:rPr lang="en-US" sz="1600" dirty="0" smtClean="0">
                <a:solidFill>
                  <a:schemeClr val="accent6">
                    <a:lumMod val="50000"/>
                  </a:schemeClr>
                </a:solidFill>
              </a:rPr>
              <a:t>egular </a:t>
            </a:r>
            <a:r>
              <a:rPr lang="en-US" sz="1600" dirty="0">
                <a:solidFill>
                  <a:schemeClr val="accent6">
                    <a:lumMod val="50000"/>
                  </a:schemeClr>
                </a:solidFill>
              </a:rPr>
              <a:t>multi-line JSON file will most often fail.</a:t>
            </a:r>
            <a:endParaRPr lang="en-US" sz="1600" dirty="0" smtClean="0">
              <a:solidFill>
                <a:schemeClr val="accent6">
                  <a:lumMod val="50000"/>
                </a:schemeClr>
              </a:solidFill>
            </a:endParaRPr>
          </a:p>
        </p:txBody>
      </p:sp>
    </p:spTree>
    <p:extLst>
      <p:ext uri="{BB962C8B-B14F-4D97-AF65-F5344CB8AC3E}">
        <p14:creationId xmlns:p14="http://schemas.microsoft.com/office/powerpoint/2010/main" val="3717252471"/>
      </p:ext>
    </p:extLst>
  </p:cSld>
  <p:clrMapOvr>
    <a:masterClrMapping/>
  </p:clrMapOvr>
  <p:transition spd="med">
    <p:fade/>
  </p:transition>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reating DataFrames from RDDs</a:t>
            </a:r>
            <a:endParaRPr lang="en-US" dirty="0"/>
          </a:p>
        </p:txBody>
      </p:sp>
      <p:sp>
        <p:nvSpPr>
          <p:cNvPr id="3" name="Slide Number Placeholder 2"/>
          <p:cNvSpPr>
            <a:spLocks noGrp="1"/>
          </p:cNvSpPr>
          <p:nvPr>
            <p:ph type="sldNum" sz="quarter" idx="11"/>
          </p:nvPr>
        </p:nvSpPr>
        <p:spPr/>
        <p:txBody>
          <a:bodyPr/>
          <a:lstStyle/>
          <a:p>
            <a:pPr>
              <a:defRPr/>
            </a:pPr>
            <a:fld id="{F8A0AC42-AA1D-4944-8D96-660DE70C7E1B}" type="slidenum">
              <a:rPr lang="en-US" smtClean="0"/>
              <a:pPr>
                <a:defRPr/>
              </a:pPr>
              <a:t>45</a:t>
            </a:fld>
            <a:endParaRPr lang="en-US" dirty="0"/>
          </a:p>
        </p:txBody>
      </p:sp>
      <p:sp>
        <p:nvSpPr>
          <p:cNvPr id="10" name="TextBox 9"/>
          <p:cNvSpPr txBox="1"/>
          <p:nvPr/>
        </p:nvSpPr>
        <p:spPr>
          <a:xfrm>
            <a:off x="1223957" y="1670947"/>
            <a:ext cx="10091794" cy="1131079"/>
          </a:xfrm>
          <a:prstGeom prst="rect">
            <a:avLst/>
          </a:prstGeom>
          <a:noFill/>
          <a:ln>
            <a:noFill/>
          </a:ln>
        </p:spPr>
        <p:txBody>
          <a:bodyPr wrap="square">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2"/>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457200" lvl="2" indent="-342900">
              <a:lnSpc>
                <a:spcPts val="2700"/>
              </a:lnSpc>
              <a:spcBef>
                <a:spcPts val="600"/>
              </a:spcBef>
              <a:buFont typeface="+mj-lt"/>
              <a:buAutoNum type="arabicPeriod"/>
            </a:pPr>
            <a:r>
              <a:rPr lang="en-US" sz="2000" i="1" dirty="0" smtClean="0">
                <a:ln>
                  <a:solidFill>
                    <a:srgbClr val="FFFFFF">
                      <a:alpha val="0"/>
                    </a:srgbClr>
                  </a:solidFill>
                </a:ln>
                <a:gradFill>
                  <a:gsLst>
                    <a:gs pos="85321">
                      <a:srgbClr val="505050"/>
                    </a:gs>
                    <a:gs pos="57000">
                      <a:srgbClr val="505050"/>
                    </a:gs>
                  </a:gsLst>
                </a:gradFill>
                <a:ea typeface="Segoe UI" pitchFamily="34" charset="0"/>
                <a:cs typeface="Segoe UI" pitchFamily="34" charset="0"/>
              </a:rPr>
              <a:t>Using </a:t>
            </a:r>
            <a:r>
              <a:rPr lang="en-US" sz="2000" i="1" dirty="0">
                <a:ln>
                  <a:solidFill>
                    <a:srgbClr val="FFFFFF">
                      <a:alpha val="0"/>
                    </a:srgbClr>
                  </a:solidFill>
                </a:ln>
                <a:gradFill>
                  <a:gsLst>
                    <a:gs pos="85321">
                      <a:srgbClr val="505050"/>
                    </a:gs>
                    <a:gs pos="57000">
                      <a:srgbClr val="505050"/>
                    </a:gs>
                  </a:gsLst>
                </a:gradFill>
                <a:ea typeface="Segoe UI" pitchFamily="34" charset="0"/>
                <a:cs typeface="Segoe UI" pitchFamily="34" charset="0"/>
              </a:rPr>
              <a:t>Reflection</a:t>
            </a:r>
            <a:r>
              <a:rPr lang="en-US" sz="200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 I</a:t>
            </a:r>
            <a:r>
              <a:rPr lang="en-US" sz="2000" dirty="0" smtClean="0">
                <a:ln>
                  <a:solidFill>
                    <a:srgbClr val="FFFFFF">
                      <a:alpha val="0"/>
                    </a:srgbClr>
                  </a:solidFill>
                </a:ln>
                <a:gradFill>
                  <a:gsLst>
                    <a:gs pos="85321">
                      <a:srgbClr val="505050"/>
                    </a:gs>
                    <a:gs pos="57000">
                      <a:srgbClr val="505050"/>
                    </a:gs>
                  </a:gsLst>
                </a:gradFill>
                <a:ea typeface="Segoe UI" pitchFamily="34" charset="0"/>
                <a:cs typeface="Segoe UI" pitchFamily="34" charset="0"/>
              </a:rPr>
              <a:t>nfer </a:t>
            </a:r>
            <a:r>
              <a:rPr lang="en-US" sz="200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the schema of an RDD that contains specific types of objects. This </a:t>
            </a:r>
            <a:r>
              <a:rPr lang="en-US" sz="2000" dirty="0" smtClean="0">
                <a:ln>
                  <a:solidFill>
                    <a:srgbClr val="FFFFFF">
                      <a:alpha val="0"/>
                    </a:srgbClr>
                  </a:solidFill>
                </a:ln>
                <a:gradFill>
                  <a:gsLst>
                    <a:gs pos="85321">
                      <a:srgbClr val="505050"/>
                    </a:gs>
                    <a:gs pos="57000">
                      <a:srgbClr val="505050"/>
                    </a:gs>
                  </a:gsLst>
                </a:gradFill>
                <a:ea typeface="Segoe UI" pitchFamily="34" charset="0"/>
                <a:cs typeface="Segoe UI" pitchFamily="34" charset="0"/>
              </a:rPr>
              <a:t>approach </a:t>
            </a:r>
            <a:r>
              <a:rPr lang="en-US" sz="200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leads to more concise </a:t>
            </a:r>
            <a:r>
              <a:rPr lang="en-US" sz="2000" dirty="0" smtClean="0">
                <a:ln>
                  <a:solidFill>
                    <a:srgbClr val="FFFFFF">
                      <a:alpha val="0"/>
                    </a:srgbClr>
                  </a:solidFill>
                </a:ln>
                <a:gradFill>
                  <a:gsLst>
                    <a:gs pos="85321">
                      <a:srgbClr val="505050"/>
                    </a:gs>
                    <a:gs pos="57000">
                      <a:srgbClr val="505050"/>
                    </a:gs>
                  </a:gsLst>
                </a:gradFill>
                <a:ea typeface="Segoe UI" pitchFamily="34" charset="0"/>
                <a:cs typeface="Segoe UI" pitchFamily="34" charset="0"/>
              </a:rPr>
              <a:t>code. </a:t>
            </a:r>
            <a:r>
              <a:rPr lang="en-US" sz="200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W</a:t>
            </a:r>
            <a:r>
              <a:rPr lang="en-US" sz="2000" dirty="0" smtClean="0">
                <a:ln>
                  <a:solidFill>
                    <a:srgbClr val="FFFFFF">
                      <a:alpha val="0"/>
                    </a:srgbClr>
                  </a:solidFill>
                </a:ln>
                <a:gradFill>
                  <a:gsLst>
                    <a:gs pos="85321">
                      <a:srgbClr val="505050"/>
                    </a:gs>
                    <a:gs pos="57000">
                      <a:srgbClr val="505050"/>
                    </a:gs>
                  </a:gsLst>
                </a:gradFill>
                <a:ea typeface="Segoe UI" pitchFamily="34" charset="0"/>
                <a:cs typeface="Segoe UI" pitchFamily="34" charset="0"/>
              </a:rPr>
              <a:t>orks </a:t>
            </a:r>
            <a:r>
              <a:rPr lang="en-US" sz="200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well when you already know the schema while writing your Spark application</a:t>
            </a:r>
            <a:r>
              <a:rPr lang="en-US" sz="2000" dirty="0" smtClean="0">
                <a:ln>
                  <a:solidFill>
                    <a:srgbClr val="FFFFFF">
                      <a:alpha val="0"/>
                    </a:srgbClr>
                  </a:solidFill>
                </a:ln>
                <a:gradFill>
                  <a:gsLst>
                    <a:gs pos="85321">
                      <a:srgbClr val="505050"/>
                    </a:gs>
                    <a:gs pos="57000">
                      <a:srgbClr val="505050"/>
                    </a:gs>
                  </a:gsLst>
                </a:gradFill>
                <a:ea typeface="Segoe UI" pitchFamily="34" charset="0"/>
                <a:cs typeface="Segoe UI" pitchFamily="34" charset="0"/>
              </a:rPr>
              <a:t>.</a:t>
            </a:r>
            <a:endParaRPr lang="en-US" sz="2000" dirty="0">
              <a:ln>
                <a:solidFill>
                  <a:srgbClr val="FFFFFF">
                    <a:alpha val="0"/>
                  </a:srgbClr>
                </a:solidFill>
              </a:ln>
              <a:gradFill>
                <a:gsLst>
                  <a:gs pos="85321">
                    <a:srgbClr val="505050"/>
                  </a:gs>
                  <a:gs pos="57000">
                    <a:srgbClr val="505050"/>
                  </a:gs>
                </a:gsLst>
              </a:gradFill>
              <a:ea typeface="Segoe UI" pitchFamily="34" charset="0"/>
              <a:cs typeface="Segoe UI" pitchFamily="34" charset="0"/>
            </a:endParaRPr>
          </a:p>
        </p:txBody>
      </p:sp>
      <p:sp>
        <p:nvSpPr>
          <p:cNvPr id="8" name="TextBox 7"/>
          <p:cNvSpPr txBox="1"/>
          <p:nvPr/>
        </p:nvSpPr>
        <p:spPr>
          <a:xfrm>
            <a:off x="1223957" y="2788505"/>
            <a:ext cx="9424135" cy="1477328"/>
          </a:xfrm>
          <a:prstGeom prst="rect">
            <a:avLst/>
          </a:prstGeom>
          <a:noFill/>
          <a:ln>
            <a:noFill/>
          </a:ln>
        </p:spPr>
        <p:txBody>
          <a:bodyPr wrap="square">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2"/>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571500" lvl="2" indent="-457200">
              <a:lnSpc>
                <a:spcPts val="2700"/>
              </a:lnSpc>
              <a:spcBef>
                <a:spcPts val="600"/>
              </a:spcBef>
              <a:buFont typeface="+mj-lt"/>
              <a:buAutoNum type="arabicPeriod" startAt="2"/>
            </a:pPr>
            <a:r>
              <a:rPr lang="en-US" sz="2000" i="1" dirty="0" smtClean="0">
                <a:ln>
                  <a:solidFill>
                    <a:srgbClr val="FFFFFF">
                      <a:alpha val="0"/>
                    </a:srgbClr>
                  </a:solidFill>
                </a:ln>
                <a:gradFill>
                  <a:gsLst>
                    <a:gs pos="85321">
                      <a:srgbClr val="505050"/>
                    </a:gs>
                    <a:gs pos="57000">
                      <a:srgbClr val="505050"/>
                    </a:gs>
                  </a:gsLst>
                </a:gradFill>
                <a:ea typeface="Segoe UI" pitchFamily="34" charset="0"/>
                <a:cs typeface="Segoe UI" pitchFamily="34" charset="0"/>
              </a:rPr>
              <a:t>Programmatically specifying the s</a:t>
            </a:r>
            <a:r>
              <a:rPr lang="en-US" sz="2000" i="1" dirty="0">
                <a:ln>
                  <a:solidFill>
                    <a:srgbClr val="FFFFFF">
                      <a:alpha val="0"/>
                    </a:srgbClr>
                  </a:solidFill>
                </a:ln>
                <a:gradFill>
                  <a:gsLst>
                    <a:gs pos="85321">
                      <a:srgbClr val="505050"/>
                    </a:gs>
                    <a:gs pos="57000">
                      <a:srgbClr val="505050"/>
                    </a:gs>
                  </a:gsLst>
                </a:gradFill>
                <a:ea typeface="Segoe UI" pitchFamily="34" charset="0"/>
                <a:cs typeface="Segoe UI" pitchFamily="34" charset="0"/>
              </a:rPr>
              <a:t>chema: </a:t>
            </a:r>
            <a:r>
              <a:rPr lang="en-US" sz="200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Allows you to construct a schema and then apply it to an existing RDD. T</a:t>
            </a:r>
            <a:r>
              <a:rPr lang="en-US" sz="2000" dirty="0" smtClean="0">
                <a:ln>
                  <a:solidFill>
                    <a:srgbClr val="FFFFFF">
                      <a:alpha val="0"/>
                    </a:srgbClr>
                  </a:solidFill>
                </a:ln>
                <a:gradFill>
                  <a:gsLst>
                    <a:gs pos="85321">
                      <a:srgbClr val="505050"/>
                    </a:gs>
                    <a:gs pos="57000">
                      <a:srgbClr val="505050"/>
                    </a:gs>
                  </a:gsLst>
                </a:gradFill>
                <a:ea typeface="Segoe UI" pitchFamily="34" charset="0"/>
                <a:cs typeface="Segoe UI" pitchFamily="34" charset="0"/>
              </a:rPr>
              <a:t>his </a:t>
            </a:r>
            <a:r>
              <a:rPr lang="en-US" sz="200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method is more </a:t>
            </a:r>
            <a:r>
              <a:rPr lang="en-US" sz="2000" dirty="0" smtClean="0">
                <a:ln>
                  <a:solidFill>
                    <a:srgbClr val="FFFFFF">
                      <a:alpha val="0"/>
                    </a:srgbClr>
                  </a:solidFill>
                </a:ln>
                <a:gradFill>
                  <a:gsLst>
                    <a:gs pos="85321">
                      <a:srgbClr val="505050"/>
                    </a:gs>
                    <a:gs pos="57000">
                      <a:srgbClr val="505050"/>
                    </a:gs>
                  </a:gsLst>
                </a:gradFill>
                <a:ea typeface="Segoe UI" pitchFamily="34" charset="0"/>
                <a:cs typeface="Segoe UI" pitchFamily="34" charset="0"/>
              </a:rPr>
              <a:t>verbose. However, allows </a:t>
            </a:r>
            <a:r>
              <a:rPr lang="en-US" sz="200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you to construct DataFrames when the columns and their types are not known until runtime.</a:t>
            </a:r>
          </a:p>
        </p:txBody>
      </p:sp>
      <p:sp>
        <p:nvSpPr>
          <p:cNvPr id="12" name="TextBox 11"/>
          <p:cNvSpPr txBox="1"/>
          <p:nvPr/>
        </p:nvSpPr>
        <p:spPr>
          <a:xfrm>
            <a:off x="532663" y="1194375"/>
            <a:ext cx="10834502" cy="424732"/>
          </a:xfrm>
          <a:prstGeom prst="rect">
            <a:avLst/>
          </a:prstGeom>
          <a:noFill/>
          <a:ln>
            <a:noFill/>
          </a:ln>
        </p:spPr>
        <p:txBody>
          <a:bodyPr wrap="square">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2"/>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lvl="1">
              <a:spcBef>
                <a:spcPts val="600"/>
              </a:spcBef>
            </a:pPr>
            <a:r>
              <a:rPr lang="en-US" sz="2400" dirty="0"/>
              <a:t>DataFrames can be created from existing RDDs in two ways:</a:t>
            </a:r>
          </a:p>
        </p:txBody>
      </p:sp>
      <p:sp>
        <p:nvSpPr>
          <p:cNvPr id="14" name="TextBox 13"/>
          <p:cNvSpPr txBox="1"/>
          <p:nvPr/>
        </p:nvSpPr>
        <p:spPr>
          <a:xfrm>
            <a:off x="532663" y="4512033"/>
            <a:ext cx="10834502" cy="757130"/>
          </a:xfrm>
          <a:prstGeom prst="rect">
            <a:avLst/>
          </a:prstGeom>
          <a:noFill/>
          <a:ln>
            <a:noFill/>
          </a:ln>
        </p:spPr>
        <p:txBody>
          <a:bodyPr wrap="square">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2"/>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lvl="1">
              <a:spcBef>
                <a:spcPts val="600"/>
              </a:spcBef>
            </a:pPr>
            <a:r>
              <a:rPr lang="en-US" sz="2400" dirty="0"/>
              <a:t>DataFrames can be created from </a:t>
            </a:r>
            <a:r>
              <a:rPr lang="en-US" sz="2400" dirty="0" smtClean="0"/>
              <a:t>existing JSON RDD </a:t>
            </a:r>
            <a:r>
              <a:rPr lang="en-US" sz="2400" dirty="0"/>
              <a:t>using the “jsonRDD” </a:t>
            </a:r>
            <a:r>
              <a:rPr lang="en-US" sz="2400" dirty="0" smtClean="0"/>
              <a:t>function. </a:t>
            </a:r>
            <a:endParaRPr lang="en-US" sz="2400" dirty="0"/>
          </a:p>
        </p:txBody>
      </p:sp>
      <p:sp>
        <p:nvSpPr>
          <p:cNvPr id="15" name="TextBox 14"/>
          <p:cNvSpPr txBox="1"/>
          <p:nvPr/>
        </p:nvSpPr>
        <p:spPr>
          <a:xfrm>
            <a:off x="1223957" y="5309436"/>
            <a:ext cx="9908500" cy="425758"/>
          </a:xfrm>
          <a:prstGeom prst="rect">
            <a:avLst/>
          </a:prstGeom>
          <a:solidFill>
            <a:schemeClr val="bg1">
              <a:lumMod val="95000"/>
            </a:schemeClr>
          </a:solidFill>
          <a:ln>
            <a:noFill/>
          </a:ln>
        </p:spPr>
        <p:txBody>
          <a:bodyPr wrap="square">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2"/>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93" lvl="1" indent="0">
              <a:lnSpc>
                <a:spcPts val="2600"/>
              </a:lnSpc>
              <a:spcBef>
                <a:spcPts val="600"/>
              </a:spcBef>
              <a:spcAft>
                <a:spcPts val="1200"/>
              </a:spcAft>
              <a:buNone/>
            </a:pPr>
            <a:r>
              <a:rPr lang="en-US" sz="1800" dirty="0">
                <a:solidFill>
                  <a:schemeClr val="accent4"/>
                </a:solidFill>
                <a:latin typeface="Arial Narrow" panose="020B0606020202030204" pitchFamily="34" charset="0"/>
              </a:rPr>
              <a:t>&gt;&gt;&gt; </a:t>
            </a:r>
            <a:r>
              <a:rPr lang="en-US" sz="1800" dirty="0" smtClean="0">
                <a:solidFill>
                  <a:schemeClr val="accent2"/>
                </a:solidFill>
              </a:rPr>
              <a:t>val</a:t>
            </a:r>
            <a:r>
              <a:rPr lang="en-US" sz="1800" dirty="0" smtClean="0">
                <a:solidFill>
                  <a:schemeClr val="tx1">
                    <a:lumMod val="75000"/>
                    <a:lumOff val="25000"/>
                  </a:schemeClr>
                </a:solidFill>
              </a:rPr>
              <a:t> df </a:t>
            </a:r>
            <a:r>
              <a:rPr lang="en-US" sz="1800" dirty="0">
                <a:solidFill>
                  <a:schemeClr val="tx1">
                    <a:lumMod val="75000"/>
                    <a:lumOff val="25000"/>
                  </a:schemeClr>
                </a:solidFill>
              </a:rPr>
              <a:t>= </a:t>
            </a:r>
            <a:r>
              <a:rPr lang="en-US" sz="1800" dirty="0" smtClean="0">
                <a:solidFill>
                  <a:schemeClr val="tx1">
                    <a:lumMod val="75000"/>
                    <a:lumOff val="25000"/>
                  </a:schemeClr>
                </a:solidFill>
              </a:rPr>
              <a:t>sqlContext.jsonRDD(anUserRDD)</a:t>
            </a:r>
          </a:p>
        </p:txBody>
      </p:sp>
    </p:spTree>
    <p:extLst>
      <p:ext uri="{BB962C8B-B14F-4D97-AF65-F5344CB8AC3E}">
        <p14:creationId xmlns:p14="http://schemas.microsoft.com/office/powerpoint/2010/main" val="117805835"/>
      </p:ext>
    </p:extLst>
  </p:cSld>
  <p:clrMapOvr>
    <a:masterClrMapping/>
  </p:clrMapOvr>
  <p:transition spd="med">
    <p:fade/>
  </p:transition>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ataFrame operations</a:t>
            </a:r>
            <a:endParaRPr lang="en-US" dirty="0"/>
          </a:p>
        </p:txBody>
      </p:sp>
      <p:sp>
        <p:nvSpPr>
          <p:cNvPr id="3" name="Slide Number Placeholder 2"/>
          <p:cNvSpPr>
            <a:spLocks noGrp="1"/>
          </p:cNvSpPr>
          <p:nvPr>
            <p:ph type="sldNum" sz="quarter" idx="11"/>
          </p:nvPr>
        </p:nvSpPr>
        <p:spPr/>
        <p:txBody>
          <a:bodyPr/>
          <a:lstStyle/>
          <a:p>
            <a:pPr>
              <a:defRPr/>
            </a:pPr>
            <a:fld id="{F8A0AC42-AA1D-4944-8D96-660DE70C7E1B}" type="slidenum">
              <a:rPr lang="en-US" smtClean="0"/>
              <a:pPr>
                <a:defRPr/>
              </a:pPr>
              <a:t>46</a:t>
            </a:fld>
            <a:endParaRPr lang="en-US" dirty="0"/>
          </a:p>
        </p:txBody>
      </p:sp>
      <p:sp>
        <p:nvSpPr>
          <p:cNvPr id="4" name="TextBox 3"/>
          <p:cNvSpPr txBox="1"/>
          <p:nvPr/>
        </p:nvSpPr>
        <p:spPr>
          <a:xfrm>
            <a:off x="395719" y="1325128"/>
            <a:ext cx="11098237" cy="872996"/>
          </a:xfrm>
          <a:prstGeom prst="rect">
            <a:avLst/>
          </a:prstGeom>
          <a:noFill/>
          <a:ln>
            <a:noFill/>
          </a:ln>
        </p:spPr>
        <p:txBody>
          <a:bodyPr wrap="square">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2"/>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93" lvl="1" indent="0">
              <a:lnSpc>
                <a:spcPct val="110000"/>
              </a:lnSpc>
              <a:spcBef>
                <a:spcPts val="600"/>
              </a:spcBef>
              <a:buNone/>
            </a:pPr>
            <a:r>
              <a:rPr lang="en-US" sz="2400" dirty="0"/>
              <a:t>DataFrames provide a domain-specific language for structured data manipulation in </a:t>
            </a:r>
            <a:r>
              <a:rPr lang="en-US" sz="2400" dirty="0">
                <a:hlinkClick r:id="rId3"/>
              </a:rPr>
              <a:t>Scala</a:t>
            </a:r>
            <a:r>
              <a:rPr lang="en-US" sz="2400" dirty="0"/>
              <a:t>, </a:t>
            </a:r>
            <a:r>
              <a:rPr lang="en-US" sz="2400" dirty="0">
                <a:hlinkClick r:id="rId4"/>
              </a:rPr>
              <a:t>Java</a:t>
            </a:r>
            <a:r>
              <a:rPr lang="en-US" sz="2400" dirty="0"/>
              <a:t>, and </a:t>
            </a:r>
            <a:r>
              <a:rPr lang="en-US" sz="2400" dirty="0">
                <a:hlinkClick r:id="rId5"/>
              </a:rPr>
              <a:t>Python</a:t>
            </a:r>
            <a:r>
              <a:rPr lang="en-US" sz="2400" dirty="0"/>
              <a:t>.</a:t>
            </a:r>
          </a:p>
        </p:txBody>
      </p:sp>
      <p:sp>
        <p:nvSpPr>
          <p:cNvPr id="5" name="TextBox 4"/>
          <p:cNvSpPr txBox="1"/>
          <p:nvPr/>
        </p:nvSpPr>
        <p:spPr>
          <a:xfrm>
            <a:off x="522513" y="2308931"/>
            <a:ext cx="10844651" cy="3811300"/>
          </a:xfrm>
          <a:prstGeom prst="rect">
            <a:avLst/>
          </a:prstGeom>
          <a:solidFill>
            <a:schemeClr val="bg1">
              <a:lumMod val="95000"/>
            </a:schemeClr>
          </a:solidFill>
          <a:ln>
            <a:noFill/>
          </a:ln>
        </p:spPr>
        <p:txBody>
          <a:bodyPr wrap="square">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2"/>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93" lvl="1" indent="0">
              <a:lnSpc>
                <a:spcPts val="2600"/>
              </a:lnSpc>
              <a:spcBef>
                <a:spcPts val="600"/>
              </a:spcBef>
              <a:spcAft>
                <a:spcPts val="1200"/>
              </a:spcAft>
              <a:buNone/>
            </a:pPr>
            <a:r>
              <a:rPr lang="en-US" sz="1800" dirty="0">
                <a:solidFill>
                  <a:schemeClr val="accent4"/>
                </a:solidFill>
                <a:latin typeface="Arial Narrow" panose="020B0606020202030204" pitchFamily="34" charset="0"/>
              </a:rPr>
              <a:t>&gt;&gt;&gt; </a:t>
            </a:r>
            <a:r>
              <a:rPr lang="en-US" sz="1800" dirty="0" smtClean="0">
                <a:solidFill>
                  <a:schemeClr val="tx1">
                    <a:lumMod val="75000"/>
                    <a:lumOff val="25000"/>
                  </a:schemeClr>
                </a:solidFill>
              </a:rPr>
              <a:t>val </a:t>
            </a:r>
            <a:r>
              <a:rPr lang="en-US" sz="1800" dirty="0">
                <a:solidFill>
                  <a:schemeClr val="tx1">
                    <a:lumMod val="75000"/>
                    <a:lumOff val="25000"/>
                  </a:schemeClr>
                </a:solidFill>
              </a:rPr>
              <a:t>df = </a:t>
            </a:r>
            <a:r>
              <a:rPr lang="en-US" sz="1800" dirty="0" smtClean="0">
                <a:solidFill>
                  <a:schemeClr val="tx1">
                    <a:lumMod val="75000"/>
                    <a:lumOff val="25000"/>
                  </a:schemeClr>
                </a:solidFill>
              </a:rPr>
              <a:t>sqlContext.jsonFile(”</a:t>
            </a:r>
            <a:r>
              <a:rPr lang="en-US" sz="1800" dirty="0" smtClean="0">
                <a:solidFill>
                  <a:schemeClr val="accent1">
                    <a:lumMod val="50000"/>
                  </a:schemeClr>
                </a:solidFill>
              </a:rPr>
              <a:t>somejasonfile.json</a:t>
            </a:r>
            <a:r>
              <a:rPr lang="en-US" sz="1800" dirty="0" smtClean="0">
                <a:solidFill>
                  <a:schemeClr val="tx1">
                    <a:lumMod val="75000"/>
                    <a:lumOff val="25000"/>
                  </a:schemeClr>
                </a:solidFill>
              </a:rPr>
              <a:t>“)</a:t>
            </a:r>
          </a:p>
          <a:p>
            <a:pPr marL="110493" lvl="1" indent="0">
              <a:lnSpc>
                <a:spcPts val="2600"/>
              </a:lnSpc>
              <a:spcBef>
                <a:spcPts val="600"/>
              </a:spcBef>
              <a:spcAft>
                <a:spcPts val="1200"/>
              </a:spcAft>
              <a:buNone/>
            </a:pPr>
            <a:r>
              <a:rPr lang="en-US" sz="1800" dirty="0">
                <a:solidFill>
                  <a:schemeClr val="accent4"/>
                </a:solidFill>
                <a:latin typeface="Arial Narrow" panose="020B0606020202030204" pitchFamily="34" charset="0"/>
              </a:rPr>
              <a:t>&gt;&gt;&gt; </a:t>
            </a:r>
            <a:r>
              <a:rPr lang="en-US" sz="1800" dirty="0" smtClean="0"/>
              <a:t>df.show()				 	</a:t>
            </a:r>
            <a:r>
              <a:rPr lang="en-US" sz="1800" i="1" dirty="0" smtClean="0">
                <a:solidFill>
                  <a:schemeClr val="accent4">
                    <a:lumMod val="75000"/>
                  </a:schemeClr>
                </a:solidFill>
              </a:rPr>
              <a:t>//show the contents of the DataFrame</a:t>
            </a:r>
          </a:p>
          <a:p>
            <a:pPr marL="110493" lvl="1" indent="0">
              <a:lnSpc>
                <a:spcPts val="2600"/>
              </a:lnSpc>
              <a:spcBef>
                <a:spcPts val="600"/>
              </a:spcBef>
              <a:spcAft>
                <a:spcPts val="1200"/>
              </a:spcAft>
              <a:buNone/>
            </a:pPr>
            <a:r>
              <a:rPr lang="en-US" sz="1800" dirty="0">
                <a:solidFill>
                  <a:schemeClr val="accent4"/>
                </a:solidFill>
                <a:latin typeface="Arial Narrow" panose="020B0606020202030204" pitchFamily="34" charset="0"/>
              </a:rPr>
              <a:t>&gt;&gt;&gt; </a:t>
            </a:r>
            <a:r>
              <a:rPr lang="en-US" sz="1800" dirty="0" smtClean="0">
                <a:solidFill>
                  <a:schemeClr val="tx1">
                    <a:lumMod val="75000"/>
                    <a:lumOff val="25000"/>
                  </a:schemeClr>
                </a:solidFill>
              </a:rPr>
              <a:t>df.printSchema()				</a:t>
            </a:r>
            <a:r>
              <a:rPr lang="en-US" sz="1800" dirty="0" smtClean="0">
                <a:solidFill>
                  <a:schemeClr val="accent4">
                    <a:lumMod val="75000"/>
                  </a:schemeClr>
                </a:solidFill>
              </a:rPr>
              <a:t>//Print the schema in a tree format</a:t>
            </a:r>
          </a:p>
          <a:p>
            <a:pPr marL="110493" lvl="1" indent="0">
              <a:lnSpc>
                <a:spcPts val="2600"/>
              </a:lnSpc>
              <a:spcBef>
                <a:spcPts val="600"/>
              </a:spcBef>
              <a:spcAft>
                <a:spcPts val="1200"/>
              </a:spcAft>
              <a:buNone/>
            </a:pPr>
            <a:r>
              <a:rPr lang="en-US" sz="1800" dirty="0">
                <a:solidFill>
                  <a:schemeClr val="accent4"/>
                </a:solidFill>
                <a:latin typeface="Arial Narrow" panose="020B0606020202030204" pitchFamily="34" charset="0"/>
              </a:rPr>
              <a:t>&gt;&gt;&gt; </a:t>
            </a:r>
            <a:r>
              <a:rPr lang="en-US" sz="1800" dirty="0" smtClean="0">
                <a:solidFill>
                  <a:schemeClr val="tx1">
                    <a:lumMod val="75000"/>
                    <a:lumOff val="25000"/>
                  </a:schemeClr>
                </a:solidFill>
              </a:rPr>
              <a:t>df.select(“name”).show()			</a:t>
            </a:r>
            <a:r>
              <a:rPr lang="en-US" sz="1800" dirty="0" smtClean="0">
                <a:solidFill>
                  <a:schemeClr val="accent4">
                    <a:lumMod val="75000"/>
                  </a:schemeClr>
                </a:solidFill>
              </a:rPr>
              <a:t>//select and show the ‘name’ columns</a:t>
            </a:r>
          </a:p>
          <a:p>
            <a:pPr marL="110493" lvl="1" indent="0">
              <a:lnSpc>
                <a:spcPts val="2600"/>
              </a:lnSpc>
              <a:spcBef>
                <a:spcPts val="600"/>
              </a:spcBef>
              <a:spcAft>
                <a:spcPts val="1200"/>
              </a:spcAft>
              <a:buNone/>
            </a:pPr>
            <a:r>
              <a:rPr lang="en-US" sz="1800" dirty="0">
                <a:solidFill>
                  <a:schemeClr val="accent4"/>
                </a:solidFill>
                <a:latin typeface="Arial Narrow" panose="020B0606020202030204" pitchFamily="34" charset="0"/>
              </a:rPr>
              <a:t>&gt;&gt;&gt; </a:t>
            </a:r>
            <a:r>
              <a:rPr lang="en-US" sz="1800" dirty="0" smtClean="0">
                <a:solidFill>
                  <a:schemeClr val="tx1">
                    <a:lumMod val="75000"/>
                    <a:lumOff val="25000"/>
                  </a:schemeClr>
                </a:solidFill>
              </a:rPr>
              <a:t>df.select(df(”name”),df (“age”) +1).show() 	</a:t>
            </a:r>
            <a:r>
              <a:rPr lang="en-US" sz="1800" dirty="0" smtClean="0">
                <a:solidFill>
                  <a:schemeClr val="accent4">
                    <a:lumMod val="75000"/>
                  </a:schemeClr>
                </a:solidFill>
              </a:rPr>
              <a:t>//select all but increment the ‘age’ by 1</a:t>
            </a:r>
          </a:p>
          <a:p>
            <a:pPr marL="110493" lvl="1" indent="0">
              <a:lnSpc>
                <a:spcPts val="2600"/>
              </a:lnSpc>
              <a:spcBef>
                <a:spcPts val="600"/>
              </a:spcBef>
              <a:spcAft>
                <a:spcPts val="1200"/>
              </a:spcAft>
              <a:buNone/>
            </a:pPr>
            <a:r>
              <a:rPr lang="en-US" sz="1800" dirty="0">
                <a:solidFill>
                  <a:schemeClr val="accent4"/>
                </a:solidFill>
                <a:latin typeface="Arial Narrow" panose="020B0606020202030204" pitchFamily="34" charset="0"/>
              </a:rPr>
              <a:t>&gt;&gt;&gt; </a:t>
            </a:r>
            <a:r>
              <a:rPr lang="en-US" sz="1800" dirty="0" smtClean="0">
                <a:solidFill>
                  <a:schemeClr val="tx1">
                    <a:lumMod val="75000"/>
                    <a:lumOff val="25000"/>
                  </a:schemeClr>
                </a:solidFill>
              </a:rPr>
              <a:t>df.filter(df(”age”) &gt; 21).show()			</a:t>
            </a:r>
            <a:r>
              <a:rPr lang="en-US" sz="1800" dirty="0" smtClean="0">
                <a:solidFill>
                  <a:schemeClr val="accent4">
                    <a:lumMod val="75000"/>
                  </a:schemeClr>
                </a:solidFill>
              </a:rPr>
              <a:t>//select people older than 21</a:t>
            </a:r>
          </a:p>
          <a:p>
            <a:pPr marL="110493" lvl="1" indent="0">
              <a:lnSpc>
                <a:spcPts val="2600"/>
              </a:lnSpc>
              <a:spcBef>
                <a:spcPts val="600"/>
              </a:spcBef>
              <a:spcAft>
                <a:spcPts val="1200"/>
              </a:spcAft>
              <a:buNone/>
            </a:pPr>
            <a:r>
              <a:rPr lang="en-US" sz="1800" dirty="0">
                <a:solidFill>
                  <a:schemeClr val="accent4"/>
                </a:solidFill>
                <a:latin typeface="Arial Narrow" panose="020B0606020202030204" pitchFamily="34" charset="0"/>
              </a:rPr>
              <a:t>&gt;&gt;&gt; </a:t>
            </a:r>
            <a:r>
              <a:rPr lang="en-US" sz="1800" dirty="0" smtClean="0">
                <a:solidFill>
                  <a:schemeClr val="tx1">
                    <a:lumMod val="75000"/>
                    <a:lumOff val="25000"/>
                  </a:schemeClr>
                </a:solidFill>
              </a:rPr>
              <a:t>df.groupBy(“age”).count().show()		</a:t>
            </a:r>
            <a:r>
              <a:rPr lang="en-US" sz="1800" dirty="0" smtClean="0">
                <a:solidFill>
                  <a:schemeClr val="accent4">
                    <a:lumMod val="75000"/>
                  </a:schemeClr>
                </a:solidFill>
              </a:rPr>
              <a:t>//Count people by ‘age’</a:t>
            </a:r>
            <a:endParaRPr lang="en-US" sz="1800" dirty="0">
              <a:solidFill>
                <a:schemeClr val="accent4">
                  <a:lumMod val="75000"/>
                </a:schemeClr>
              </a:solidFill>
            </a:endParaRPr>
          </a:p>
        </p:txBody>
      </p:sp>
    </p:spTree>
    <p:extLst>
      <p:ext uri="{BB962C8B-B14F-4D97-AF65-F5344CB8AC3E}">
        <p14:creationId xmlns:p14="http://schemas.microsoft.com/office/powerpoint/2010/main" val="2436096289"/>
      </p:ext>
    </p:extLst>
  </p:cSld>
  <p:clrMapOvr>
    <a:masterClrMapping/>
  </p:clrMapOvr>
  <p:transition spd="med">
    <p:fade/>
  </p:transition>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ables and Queries</a:t>
            </a:r>
            <a:endParaRPr lang="en-US" dirty="0"/>
          </a:p>
        </p:txBody>
      </p:sp>
      <p:sp>
        <p:nvSpPr>
          <p:cNvPr id="3" name="Slide Number Placeholder 2"/>
          <p:cNvSpPr>
            <a:spLocks noGrp="1"/>
          </p:cNvSpPr>
          <p:nvPr>
            <p:ph type="sldNum" sz="quarter" idx="11"/>
          </p:nvPr>
        </p:nvSpPr>
        <p:spPr/>
        <p:txBody>
          <a:bodyPr/>
          <a:lstStyle/>
          <a:p>
            <a:pPr>
              <a:defRPr/>
            </a:pPr>
            <a:fld id="{F8A0AC42-AA1D-4944-8D96-660DE70C7E1B}" type="slidenum">
              <a:rPr lang="en-US" smtClean="0"/>
              <a:pPr>
                <a:defRPr/>
              </a:pPr>
              <a:t>47</a:t>
            </a:fld>
            <a:endParaRPr lang="en-US" dirty="0"/>
          </a:p>
        </p:txBody>
      </p:sp>
      <p:sp>
        <p:nvSpPr>
          <p:cNvPr id="4" name="TextBox 3"/>
          <p:cNvSpPr txBox="1"/>
          <p:nvPr/>
        </p:nvSpPr>
        <p:spPr>
          <a:xfrm>
            <a:off x="532663" y="1392612"/>
            <a:ext cx="11196882" cy="498598"/>
          </a:xfrm>
          <a:prstGeom prst="rect">
            <a:avLst/>
          </a:prstGeom>
          <a:noFill/>
          <a:ln>
            <a:noFill/>
          </a:ln>
        </p:spPr>
        <p:txBody>
          <a:bodyPr wrap="square">
            <a:spAutoFit/>
          </a:bodyPr>
          <a:lstStyle>
            <a:defPPr>
              <a:defRPr lang="en-US"/>
            </a:defPPr>
            <a:lvl2pPr marL="110493" lvl="1" indent="0" defTabSz="913770" fontAlgn="base">
              <a:lnSpc>
                <a:spcPct val="110000"/>
              </a:lnSpc>
              <a:spcBef>
                <a:spcPts val="600"/>
              </a:spcBef>
              <a:spcAft>
                <a:spcPts val="600"/>
              </a:spcAft>
              <a:buClr>
                <a:srgbClr val="68217A">
                  <a:lumMod val="50000"/>
                </a:srgbClr>
              </a:buClr>
              <a:buNone/>
              <a:tabLst>
                <a:tab pos="645523" algn="l"/>
              </a:tabLst>
              <a:defRPr sz="24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lvl="1"/>
            <a:r>
              <a:rPr lang="en-US" dirty="0"/>
              <a:t>A </a:t>
            </a:r>
            <a:r>
              <a:rPr lang="en-US" dirty="0" smtClean="0"/>
              <a:t>Dataframe </a:t>
            </a:r>
            <a:r>
              <a:rPr lang="en-US" dirty="0"/>
              <a:t>can be registered as a table which can then be used in SQL queries</a:t>
            </a:r>
          </a:p>
        </p:txBody>
      </p:sp>
      <p:sp>
        <p:nvSpPr>
          <p:cNvPr id="6" name="TextBox 5"/>
          <p:cNvSpPr txBox="1"/>
          <p:nvPr/>
        </p:nvSpPr>
        <p:spPr>
          <a:xfrm>
            <a:off x="709683" y="2048745"/>
            <a:ext cx="11019862" cy="2887970"/>
          </a:xfrm>
          <a:prstGeom prst="rect">
            <a:avLst/>
          </a:prstGeom>
          <a:solidFill>
            <a:schemeClr val="bg1">
              <a:lumMod val="95000"/>
            </a:schemeClr>
          </a:solidFill>
          <a:ln>
            <a:noFill/>
          </a:ln>
        </p:spPr>
        <p:txBody>
          <a:bodyPr wrap="square">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2"/>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93" lvl="1" indent="0">
              <a:lnSpc>
                <a:spcPts val="2600"/>
              </a:lnSpc>
              <a:spcBef>
                <a:spcPts val="600"/>
              </a:spcBef>
              <a:spcAft>
                <a:spcPts val="0"/>
              </a:spcAft>
              <a:buNone/>
            </a:pPr>
            <a:r>
              <a:rPr lang="en-US" sz="1600" dirty="0" smtClean="0">
                <a:solidFill>
                  <a:schemeClr val="accent4">
                    <a:lumMod val="75000"/>
                  </a:schemeClr>
                </a:solidFill>
              </a:rPr>
              <a:t>// first create  </a:t>
            </a:r>
            <a:r>
              <a:rPr lang="en-US" sz="1600" dirty="0">
                <a:solidFill>
                  <a:schemeClr val="accent4">
                    <a:lumMod val="75000"/>
                  </a:schemeClr>
                </a:solidFill>
              </a:rPr>
              <a:t>a DataFrame from JSON </a:t>
            </a:r>
            <a:r>
              <a:rPr lang="en-US" sz="1600" dirty="0" smtClean="0">
                <a:solidFill>
                  <a:schemeClr val="accent4">
                    <a:lumMod val="75000"/>
                  </a:schemeClr>
                </a:solidFill>
              </a:rPr>
              <a:t>file</a:t>
            </a:r>
          </a:p>
          <a:p>
            <a:pPr marL="110493" lvl="1" indent="0">
              <a:lnSpc>
                <a:spcPts val="2600"/>
              </a:lnSpc>
              <a:spcBef>
                <a:spcPts val="0"/>
              </a:spcBef>
              <a:spcAft>
                <a:spcPts val="1200"/>
              </a:spcAft>
              <a:buNone/>
            </a:pPr>
            <a:r>
              <a:rPr lang="en-US" sz="1600" dirty="0" smtClean="0">
                <a:solidFill>
                  <a:schemeClr val="accent4"/>
                </a:solidFill>
                <a:latin typeface="Arial Narrow" panose="020B0606020202030204" pitchFamily="34" charset="0"/>
              </a:rPr>
              <a:t>&gt;&gt;&gt;</a:t>
            </a:r>
            <a:r>
              <a:rPr lang="en-US" sz="1600" dirty="0" smtClean="0">
                <a:solidFill>
                  <a:schemeClr val="accent4"/>
                </a:solidFill>
              </a:rPr>
              <a:t> </a:t>
            </a:r>
            <a:r>
              <a:rPr lang="en-US" sz="1600" dirty="0" smtClean="0">
                <a:solidFill>
                  <a:schemeClr val="accent2"/>
                </a:solidFill>
              </a:rPr>
              <a:t>val</a:t>
            </a:r>
            <a:r>
              <a:rPr lang="en-US" sz="1600" dirty="0" smtClean="0">
                <a:solidFill>
                  <a:schemeClr val="tx1">
                    <a:lumMod val="75000"/>
                    <a:lumOff val="25000"/>
                  </a:schemeClr>
                </a:solidFill>
              </a:rPr>
              <a:t> df = sqlContext.jsonFile(”</a:t>
            </a:r>
            <a:r>
              <a:rPr lang="en-US" sz="1600" dirty="0" smtClean="0">
                <a:solidFill>
                  <a:schemeClr val="accent1">
                    <a:lumMod val="50000"/>
                  </a:schemeClr>
                </a:solidFill>
              </a:rPr>
              <a:t>Users.json</a:t>
            </a:r>
            <a:r>
              <a:rPr lang="en-US" sz="1600" dirty="0" smtClean="0">
                <a:solidFill>
                  <a:schemeClr val="tx1">
                    <a:lumMod val="75000"/>
                    <a:lumOff val="25000"/>
                  </a:schemeClr>
                </a:solidFill>
              </a:rPr>
              <a:t>“)</a:t>
            </a:r>
          </a:p>
          <a:p>
            <a:pPr marL="110493" lvl="1" indent="0">
              <a:lnSpc>
                <a:spcPts val="2600"/>
              </a:lnSpc>
              <a:spcBef>
                <a:spcPts val="600"/>
              </a:spcBef>
              <a:spcAft>
                <a:spcPts val="0"/>
              </a:spcAft>
              <a:buNone/>
            </a:pPr>
            <a:r>
              <a:rPr lang="en-US" sz="1600" dirty="0">
                <a:solidFill>
                  <a:schemeClr val="accent4">
                    <a:lumMod val="75000"/>
                  </a:schemeClr>
                </a:solidFill>
              </a:rPr>
              <a:t>// register the D</a:t>
            </a:r>
            <a:r>
              <a:rPr lang="en-US" sz="1600" dirty="0" smtClean="0">
                <a:solidFill>
                  <a:schemeClr val="accent4">
                    <a:lumMod val="75000"/>
                  </a:schemeClr>
                </a:solidFill>
              </a:rPr>
              <a:t>ataframe </a:t>
            </a:r>
            <a:r>
              <a:rPr lang="en-US" sz="1600" dirty="0">
                <a:solidFill>
                  <a:schemeClr val="accent4">
                    <a:lumMod val="75000"/>
                  </a:schemeClr>
                </a:solidFill>
              </a:rPr>
              <a:t>as a temporary </a:t>
            </a:r>
            <a:r>
              <a:rPr lang="en-US" sz="1600" dirty="0" smtClean="0">
                <a:solidFill>
                  <a:schemeClr val="accent4">
                    <a:lumMod val="75000"/>
                  </a:schemeClr>
                </a:solidFill>
              </a:rPr>
              <a:t>table. Temp </a:t>
            </a:r>
            <a:r>
              <a:rPr lang="en-US" sz="1600" dirty="0">
                <a:solidFill>
                  <a:schemeClr val="accent4">
                    <a:lumMod val="75000"/>
                  </a:schemeClr>
                </a:solidFill>
              </a:rPr>
              <a:t>tables exist only during the lifetime of this instance of SQLContext</a:t>
            </a:r>
          </a:p>
          <a:p>
            <a:pPr marL="110493" lvl="1" indent="0">
              <a:lnSpc>
                <a:spcPts val="2600"/>
              </a:lnSpc>
              <a:spcBef>
                <a:spcPts val="0"/>
              </a:spcBef>
              <a:spcAft>
                <a:spcPts val="1200"/>
              </a:spcAft>
              <a:buNone/>
            </a:pPr>
            <a:r>
              <a:rPr lang="en-US" sz="1600" dirty="0" smtClean="0">
                <a:solidFill>
                  <a:schemeClr val="tx1">
                    <a:lumMod val="75000"/>
                    <a:lumOff val="25000"/>
                  </a:schemeClr>
                </a:solidFill>
              </a:rPr>
              <a:t> </a:t>
            </a:r>
            <a:r>
              <a:rPr lang="en-US" sz="1600" dirty="0" smtClean="0">
                <a:solidFill>
                  <a:schemeClr val="accent4"/>
                </a:solidFill>
                <a:latin typeface="Arial Narrow" panose="020B0606020202030204" pitchFamily="34" charset="0"/>
              </a:rPr>
              <a:t>&gt;&gt;&gt;</a:t>
            </a:r>
            <a:r>
              <a:rPr lang="en-US" sz="1600" dirty="0" smtClean="0">
                <a:solidFill>
                  <a:schemeClr val="accent4"/>
                </a:solidFill>
              </a:rPr>
              <a:t> </a:t>
            </a:r>
            <a:r>
              <a:rPr lang="en-US" sz="1600" dirty="0" smtClean="0">
                <a:solidFill>
                  <a:schemeClr val="accent2"/>
                </a:solidFill>
              </a:rPr>
              <a:t>val</a:t>
            </a:r>
            <a:r>
              <a:rPr lang="en-US" sz="1600" dirty="0" smtClean="0">
                <a:solidFill>
                  <a:schemeClr val="tx1">
                    <a:lumMod val="75000"/>
                    <a:lumOff val="25000"/>
                  </a:schemeClr>
                </a:solidFill>
              </a:rPr>
              <a:t> usertable = sqlContext.registerDataFrameAsTable(df, “UserTable”) </a:t>
            </a:r>
          </a:p>
          <a:p>
            <a:pPr marL="110493" lvl="1" indent="0">
              <a:lnSpc>
                <a:spcPts val="2600"/>
              </a:lnSpc>
              <a:spcBef>
                <a:spcPts val="600"/>
              </a:spcBef>
              <a:spcAft>
                <a:spcPts val="0"/>
              </a:spcAft>
              <a:buNone/>
            </a:pPr>
            <a:r>
              <a:rPr lang="en-US" sz="1600" dirty="0">
                <a:solidFill>
                  <a:schemeClr val="accent4">
                    <a:lumMod val="75000"/>
                  </a:schemeClr>
                </a:solidFill>
              </a:rPr>
              <a:t>//execute a SQL query on the table. The query returns a DataFrame</a:t>
            </a:r>
            <a:r>
              <a:rPr lang="en-US" sz="1600" dirty="0" smtClean="0">
                <a:solidFill>
                  <a:schemeClr val="accent4">
                    <a:lumMod val="75000"/>
                  </a:schemeClr>
                </a:solidFill>
              </a:rPr>
              <a:t>. </a:t>
            </a:r>
            <a:br>
              <a:rPr lang="en-US" sz="1600" dirty="0" smtClean="0">
                <a:solidFill>
                  <a:schemeClr val="accent4">
                    <a:lumMod val="75000"/>
                  </a:schemeClr>
                </a:solidFill>
              </a:rPr>
            </a:br>
            <a:r>
              <a:rPr lang="en-US" sz="1600" dirty="0" smtClean="0">
                <a:solidFill>
                  <a:schemeClr val="accent4">
                    <a:lumMod val="75000"/>
                  </a:schemeClr>
                </a:solidFill>
              </a:rPr>
              <a:t>// This is another </a:t>
            </a:r>
            <a:r>
              <a:rPr lang="en-US" sz="1600" dirty="0">
                <a:solidFill>
                  <a:schemeClr val="accent4">
                    <a:lumMod val="75000"/>
                  </a:schemeClr>
                </a:solidFill>
              </a:rPr>
              <a:t>way to create </a:t>
            </a:r>
            <a:r>
              <a:rPr lang="en-US" sz="1600" dirty="0" smtClean="0">
                <a:solidFill>
                  <a:schemeClr val="accent4">
                    <a:lumMod val="75000"/>
                  </a:schemeClr>
                </a:solidFill>
              </a:rPr>
              <a:t>DataFrames</a:t>
            </a:r>
            <a:endParaRPr lang="en-US" sz="1600" dirty="0">
              <a:solidFill>
                <a:schemeClr val="accent4">
                  <a:lumMod val="75000"/>
                </a:schemeClr>
              </a:solidFill>
            </a:endParaRPr>
          </a:p>
          <a:p>
            <a:pPr marL="110493" lvl="1" indent="0">
              <a:lnSpc>
                <a:spcPts val="2600"/>
              </a:lnSpc>
              <a:spcBef>
                <a:spcPts val="0"/>
              </a:spcBef>
              <a:spcAft>
                <a:spcPts val="1200"/>
              </a:spcAft>
              <a:buNone/>
            </a:pPr>
            <a:r>
              <a:rPr lang="en-US" sz="1600" dirty="0" smtClean="0">
                <a:solidFill>
                  <a:schemeClr val="accent4"/>
                </a:solidFill>
                <a:latin typeface="Arial Narrow" panose="020B0606020202030204" pitchFamily="34" charset="0"/>
              </a:rPr>
              <a:t>&gt;&gt;&gt;</a:t>
            </a:r>
            <a:r>
              <a:rPr lang="en-US" sz="1600" dirty="0" smtClean="0">
                <a:solidFill>
                  <a:schemeClr val="accent4"/>
                </a:solidFill>
              </a:rPr>
              <a:t> </a:t>
            </a:r>
            <a:r>
              <a:rPr lang="en-US" sz="1600" dirty="0" smtClean="0">
                <a:solidFill>
                  <a:schemeClr val="accent2"/>
                </a:solidFill>
              </a:rPr>
              <a:t>val</a:t>
            </a:r>
            <a:r>
              <a:rPr lang="en-US" sz="1600" dirty="0" smtClean="0">
                <a:solidFill>
                  <a:schemeClr val="accent4"/>
                </a:solidFill>
              </a:rPr>
              <a:t> </a:t>
            </a:r>
            <a:r>
              <a:rPr lang="en-US" sz="1600" dirty="0" smtClean="0">
                <a:solidFill>
                  <a:schemeClr val="tx1">
                    <a:lumMod val="75000"/>
                    <a:lumOff val="25000"/>
                  </a:schemeClr>
                </a:solidFill>
              </a:rPr>
              <a:t>teenagers</a:t>
            </a:r>
            <a:r>
              <a:rPr lang="en-US" sz="1600" dirty="0" smtClean="0">
                <a:solidFill>
                  <a:schemeClr val="accent4"/>
                </a:solidFill>
              </a:rPr>
              <a:t> </a:t>
            </a:r>
            <a:r>
              <a:rPr lang="en-US" sz="1600" dirty="0" smtClean="0">
                <a:solidFill>
                  <a:schemeClr val="tx1">
                    <a:lumMod val="75000"/>
                    <a:lumOff val="25000"/>
                  </a:schemeClr>
                </a:solidFill>
              </a:rPr>
              <a:t>= sqlContext.sql(“select Age as Years from UserTable where age &gt; 13 and age &lt;= 19”) </a:t>
            </a:r>
          </a:p>
        </p:txBody>
      </p:sp>
      <p:pic>
        <p:nvPicPr>
          <p:cNvPr id="4098" name="Picture 2" descr="http://a3.mzstatic.com/us/r30/Purple5/v4/44/a5/81/44a58193-6780-1e38-2ee0-874f8ddf7bdc/icon256-2x.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29806" y="5271019"/>
            <a:ext cx="977189" cy="977189"/>
          </a:xfrm>
          <a:prstGeom prst="rect">
            <a:avLst/>
          </a:prstGeom>
          <a:noFill/>
          <a:extLst>
            <a:ext uri="{909E8E84-426E-40DD-AFC4-6F175D3DCCD1}">
              <a14:hiddenFill xmlns:a14="http://schemas.microsoft.com/office/drawing/2010/main">
                <a:solidFill>
                  <a:srgbClr val="FFFFFF"/>
                </a:solidFill>
              </a14:hiddenFill>
            </a:ext>
          </a:extLst>
        </p:spPr>
      </p:pic>
      <p:sp>
        <p:nvSpPr>
          <p:cNvPr id="7" name="Rounded Rectangle 6"/>
          <p:cNvSpPr/>
          <p:nvPr/>
        </p:nvSpPr>
        <p:spPr bwMode="auto">
          <a:xfrm>
            <a:off x="3533991" y="5284795"/>
            <a:ext cx="1310184" cy="949636"/>
          </a:xfrm>
          <a:prstGeom prst="round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400" b="1" dirty="0" smtClean="0">
                <a:solidFill>
                  <a:schemeClr val="bg1"/>
                </a:solidFill>
                <a:latin typeface="+mj-lt"/>
                <a:ea typeface="Segoe UI" pitchFamily="34" charset="0"/>
                <a:cs typeface="Segoe UI" pitchFamily="34" charset="0"/>
              </a:rPr>
              <a:t>DataFrame</a:t>
            </a:r>
          </a:p>
        </p:txBody>
      </p:sp>
      <p:pic>
        <p:nvPicPr>
          <p:cNvPr id="4100" name="Picture 4" descr="http://www.clarity-ventures.com/portals/0/images/resources/custom-surveys-polls.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155375" y="5236699"/>
            <a:ext cx="990837" cy="990837"/>
          </a:xfrm>
          <a:prstGeom prst="rect">
            <a:avLst/>
          </a:prstGeom>
          <a:noFill/>
          <a:extLst>
            <a:ext uri="{909E8E84-426E-40DD-AFC4-6F175D3DCCD1}">
              <a14:hiddenFill xmlns:a14="http://schemas.microsoft.com/office/drawing/2010/main">
                <a:solidFill>
                  <a:srgbClr val="FFFFFF"/>
                </a:solidFill>
              </a14:hiddenFill>
            </a:ext>
          </a:extLst>
        </p:spPr>
      </p:pic>
      <p:sp>
        <p:nvSpPr>
          <p:cNvPr id="12" name="Rounded Rectangle 11"/>
          <p:cNvSpPr/>
          <p:nvPr/>
        </p:nvSpPr>
        <p:spPr bwMode="auto">
          <a:xfrm>
            <a:off x="10281567" y="5284795"/>
            <a:ext cx="1380348" cy="949636"/>
          </a:xfrm>
          <a:prstGeom prst="round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400" b="1" dirty="0" smtClean="0">
                <a:solidFill>
                  <a:schemeClr val="bg1"/>
                </a:solidFill>
                <a:latin typeface="+mj-lt"/>
                <a:ea typeface="Segoe UI" pitchFamily="34" charset="0"/>
                <a:cs typeface="Segoe UI" pitchFamily="34" charset="0"/>
              </a:rPr>
              <a:t>DataFrame</a:t>
            </a:r>
          </a:p>
        </p:txBody>
      </p:sp>
      <p:cxnSp>
        <p:nvCxnSpPr>
          <p:cNvPr id="11" name="Straight Arrow Connector 10"/>
          <p:cNvCxnSpPr/>
          <p:nvPr/>
        </p:nvCxnSpPr>
        <p:spPr>
          <a:xfrm flipV="1">
            <a:off x="1734291" y="5759612"/>
            <a:ext cx="1705802" cy="2"/>
          </a:xfrm>
          <a:prstGeom prst="straightConnector1">
            <a:avLst/>
          </a:prstGeom>
          <a:ln w="381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p:cNvCxnSpPr/>
          <p:nvPr/>
        </p:nvCxnSpPr>
        <p:spPr>
          <a:xfrm flipV="1">
            <a:off x="5007005" y="5759612"/>
            <a:ext cx="1909873" cy="3"/>
          </a:xfrm>
          <a:prstGeom prst="straightConnector1">
            <a:avLst/>
          </a:prstGeom>
          <a:ln w="381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p:cNvCxnSpPr/>
          <p:nvPr/>
        </p:nvCxnSpPr>
        <p:spPr>
          <a:xfrm>
            <a:off x="8240110" y="5732117"/>
            <a:ext cx="1894610" cy="2"/>
          </a:xfrm>
          <a:prstGeom prst="straightConnector1">
            <a:avLst/>
          </a:prstGeom>
          <a:ln w="381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8" name="TextBox 17"/>
          <p:cNvSpPr txBox="1"/>
          <p:nvPr/>
        </p:nvSpPr>
        <p:spPr>
          <a:xfrm>
            <a:off x="1967682" y="5370736"/>
            <a:ext cx="914400" cy="441435"/>
          </a:xfrm>
          <a:prstGeom prst="rect">
            <a:avLst/>
          </a:prstGeom>
          <a:noFill/>
        </p:spPr>
        <p:txBody>
          <a:bodyPr wrap="none" lIns="182880" tIns="146304" rIns="182880" bIns="146304" rtlCol="0" anchor="ctr">
            <a:noAutofit/>
          </a:bodyPr>
          <a:lstStyle/>
          <a:p>
            <a:pPr>
              <a:lnSpc>
                <a:spcPct val="90000"/>
              </a:lnSpc>
              <a:spcAft>
                <a:spcPts val="600"/>
              </a:spcAft>
            </a:pPr>
            <a:r>
              <a:rPr lang="en-US" sz="1400" dirty="0" smtClean="0">
                <a:solidFill>
                  <a:srgbClr val="7030A0"/>
                </a:solidFill>
              </a:rPr>
              <a:t>jsonFile</a:t>
            </a:r>
          </a:p>
        </p:txBody>
      </p:sp>
      <p:sp>
        <p:nvSpPr>
          <p:cNvPr id="23" name="TextBox 22"/>
          <p:cNvSpPr txBox="1"/>
          <p:nvPr/>
        </p:nvSpPr>
        <p:spPr>
          <a:xfrm>
            <a:off x="4860158" y="5370736"/>
            <a:ext cx="1909029" cy="441435"/>
          </a:xfrm>
          <a:prstGeom prst="rect">
            <a:avLst/>
          </a:prstGeom>
          <a:noFill/>
        </p:spPr>
        <p:txBody>
          <a:bodyPr wrap="none" lIns="182880" tIns="146304" rIns="182880" bIns="146304" rtlCol="0" anchor="ctr">
            <a:noAutofit/>
          </a:bodyPr>
          <a:lstStyle/>
          <a:p>
            <a:pPr>
              <a:lnSpc>
                <a:spcPct val="90000"/>
              </a:lnSpc>
              <a:spcAft>
                <a:spcPts val="600"/>
              </a:spcAft>
            </a:pPr>
            <a:r>
              <a:rPr lang="en-US" sz="1400" dirty="0">
                <a:solidFill>
                  <a:srgbClr val="7030A0"/>
                </a:solidFill>
              </a:rPr>
              <a:t>r</a:t>
            </a:r>
            <a:r>
              <a:rPr lang="en-US" sz="1400" dirty="0" smtClean="0">
                <a:solidFill>
                  <a:srgbClr val="7030A0"/>
                </a:solidFill>
              </a:rPr>
              <a:t>egisterDataFrameAsTable</a:t>
            </a:r>
          </a:p>
        </p:txBody>
      </p:sp>
      <p:sp>
        <p:nvSpPr>
          <p:cNvPr id="24" name="TextBox 23"/>
          <p:cNvSpPr txBox="1"/>
          <p:nvPr/>
        </p:nvSpPr>
        <p:spPr>
          <a:xfrm>
            <a:off x="8695219" y="5370736"/>
            <a:ext cx="890201" cy="441435"/>
          </a:xfrm>
          <a:prstGeom prst="rect">
            <a:avLst/>
          </a:prstGeom>
          <a:noFill/>
        </p:spPr>
        <p:txBody>
          <a:bodyPr wrap="none" lIns="182880" tIns="146304" rIns="182880" bIns="146304" rtlCol="0" anchor="ctr">
            <a:noAutofit/>
          </a:bodyPr>
          <a:lstStyle/>
          <a:p>
            <a:pPr>
              <a:lnSpc>
                <a:spcPct val="90000"/>
              </a:lnSpc>
              <a:spcAft>
                <a:spcPts val="600"/>
              </a:spcAft>
            </a:pPr>
            <a:r>
              <a:rPr lang="en-US" sz="1400" dirty="0">
                <a:solidFill>
                  <a:srgbClr val="7030A0"/>
                </a:solidFill>
              </a:rPr>
              <a:t> </a:t>
            </a:r>
            <a:r>
              <a:rPr lang="en-US" sz="1400" dirty="0" smtClean="0">
                <a:solidFill>
                  <a:srgbClr val="7030A0"/>
                </a:solidFill>
              </a:rPr>
              <a:t>sql query</a:t>
            </a:r>
          </a:p>
        </p:txBody>
      </p:sp>
    </p:spTree>
    <p:extLst>
      <p:ext uri="{BB962C8B-B14F-4D97-AF65-F5344CB8AC3E}">
        <p14:creationId xmlns:p14="http://schemas.microsoft.com/office/powerpoint/2010/main" val="778709379"/>
      </p:ext>
    </p:extLst>
  </p:cSld>
  <p:clrMapOvr>
    <a:masterClrMapping/>
  </p:clrMapOvr>
  <p:transition spd="med">
    <p:fade/>
  </p:transition>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Hive Tables</a:t>
            </a:r>
            <a:endParaRPr lang="en-US" dirty="0"/>
          </a:p>
        </p:txBody>
      </p:sp>
      <p:sp>
        <p:nvSpPr>
          <p:cNvPr id="3" name="Slide Number Placeholder 2"/>
          <p:cNvSpPr>
            <a:spLocks noGrp="1"/>
          </p:cNvSpPr>
          <p:nvPr>
            <p:ph type="sldNum" sz="quarter" idx="11"/>
          </p:nvPr>
        </p:nvSpPr>
        <p:spPr/>
        <p:txBody>
          <a:bodyPr/>
          <a:lstStyle/>
          <a:p>
            <a:pPr>
              <a:defRPr/>
            </a:pPr>
            <a:fld id="{F8A0AC42-AA1D-4944-8D96-660DE70C7E1B}" type="slidenum">
              <a:rPr lang="en-US" smtClean="0"/>
              <a:pPr>
                <a:defRPr/>
              </a:pPr>
              <a:t>48</a:t>
            </a:fld>
            <a:endParaRPr lang="en-US" dirty="0"/>
          </a:p>
        </p:txBody>
      </p:sp>
      <p:sp>
        <p:nvSpPr>
          <p:cNvPr id="4" name="TextBox 3"/>
          <p:cNvSpPr txBox="1"/>
          <p:nvPr/>
        </p:nvSpPr>
        <p:spPr>
          <a:xfrm>
            <a:off x="497247" y="1214321"/>
            <a:ext cx="10869917" cy="430887"/>
          </a:xfrm>
          <a:prstGeom prst="rect">
            <a:avLst/>
          </a:prstGeom>
          <a:noFill/>
          <a:ln>
            <a:noFill/>
          </a:ln>
        </p:spPr>
        <p:txBody>
          <a:bodyPr wrap="square">
            <a:spAutoFit/>
          </a:bodyPr>
          <a:lstStyle>
            <a:defPPr>
              <a:defRPr lang="en-US"/>
            </a:defPPr>
            <a:lvl2pPr marL="110493" lvl="1" indent="0" defTabSz="913770" fontAlgn="base">
              <a:lnSpc>
                <a:spcPct val="110000"/>
              </a:lnSpc>
              <a:spcBef>
                <a:spcPts val="600"/>
              </a:spcBef>
              <a:spcAft>
                <a:spcPts val="600"/>
              </a:spcAft>
              <a:buClr>
                <a:srgbClr val="68217A">
                  <a:lumMod val="50000"/>
                </a:srgbClr>
              </a:buClr>
              <a:buNone/>
              <a:tabLst>
                <a:tab pos="645523" algn="l"/>
              </a:tabLst>
              <a:defRPr sz="24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lvl="1"/>
            <a:r>
              <a:rPr lang="en-US" sz="2000" dirty="0"/>
              <a:t>Spark SQL also supports reading and writing data stored in </a:t>
            </a:r>
            <a:r>
              <a:rPr lang="en-US" sz="2000" dirty="0">
                <a:hlinkClick r:id="rId2"/>
              </a:rPr>
              <a:t>Apache Hive</a:t>
            </a:r>
            <a:r>
              <a:rPr lang="en-US" sz="2000" dirty="0"/>
              <a:t>.</a:t>
            </a:r>
          </a:p>
        </p:txBody>
      </p:sp>
      <p:sp>
        <p:nvSpPr>
          <p:cNvPr id="6" name="TextBox 5"/>
          <p:cNvSpPr txBox="1"/>
          <p:nvPr/>
        </p:nvSpPr>
        <p:spPr>
          <a:xfrm>
            <a:off x="703057" y="1681052"/>
            <a:ext cx="10664107" cy="2323713"/>
          </a:xfrm>
          <a:prstGeom prst="rect">
            <a:avLst/>
          </a:prstGeom>
          <a:solidFill>
            <a:schemeClr val="bg1">
              <a:lumMod val="95000"/>
            </a:schemeClr>
          </a:solidFill>
          <a:ln>
            <a:noFill/>
          </a:ln>
        </p:spPr>
        <p:txBody>
          <a:bodyPr wrap="square">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93" lvl="1" indent="0">
              <a:lnSpc>
                <a:spcPts val="2600"/>
              </a:lnSpc>
              <a:spcBef>
                <a:spcPts val="600"/>
              </a:spcBef>
              <a:spcAft>
                <a:spcPts val="0"/>
              </a:spcAft>
              <a:buNone/>
            </a:pPr>
            <a:r>
              <a:rPr lang="en-US" sz="1600" dirty="0" smtClean="0">
                <a:solidFill>
                  <a:schemeClr val="accent4">
                    <a:lumMod val="75000"/>
                  </a:schemeClr>
                </a:solidFill>
              </a:rPr>
              <a:t>// first create  </a:t>
            </a:r>
            <a:r>
              <a:rPr lang="en-US" sz="1600" dirty="0">
                <a:solidFill>
                  <a:schemeClr val="accent4">
                    <a:lumMod val="75000"/>
                  </a:schemeClr>
                </a:solidFill>
              </a:rPr>
              <a:t>a </a:t>
            </a:r>
            <a:r>
              <a:rPr lang="en-US" sz="1600" dirty="0" smtClean="0">
                <a:solidFill>
                  <a:schemeClr val="accent4">
                    <a:lumMod val="75000"/>
                  </a:schemeClr>
                </a:solidFill>
              </a:rPr>
              <a:t>HiveContext which is derived from SQLContext</a:t>
            </a:r>
            <a:r>
              <a:rPr lang="en-US" sz="1600" dirty="0">
                <a:solidFill>
                  <a:schemeClr val="accent4">
                    <a:lumMod val="75000"/>
                  </a:schemeClr>
                </a:solidFill>
              </a:rPr>
              <a:t/>
            </a:r>
            <a:br>
              <a:rPr lang="en-US" sz="1600" dirty="0">
                <a:solidFill>
                  <a:schemeClr val="accent4">
                    <a:lumMod val="75000"/>
                  </a:schemeClr>
                </a:solidFill>
              </a:rPr>
            </a:br>
            <a:r>
              <a:rPr lang="en-US" sz="1600" dirty="0" smtClean="0">
                <a:solidFill>
                  <a:schemeClr val="accent4"/>
                </a:solidFill>
                <a:latin typeface="Arial Narrow" panose="020B0606020202030204" pitchFamily="34" charset="0"/>
              </a:rPr>
              <a:t>&gt;&gt;&gt;</a:t>
            </a:r>
            <a:r>
              <a:rPr lang="en-US" sz="1600" dirty="0" smtClean="0">
                <a:solidFill>
                  <a:schemeClr val="accent4"/>
                </a:solidFill>
              </a:rPr>
              <a:t> </a:t>
            </a:r>
            <a:r>
              <a:rPr lang="en-US" sz="1600" dirty="0" smtClean="0">
                <a:solidFill>
                  <a:schemeClr val="accent2"/>
                </a:solidFill>
              </a:rPr>
              <a:t>val</a:t>
            </a:r>
            <a:r>
              <a:rPr lang="en-US" sz="1600" dirty="0" smtClean="0">
                <a:solidFill>
                  <a:schemeClr val="tx1">
                    <a:lumMod val="75000"/>
                    <a:lumOff val="25000"/>
                  </a:schemeClr>
                </a:solidFill>
              </a:rPr>
              <a:t> sqlContext </a:t>
            </a:r>
            <a:r>
              <a:rPr lang="en-US" sz="1600" dirty="0">
                <a:solidFill>
                  <a:schemeClr val="tx1">
                    <a:lumMod val="75000"/>
                    <a:lumOff val="25000"/>
                  </a:schemeClr>
                </a:solidFill>
              </a:rPr>
              <a:t>= new org.apache.spark.sql.hive.</a:t>
            </a:r>
            <a:r>
              <a:rPr lang="en-US" sz="1600" dirty="0">
                <a:solidFill>
                  <a:schemeClr val="accent1">
                    <a:lumMod val="75000"/>
                  </a:schemeClr>
                </a:solidFill>
              </a:rPr>
              <a:t>HiveContex</a:t>
            </a:r>
            <a:r>
              <a:rPr lang="en-US" sz="1600" dirty="0">
                <a:solidFill>
                  <a:schemeClr val="tx1">
                    <a:lumMod val="75000"/>
                    <a:lumOff val="25000"/>
                  </a:schemeClr>
                </a:solidFill>
              </a:rPr>
              <a:t>t(sc</a:t>
            </a:r>
            <a:r>
              <a:rPr lang="en-US" sz="1600" dirty="0" smtClean="0">
                <a:solidFill>
                  <a:schemeClr val="tx1">
                    <a:lumMod val="75000"/>
                    <a:lumOff val="25000"/>
                  </a:schemeClr>
                </a:solidFill>
              </a:rPr>
              <a:t>)</a:t>
            </a:r>
          </a:p>
          <a:p>
            <a:pPr marL="110493" lvl="1" indent="0">
              <a:lnSpc>
                <a:spcPts val="2600"/>
              </a:lnSpc>
              <a:spcBef>
                <a:spcPts val="600"/>
              </a:spcBef>
              <a:spcAft>
                <a:spcPts val="0"/>
              </a:spcAft>
              <a:buNone/>
            </a:pPr>
            <a:r>
              <a:rPr lang="en-US" sz="1600" dirty="0">
                <a:solidFill>
                  <a:schemeClr val="accent4"/>
                </a:solidFill>
                <a:latin typeface="Arial Narrow" panose="020B0606020202030204" pitchFamily="34" charset="0"/>
              </a:rPr>
              <a:t>&gt;&gt;&gt; </a:t>
            </a:r>
            <a:r>
              <a:rPr lang="en-US" sz="1600" dirty="0" smtClean="0">
                <a:solidFill>
                  <a:schemeClr val="tx1">
                    <a:lumMod val="75000"/>
                    <a:lumOff val="25000"/>
                  </a:schemeClr>
                </a:solidFill>
              </a:rPr>
              <a:t>sqlContext.sql</a:t>
            </a:r>
            <a:r>
              <a:rPr lang="en-US" sz="1600" dirty="0">
                <a:solidFill>
                  <a:schemeClr val="tx1">
                    <a:lumMod val="75000"/>
                    <a:lumOff val="25000"/>
                  </a:schemeClr>
                </a:solidFill>
              </a:rPr>
              <a:t>("</a:t>
            </a:r>
            <a:r>
              <a:rPr lang="en-US" sz="1600" dirty="0">
                <a:solidFill>
                  <a:schemeClr val="accent1">
                    <a:lumMod val="60000"/>
                    <a:lumOff val="40000"/>
                  </a:schemeClr>
                </a:solidFill>
              </a:rPr>
              <a:t>CREATE TABLE IF NOT EXISTS </a:t>
            </a:r>
            <a:r>
              <a:rPr lang="en-US" sz="1600" dirty="0" smtClean="0">
                <a:solidFill>
                  <a:schemeClr val="accent1">
                    <a:lumMod val="60000"/>
                    <a:lumOff val="40000"/>
                  </a:schemeClr>
                </a:solidFill>
              </a:rPr>
              <a:t>UserTable </a:t>
            </a:r>
            <a:r>
              <a:rPr lang="en-US" sz="1600" dirty="0">
                <a:solidFill>
                  <a:schemeClr val="accent1">
                    <a:lumMod val="60000"/>
                    <a:lumOff val="40000"/>
                  </a:schemeClr>
                </a:solidFill>
              </a:rPr>
              <a:t>(key INT, value STRING</a:t>
            </a:r>
            <a:r>
              <a:rPr lang="en-US" sz="1600" dirty="0">
                <a:solidFill>
                  <a:schemeClr val="tx1">
                    <a:lumMod val="75000"/>
                    <a:lumOff val="25000"/>
                  </a:schemeClr>
                </a:solidFill>
              </a:rPr>
              <a:t>)")</a:t>
            </a:r>
          </a:p>
          <a:p>
            <a:pPr marL="110493" lvl="1" indent="0">
              <a:lnSpc>
                <a:spcPts val="2600"/>
              </a:lnSpc>
              <a:spcBef>
                <a:spcPts val="600"/>
              </a:spcBef>
              <a:spcAft>
                <a:spcPts val="0"/>
              </a:spcAft>
              <a:buNone/>
            </a:pPr>
            <a:r>
              <a:rPr lang="en-US" sz="1600" dirty="0">
                <a:solidFill>
                  <a:schemeClr val="accent4"/>
                </a:solidFill>
                <a:latin typeface="Arial Narrow" panose="020B0606020202030204" pitchFamily="34" charset="0"/>
              </a:rPr>
              <a:t>&gt;&gt;&gt; </a:t>
            </a:r>
            <a:r>
              <a:rPr lang="en-US" sz="1600" dirty="0" smtClean="0">
                <a:solidFill>
                  <a:schemeClr val="tx1">
                    <a:lumMod val="75000"/>
                    <a:lumOff val="25000"/>
                  </a:schemeClr>
                </a:solidFill>
              </a:rPr>
              <a:t>sqlContext.sql</a:t>
            </a:r>
            <a:r>
              <a:rPr lang="en-US" sz="1600" dirty="0">
                <a:solidFill>
                  <a:schemeClr val="tx1">
                    <a:lumMod val="75000"/>
                    <a:lumOff val="25000"/>
                  </a:schemeClr>
                </a:solidFill>
              </a:rPr>
              <a:t>("</a:t>
            </a:r>
            <a:r>
              <a:rPr lang="en-US" sz="1600" dirty="0">
                <a:solidFill>
                  <a:schemeClr val="accent1">
                    <a:lumMod val="60000"/>
                    <a:lumOff val="40000"/>
                  </a:schemeClr>
                </a:solidFill>
              </a:rPr>
              <a:t>LOAD DATA LOCAL INPATH </a:t>
            </a:r>
            <a:r>
              <a:rPr lang="en-US" sz="1600" dirty="0" smtClean="0">
                <a:solidFill>
                  <a:schemeClr val="accent1">
                    <a:lumMod val="60000"/>
                    <a:lumOff val="40000"/>
                  </a:schemeClr>
                </a:solidFill>
              </a:rPr>
              <a:t>‘user.txt</a:t>
            </a:r>
            <a:r>
              <a:rPr lang="en-US" sz="1600" dirty="0">
                <a:solidFill>
                  <a:schemeClr val="accent1">
                    <a:lumMod val="60000"/>
                    <a:lumOff val="40000"/>
                  </a:schemeClr>
                </a:solidFill>
              </a:rPr>
              <a:t>' INTO TABLE </a:t>
            </a:r>
            <a:r>
              <a:rPr lang="en-US" sz="1600" dirty="0" smtClean="0">
                <a:solidFill>
                  <a:schemeClr val="accent1">
                    <a:lumMod val="60000"/>
                    <a:lumOff val="40000"/>
                  </a:schemeClr>
                </a:solidFill>
              </a:rPr>
              <a:t>UserTable</a:t>
            </a:r>
            <a:r>
              <a:rPr lang="en-US" sz="1600" dirty="0" smtClean="0">
                <a:solidFill>
                  <a:schemeClr val="tx1">
                    <a:lumMod val="75000"/>
                    <a:lumOff val="25000"/>
                  </a:schemeClr>
                </a:solidFill>
              </a:rPr>
              <a:t>")</a:t>
            </a:r>
            <a:endParaRPr lang="en-US" sz="1600" dirty="0">
              <a:solidFill>
                <a:schemeClr val="tx1">
                  <a:lumMod val="75000"/>
                  <a:lumOff val="25000"/>
                </a:schemeClr>
              </a:solidFill>
            </a:endParaRPr>
          </a:p>
          <a:p>
            <a:pPr marL="110493" lvl="1" indent="0">
              <a:lnSpc>
                <a:spcPts val="2600"/>
              </a:lnSpc>
              <a:spcBef>
                <a:spcPts val="600"/>
              </a:spcBef>
              <a:spcAft>
                <a:spcPts val="0"/>
              </a:spcAft>
              <a:buNone/>
            </a:pPr>
            <a:r>
              <a:rPr lang="en-US" sz="1600" dirty="0" smtClean="0">
                <a:solidFill>
                  <a:schemeClr val="accent4">
                    <a:lumMod val="75000"/>
                  </a:schemeClr>
                </a:solidFill>
              </a:rPr>
              <a:t> //Queries are expressed in HiveQL</a:t>
            </a:r>
            <a:endParaRPr lang="en-US" sz="1600" dirty="0">
              <a:solidFill>
                <a:schemeClr val="accent4">
                  <a:lumMod val="75000"/>
                </a:schemeClr>
              </a:solidFill>
            </a:endParaRPr>
          </a:p>
          <a:p>
            <a:pPr marL="110493" lvl="1" indent="0">
              <a:lnSpc>
                <a:spcPts val="2600"/>
              </a:lnSpc>
              <a:spcBef>
                <a:spcPts val="0"/>
              </a:spcBef>
              <a:spcAft>
                <a:spcPts val="1200"/>
              </a:spcAft>
              <a:buNone/>
            </a:pPr>
            <a:r>
              <a:rPr lang="en-US" sz="1600" dirty="0" smtClean="0">
                <a:solidFill>
                  <a:schemeClr val="accent4"/>
                </a:solidFill>
                <a:latin typeface="Arial Narrow" panose="020B0606020202030204" pitchFamily="34" charset="0"/>
              </a:rPr>
              <a:t>&gt;&gt;&gt;</a:t>
            </a:r>
            <a:r>
              <a:rPr lang="en-US" sz="1600" dirty="0">
                <a:solidFill>
                  <a:schemeClr val="accent4"/>
                </a:solidFill>
              </a:rPr>
              <a:t> </a:t>
            </a:r>
            <a:r>
              <a:rPr lang="en-US" sz="1600" dirty="0" smtClean="0">
                <a:solidFill>
                  <a:schemeClr val="accent2">
                    <a:lumMod val="75000"/>
                  </a:schemeClr>
                </a:solidFill>
              </a:rPr>
              <a:t>val</a:t>
            </a:r>
            <a:r>
              <a:rPr lang="en-US" sz="1600" dirty="0" smtClean="0">
                <a:solidFill>
                  <a:schemeClr val="accent4"/>
                </a:solidFill>
              </a:rPr>
              <a:t> </a:t>
            </a:r>
            <a:r>
              <a:rPr lang="en-US" sz="1600" dirty="0" smtClean="0">
                <a:solidFill>
                  <a:schemeClr val="tx1">
                    <a:lumMod val="75000"/>
                    <a:lumOff val="25000"/>
                  </a:schemeClr>
                </a:solidFill>
              </a:rPr>
              <a:t>df =</a:t>
            </a:r>
            <a:r>
              <a:rPr lang="en-US" sz="1600" dirty="0" smtClean="0">
                <a:solidFill>
                  <a:schemeClr val="accent4"/>
                </a:solidFill>
              </a:rPr>
              <a:t> </a:t>
            </a:r>
            <a:r>
              <a:rPr lang="en-US" sz="1600" dirty="0" smtClean="0">
                <a:solidFill>
                  <a:schemeClr val="tx1">
                    <a:lumMod val="75000"/>
                    <a:lumOff val="25000"/>
                  </a:schemeClr>
                </a:solidFill>
              </a:rPr>
              <a:t>sqlContext.sql</a:t>
            </a:r>
            <a:r>
              <a:rPr lang="en-US" sz="1600" dirty="0">
                <a:solidFill>
                  <a:schemeClr val="tx1">
                    <a:lumMod val="75000"/>
                    <a:lumOff val="25000"/>
                  </a:schemeClr>
                </a:solidFill>
              </a:rPr>
              <a:t>("</a:t>
            </a:r>
            <a:r>
              <a:rPr lang="en-US" sz="1600" dirty="0">
                <a:solidFill>
                  <a:schemeClr val="accent1">
                    <a:lumMod val="60000"/>
                    <a:lumOff val="40000"/>
                  </a:schemeClr>
                </a:solidFill>
              </a:rPr>
              <a:t>FROM </a:t>
            </a:r>
            <a:r>
              <a:rPr lang="en-US" sz="1600" dirty="0" smtClean="0">
                <a:solidFill>
                  <a:schemeClr val="accent1">
                    <a:lumMod val="60000"/>
                    <a:lumOff val="40000"/>
                  </a:schemeClr>
                </a:solidFill>
              </a:rPr>
              <a:t>UserTable </a:t>
            </a:r>
            <a:r>
              <a:rPr lang="en-US" sz="1600" dirty="0">
                <a:solidFill>
                  <a:schemeClr val="accent1">
                    <a:lumMod val="60000"/>
                    <a:lumOff val="40000"/>
                  </a:schemeClr>
                </a:solidFill>
              </a:rPr>
              <a:t>SELECT </a:t>
            </a:r>
            <a:r>
              <a:rPr lang="en-US" sz="1600" dirty="0" smtClean="0">
                <a:solidFill>
                  <a:schemeClr val="accent1">
                    <a:lumMod val="60000"/>
                    <a:lumOff val="40000"/>
                  </a:schemeClr>
                </a:solidFill>
              </a:rPr>
              <a:t>Name, Age</a:t>
            </a:r>
            <a:r>
              <a:rPr lang="en-US" sz="1600" dirty="0" smtClean="0">
                <a:solidFill>
                  <a:schemeClr val="tx1">
                    <a:lumMod val="75000"/>
                    <a:lumOff val="25000"/>
                  </a:schemeClr>
                </a:solidFill>
              </a:rPr>
              <a:t>")</a:t>
            </a:r>
          </a:p>
        </p:txBody>
      </p:sp>
      <p:sp>
        <p:nvSpPr>
          <p:cNvPr id="16" name="TextBox 15"/>
          <p:cNvSpPr txBox="1"/>
          <p:nvPr/>
        </p:nvSpPr>
        <p:spPr>
          <a:xfrm>
            <a:off x="497247" y="4044618"/>
            <a:ext cx="10044629" cy="404341"/>
          </a:xfrm>
          <a:prstGeom prst="rect">
            <a:avLst/>
          </a:prstGeom>
          <a:noFill/>
          <a:ln>
            <a:noFill/>
          </a:ln>
        </p:spPr>
        <p:txBody>
          <a:bodyPr wrap="square">
            <a:spAutoFit/>
          </a:bodyPr>
          <a:lstStyle>
            <a:defPPr>
              <a:defRPr lang="en-US"/>
            </a:defPPr>
            <a:lvl2pPr marL="110493" lvl="1" indent="0" defTabSz="913770" fontAlgn="base">
              <a:lnSpc>
                <a:spcPct val="110000"/>
              </a:lnSpc>
              <a:spcBef>
                <a:spcPts val="600"/>
              </a:spcBef>
              <a:spcAft>
                <a:spcPts val="600"/>
              </a:spcAft>
              <a:buClr>
                <a:srgbClr val="68217A">
                  <a:lumMod val="50000"/>
                </a:srgbClr>
              </a:buClr>
              <a:buNone/>
              <a:tabLst>
                <a:tab pos="645523" algn="l"/>
              </a:tabLst>
              <a:defRPr sz="24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lvl="1"/>
            <a:r>
              <a:rPr lang="en-US" sz="2000" dirty="0" smtClean="0"/>
              <a:t>Saving to Persistent Tables</a:t>
            </a:r>
            <a:endParaRPr lang="en-US" sz="2000" dirty="0"/>
          </a:p>
        </p:txBody>
      </p:sp>
      <p:sp>
        <p:nvSpPr>
          <p:cNvPr id="21" name="TextBox 20"/>
          <p:cNvSpPr txBox="1"/>
          <p:nvPr/>
        </p:nvSpPr>
        <p:spPr>
          <a:xfrm>
            <a:off x="497246" y="4439966"/>
            <a:ext cx="11058260" cy="1871282"/>
          </a:xfrm>
          <a:prstGeom prst="rect">
            <a:avLst/>
          </a:prstGeom>
          <a:noFill/>
          <a:ln>
            <a:noFill/>
          </a:ln>
        </p:spPr>
        <p:txBody>
          <a:bodyPr wrap="square">
            <a:spAutoFit/>
          </a:bodyPr>
          <a:lstStyle>
            <a:defPPr>
              <a:defRPr lang="en-US"/>
            </a:defPPr>
            <a:lvl2pPr marL="110493" lvl="1" indent="0" defTabSz="913770" fontAlgn="base">
              <a:lnSpc>
                <a:spcPct val="110000"/>
              </a:lnSpc>
              <a:spcBef>
                <a:spcPts val="600"/>
              </a:spcBef>
              <a:spcAft>
                <a:spcPts val="600"/>
              </a:spcAft>
              <a:buClr>
                <a:srgbClr val="68217A">
                  <a:lumMod val="50000"/>
                </a:srgbClr>
              </a:buClr>
              <a:buNone/>
              <a:tabLst>
                <a:tab pos="645523" algn="l"/>
              </a:tabLst>
              <a:defRPr sz="24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558686" lvl="1" indent="-448193">
              <a:spcBef>
                <a:spcPts val="0"/>
              </a:spcBef>
              <a:buBlip>
                <a:blip r:embed="rId3"/>
              </a:buBlip>
            </a:pPr>
            <a:r>
              <a:rPr lang="en-US" sz="1600" dirty="0" smtClean="0"/>
              <a:t>When working with a HiveContext a DataFrame can be </a:t>
            </a:r>
            <a:r>
              <a:rPr lang="en-US" sz="1600" dirty="0"/>
              <a:t>saved persistently. Persistent tables will still exist even after your Spark program has restarted, as long as you maintain your connection to the same metastore.</a:t>
            </a:r>
            <a:endParaRPr lang="en-US" sz="1600" dirty="0" smtClean="0"/>
          </a:p>
          <a:p>
            <a:pPr marL="558686" lvl="1" indent="-448193">
              <a:spcBef>
                <a:spcPts val="0"/>
              </a:spcBef>
              <a:buBlip>
                <a:blip r:embed="rId3"/>
              </a:buBlip>
            </a:pPr>
            <a:r>
              <a:rPr lang="en-US" sz="1600" dirty="0" smtClean="0"/>
              <a:t>saveAsTable() saves the content of the DataFrame to a data source as a table</a:t>
            </a:r>
            <a:r>
              <a:rPr lang="en-US" sz="1600" dirty="0"/>
              <a:t>. saveAsTable will materialize the contents of the dataframe and create a pointer to the data in the </a:t>
            </a:r>
            <a:r>
              <a:rPr lang="en-US" sz="1600" dirty="0" smtClean="0"/>
              <a:t>HiveMetastore.</a:t>
            </a:r>
          </a:p>
          <a:p>
            <a:pPr marL="558686" lvl="1" indent="-448193">
              <a:spcBef>
                <a:spcPts val="0"/>
              </a:spcBef>
              <a:buBlip>
                <a:blip r:embed="rId3"/>
              </a:buBlip>
            </a:pPr>
            <a:r>
              <a:rPr lang="en-US" sz="1600" dirty="0"/>
              <a:t>By default saveAsTable will create a “managed table”, meaning that the location of the data will be controlled by the metastore. Managed tables will also have their data deleted automatically when a table is </a:t>
            </a:r>
            <a:r>
              <a:rPr lang="en-US" sz="1600" dirty="0" smtClean="0"/>
              <a:t>dropped.</a:t>
            </a:r>
          </a:p>
        </p:txBody>
      </p:sp>
    </p:spTree>
    <p:extLst>
      <p:ext uri="{BB962C8B-B14F-4D97-AF65-F5344CB8AC3E}">
        <p14:creationId xmlns:p14="http://schemas.microsoft.com/office/powerpoint/2010/main" val="1650510020"/>
      </p:ext>
    </p:extLst>
  </p:cSld>
  <p:clrMapOvr>
    <a:masterClrMapping/>
  </p:clrMapOvr>
  <p:transition spd="med">
    <p:fade/>
  </p:transition>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bwMode="auto">
          <a:xfrm>
            <a:off x="1" y="973"/>
            <a:ext cx="5220356" cy="6857027"/>
          </a:xfrm>
          <a:prstGeom prst="rect">
            <a:avLst/>
          </a:prstGeom>
          <a:solidFill>
            <a:srgbClr val="68217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8927" tIns="143428"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endParaRPr lang="en-US" sz="5294" dirty="0">
              <a:solidFill>
                <a:srgbClr val="FFFFFF"/>
              </a:solidFill>
              <a:latin typeface="Segoe UI Light"/>
              <a:ea typeface="Segoe UI" pitchFamily="34" charset="0"/>
              <a:cs typeface="Segoe UI" pitchFamily="34" charset="0"/>
            </a:endParaRPr>
          </a:p>
          <a:p>
            <a:pPr defTabSz="914102" fontAlgn="base">
              <a:lnSpc>
                <a:spcPct val="90000"/>
              </a:lnSpc>
              <a:spcBef>
                <a:spcPct val="0"/>
              </a:spcBef>
              <a:spcAft>
                <a:spcPct val="0"/>
              </a:spcAft>
            </a:pPr>
            <a:endParaRPr lang="en-US" sz="5294" dirty="0">
              <a:solidFill>
                <a:srgbClr val="FFFFFF"/>
              </a:solidFill>
              <a:latin typeface="Segoe UI Light"/>
              <a:ea typeface="Segoe UI" pitchFamily="34" charset="0"/>
              <a:cs typeface="Segoe UI" pitchFamily="34" charset="0"/>
            </a:endParaRPr>
          </a:p>
        </p:txBody>
      </p:sp>
      <p:sp>
        <p:nvSpPr>
          <p:cNvPr id="5" name="Rectangle 4"/>
          <p:cNvSpPr/>
          <p:nvPr/>
        </p:nvSpPr>
        <p:spPr bwMode="auto">
          <a:xfrm>
            <a:off x="1" y="6319659"/>
            <a:ext cx="5220356" cy="537855"/>
          </a:xfrm>
          <a:prstGeom prst="rect">
            <a:avLst/>
          </a:prstGeom>
          <a:solidFill>
            <a:schemeClr val="accent3">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endParaRPr lang="en-US" sz="2353" kern="0" dirty="0">
              <a:ln>
                <a:solidFill>
                  <a:srgbClr val="FFFFFF">
                    <a:alpha val="0"/>
                  </a:srgbClr>
                </a:solidFill>
              </a:ln>
              <a:solidFill>
                <a:srgbClr val="FFFFFF"/>
              </a:solidFill>
              <a:latin typeface="Segoe UI Semibold" panose="020B0702040204020203" pitchFamily="34" charset="0"/>
              <a:ea typeface="MS PGothic" charset="0"/>
              <a:cs typeface="Segoe UI Semibold" panose="020B0702040204020203" pitchFamily="34" charset="0"/>
            </a:endParaRPr>
          </a:p>
        </p:txBody>
      </p:sp>
      <p:sp>
        <p:nvSpPr>
          <p:cNvPr id="6" name="Freeform 5"/>
          <p:cNvSpPr>
            <a:spLocks/>
          </p:cNvSpPr>
          <p:nvPr/>
        </p:nvSpPr>
        <p:spPr bwMode="auto">
          <a:xfrm flipH="1">
            <a:off x="2619107" y="4183803"/>
            <a:ext cx="2601249" cy="2135857"/>
          </a:xfrm>
          <a:custGeom>
            <a:avLst/>
            <a:gdLst>
              <a:gd name="connsiteX0" fmla="*/ 603413 w 1090712"/>
              <a:gd name="connsiteY0" fmla="*/ 721327 h 895572"/>
              <a:gd name="connsiteX1" fmla="*/ 578466 w 1090712"/>
              <a:gd name="connsiteY1" fmla="*/ 770746 h 895572"/>
              <a:gd name="connsiteX2" fmla="*/ 553519 w 1090712"/>
              <a:gd name="connsiteY2" fmla="*/ 818264 h 895572"/>
              <a:gd name="connsiteX3" fmla="*/ 528334 w 1090712"/>
              <a:gd name="connsiteY3" fmla="*/ 865069 h 895572"/>
              <a:gd name="connsiteX4" fmla="*/ 511825 w 1090712"/>
              <a:gd name="connsiteY4" fmla="*/ 895572 h 895572"/>
              <a:gd name="connsiteX5" fmla="*/ 624528 w 1090712"/>
              <a:gd name="connsiteY5" fmla="*/ 895572 h 895572"/>
              <a:gd name="connsiteX6" fmla="*/ 624796 w 1090712"/>
              <a:gd name="connsiteY6" fmla="*/ 894768 h 895572"/>
              <a:gd name="connsiteX7" fmla="*/ 625271 w 1090712"/>
              <a:gd name="connsiteY7" fmla="*/ 891679 h 895572"/>
              <a:gd name="connsiteX8" fmla="*/ 625747 w 1090712"/>
              <a:gd name="connsiteY8" fmla="*/ 889066 h 895572"/>
              <a:gd name="connsiteX9" fmla="*/ 625747 w 1090712"/>
              <a:gd name="connsiteY9" fmla="*/ 860555 h 895572"/>
              <a:gd name="connsiteX10" fmla="*/ 624796 w 1090712"/>
              <a:gd name="connsiteY10" fmla="*/ 833945 h 895572"/>
              <a:gd name="connsiteX11" fmla="*/ 624321 w 1090712"/>
              <a:gd name="connsiteY11" fmla="*/ 820877 h 895572"/>
              <a:gd name="connsiteX12" fmla="*/ 623608 w 1090712"/>
              <a:gd name="connsiteY12" fmla="*/ 808047 h 895572"/>
              <a:gd name="connsiteX13" fmla="*/ 621708 w 1090712"/>
              <a:gd name="connsiteY13" fmla="*/ 795218 h 895572"/>
              <a:gd name="connsiteX14" fmla="*/ 620044 w 1090712"/>
              <a:gd name="connsiteY14" fmla="*/ 782625 h 895572"/>
              <a:gd name="connsiteX15" fmla="*/ 616005 w 1090712"/>
              <a:gd name="connsiteY15" fmla="*/ 766707 h 895572"/>
              <a:gd name="connsiteX16" fmla="*/ 611966 w 1090712"/>
              <a:gd name="connsiteY16" fmla="*/ 751976 h 895572"/>
              <a:gd name="connsiteX17" fmla="*/ 607452 w 1090712"/>
              <a:gd name="connsiteY17" fmla="*/ 737245 h 895572"/>
              <a:gd name="connsiteX18" fmla="*/ 698212 w 1090712"/>
              <a:gd name="connsiteY18" fmla="*/ 530778 h 895572"/>
              <a:gd name="connsiteX19" fmla="*/ 693460 w 1090712"/>
              <a:gd name="connsiteY19" fmla="*/ 534818 h 895572"/>
              <a:gd name="connsiteX20" fmla="*/ 688471 w 1090712"/>
              <a:gd name="connsiteY20" fmla="*/ 538857 h 895572"/>
              <a:gd name="connsiteX21" fmla="*/ 678254 w 1090712"/>
              <a:gd name="connsiteY21" fmla="*/ 546935 h 895572"/>
              <a:gd name="connsiteX22" fmla="*/ 669226 w 1090712"/>
              <a:gd name="connsiteY22" fmla="*/ 553587 h 895572"/>
              <a:gd name="connsiteX23" fmla="*/ 663048 w 1090712"/>
              <a:gd name="connsiteY23" fmla="*/ 558814 h 895572"/>
              <a:gd name="connsiteX24" fmla="*/ 663048 w 1090712"/>
              <a:gd name="connsiteY24" fmla="*/ 556676 h 895572"/>
              <a:gd name="connsiteX25" fmla="*/ 663523 w 1090712"/>
              <a:gd name="connsiteY25" fmla="*/ 554538 h 895572"/>
              <a:gd name="connsiteX26" fmla="*/ 665424 w 1090712"/>
              <a:gd name="connsiteY26" fmla="*/ 550498 h 895572"/>
              <a:gd name="connsiteX27" fmla="*/ 668038 w 1090712"/>
              <a:gd name="connsiteY27" fmla="*/ 546459 h 895572"/>
              <a:gd name="connsiteX28" fmla="*/ 671602 w 1090712"/>
              <a:gd name="connsiteY28" fmla="*/ 542420 h 895572"/>
              <a:gd name="connsiteX29" fmla="*/ 676829 w 1090712"/>
              <a:gd name="connsiteY29" fmla="*/ 538857 h 895572"/>
              <a:gd name="connsiteX30" fmla="*/ 682768 w 1090712"/>
              <a:gd name="connsiteY30" fmla="*/ 535768 h 895572"/>
              <a:gd name="connsiteX31" fmla="*/ 689896 w 1090712"/>
              <a:gd name="connsiteY31" fmla="*/ 533154 h 895572"/>
              <a:gd name="connsiteX32" fmla="*/ 654257 w 1090712"/>
              <a:gd name="connsiteY32" fmla="*/ 302216 h 895572"/>
              <a:gd name="connsiteX33" fmla="*/ 651882 w 1090712"/>
              <a:gd name="connsiteY33" fmla="*/ 302691 h 895572"/>
              <a:gd name="connsiteX34" fmla="*/ 649268 w 1090712"/>
              <a:gd name="connsiteY34" fmla="*/ 303166 h 895572"/>
              <a:gd name="connsiteX35" fmla="*/ 647130 w 1090712"/>
              <a:gd name="connsiteY35" fmla="*/ 304354 h 895572"/>
              <a:gd name="connsiteX36" fmla="*/ 644516 w 1090712"/>
              <a:gd name="connsiteY36" fmla="*/ 306255 h 895572"/>
              <a:gd name="connsiteX37" fmla="*/ 642140 w 1090712"/>
              <a:gd name="connsiteY37" fmla="*/ 307918 h 895572"/>
              <a:gd name="connsiteX38" fmla="*/ 640002 w 1090712"/>
              <a:gd name="connsiteY38" fmla="*/ 310294 h 895572"/>
              <a:gd name="connsiteX39" fmla="*/ 638101 w 1090712"/>
              <a:gd name="connsiteY39" fmla="*/ 312432 h 895572"/>
              <a:gd name="connsiteX40" fmla="*/ 636913 w 1090712"/>
              <a:gd name="connsiteY40" fmla="*/ 314571 h 895572"/>
              <a:gd name="connsiteX41" fmla="*/ 635963 w 1090712"/>
              <a:gd name="connsiteY41" fmla="*/ 316946 h 895572"/>
              <a:gd name="connsiteX42" fmla="*/ 635963 w 1090712"/>
              <a:gd name="connsiteY42" fmla="*/ 319085 h 895572"/>
              <a:gd name="connsiteX43" fmla="*/ 636913 w 1090712"/>
              <a:gd name="connsiteY43" fmla="*/ 321223 h 895572"/>
              <a:gd name="connsiteX44" fmla="*/ 637626 w 1090712"/>
              <a:gd name="connsiteY44" fmla="*/ 324074 h 895572"/>
              <a:gd name="connsiteX45" fmla="*/ 639527 w 1090712"/>
              <a:gd name="connsiteY45" fmla="*/ 326688 h 895572"/>
              <a:gd name="connsiteX46" fmla="*/ 643091 w 1090712"/>
              <a:gd name="connsiteY46" fmla="*/ 331677 h 895572"/>
              <a:gd name="connsiteX47" fmla="*/ 647130 w 1090712"/>
              <a:gd name="connsiteY47" fmla="*/ 335954 h 895572"/>
              <a:gd name="connsiteX48" fmla="*/ 655920 w 1090712"/>
              <a:gd name="connsiteY48" fmla="*/ 330727 h 895572"/>
              <a:gd name="connsiteX49" fmla="*/ 663999 w 1090712"/>
              <a:gd name="connsiteY49" fmla="*/ 324787 h 895572"/>
              <a:gd name="connsiteX50" fmla="*/ 679917 w 1090712"/>
              <a:gd name="connsiteY50" fmla="*/ 313383 h 895572"/>
              <a:gd name="connsiteX51" fmla="*/ 676354 w 1090712"/>
              <a:gd name="connsiteY51" fmla="*/ 311007 h 895572"/>
              <a:gd name="connsiteX52" fmla="*/ 672790 w 1090712"/>
              <a:gd name="connsiteY52" fmla="*/ 308393 h 895572"/>
              <a:gd name="connsiteX53" fmla="*/ 668988 w 1090712"/>
              <a:gd name="connsiteY53" fmla="*/ 306730 h 895572"/>
              <a:gd name="connsiteX54" fmla="*/ 664949 w 1090712"/>
              <a:gd name="connsiteY54" fmla="*/ 304829 h 895572"/>
              <a:gd name="connsiteX55" fmla="*/ 660910 w 1090712"/>
              <a:gd name="connsiteY55" fmla="*/ 303641 h 895572"/>
              <a:gd name="connsiteX56" fmla="*/ 657346 w 1090712"/>
              <a:gd name="connsiteY56" fmla="*/ 302691 h 895572"/>
              <a:gd name="connsiteX57" fmla="*/ 696549 w 1090712"/>
              <a:gd name="connsiteY57" fmla="*/ 252322 h 895572"/>
              <a:gd name="connsiteX58" fmla="*/ 696786 w 1090712"/>
              <a:gd name="connsiteY58" fmla="*/ 259925 h 895572"/>
              <a:gd name="connsiteX59" fmla="*/ 698212 w 1090712"/>
              <a:gd name="connsiteY59" fmla="*/ 266102 h 895572"/>
              <a:gd name="connsiteX60" fmla="*/ 700113 w 1090712"/>
              <a:gd name="connsiteY60" fmla="*/ 272042 h 895572"/>
              <a:gd name="connsiteX61" fmla="*/ 701776 w 1090712"/>
              <a:gd name="connsiteY61" fmla="*/ 276794 h 895572"/>
              <a:gd name="connsiteX62" fmla="*/ 704389 w 1090712"/>
              <a:gd name="connsiteY62" fmla="*/ 280833 h 895572"/>
              <a:gd name="connsiteX63" fmla="*/ 707240 w 1090712"/>
              <a:gd name="connsiteY63" fmla="*/ 284397 h 895572"/>
              <a:gd name="connsiteX64" fmla="*/ 710329 w 1090712"/>
              <a:gd name="connsiteY64" fmla="*/ 287010 h 895572"/>
              <a:gd name="connsiteX65" fmla="*/ 713418 w 1090712"/>
              <a:gd name="connsiteY65" fmla="*/ 289624 h 895572"/>
              <a:gd name="connsiteX66" fmla="*/ 716506 w 1090712"/>
              <a:gd name="connsiteY66" fmla="*/ 291524 h 895572"/>
              <a:gd name="connsiteX67" fmla="*/ 719595 w 1090712"/>
              <a:gd name="connsiteY67" fmla="*/ 293187 h 895572"/>
              <a:gd name="connsiteX68" fmla="*/ 725772 w 1090712"/>
              <a:gd name="connsiteY68" fmla="*/ 295088 h 895572"/>
              <a:gd name="connsiteX69" fmla="*/ 731237 w 1090712"/>
              <a:gd name="connsiteY69" fmla="*/ 296514 h 895572"/>
              <a:gd name="connsiteX70" fmla="*/ 734801 w 1090712"/>
              <a:gd name="connsiteY70" fmla="*/ 296751 h 895572"/>
              <a:gd name="connsiteX71" fmla="*/ 722209 w 1090712"/>
              <a:gd name="connsiteY71" fmla="*/ 303879 h 895572"/>
              <a:gd name="connsiteX72" fmla="*/ 710804 w 1090712"/>
              <a:gd name="connsiteY72" fmla="*/ 311007 h 895572"/>
              <a:gd name="connsiteX73" fmla="*/ 688471 w 1090712"/>
              <a:gd name="connsiteY73" fmla="*/ 324787 h 895572"/>
              <a:gd name="connsiteX74" fmla="*/ 667563 w 1090712"/>
              <a:gd name="connsiteY74" fmla="*/ 339043 h 895572"/>
              <a:gd name="connsiteX75" fmla="*/ 646179 w 1090712"/>
              <a:gd name="connsiteY75" fmla="*/ 352823 h 895572"/>
              <a:gd name="connsiteX76" fmla="*/ 620044 w 1090712"/>
              <a:gd name="connsiteY76" fmla="*/ 313383 h 895572"/>
              <a:gd name="connsiteX77" fmla="*/ 617668 w 1090712"/>
              <a:gd name="connsiteY77" fmla="*/ 312432 h 895572"/>
              <a:gd name="connsiteX78" fmla="*/ 615055 w 1090712"/>
              <a:gd name="connsiteY78" fmla="*/ 312432 h 895572"/>
              <a:gd name="connsiteX79" fmla="*/ 612441 w 1090712"/>
              <a:gd name="connsiteY79" fmla="*/ 313383 h 895572"/>
              <a:gd name="connsiteX80" fmla="*/ 609353 w 1090712"/>
              <a:gd name="connsiteY80" fmla="*/ 314095 h 895572"/>
              <a:gd name="connsiteX81" fmla="*/ 602938 w 1090712"/>
              <a:gd name="connsiteY81" fmla="*/ 316946 h 895572"/>
              <a:gd name="connsiteX82" fmla="*/ 599849 w 1090712"/>
              <a:gd name="connsiteY82" fmla="*/ 317659 h 895572"/>
              <a:gd name="connsiteX83" fmla="*/ 596760 w 1090712"/>
              <a:gd name="connsiteY83" fmla="*/ 318610 h 895572"/>
              <a:gd name="connsiteX84" fmla="*/ 607927 w 1090712"/>
              <a:gd name="connsiteY84" fmla="*/ 307205 h 895572"/>
              <a:gd name="connsiteX85" fmla="*/ 618619 w 1090712"/>
              <a:gd name="connsiteY85" fmla="*/ 295088 h 895572"/>
              <a:gd name="connsiteX86" fmla="*/ 623846 w 1090712"/>
              <a:gd name="connsiteY86" fmla="*/ 289386 h 895572"/>
              <a:gd name="connsiteX87" fmla="*/ 629786 w 1090712"/>
              <a:gd name="connsiteY87" fmla="*/ 283921 h 895572"/>
              <a:gd name="connsiteX88" fmla="*/ 635963 w 1090712"/>
              <a:gd name="connsiteY88" fmla="*/ 278694 h 895572"/>
              <a:gd name="connsiteX89" fmla="*/ 642140 w 1090712"/>
              <a:gd name="connsiteY89" fmla="*/ 273705 h 895572"/>
              <a:gd name="connsiteX90" fmla="*/ 648793 w 1090712"/>
              <a:gd name="connsiteY90" fmla="*/ 269191 h 895572"/>
              <a:gd name="connsiteX91" fmla="*/ 655446 w 1090712"/>
              <a:gd name="connsiteY91" fmla="*/ 265627 h 895572"/>
              <a:gd name="connsiteX92" fmla="*/ 662098 w 1090712"/>
              <a:gd name="connsiteY92" fmla="*/ 263013 h 895572"/>
              <a:gd name="connsiteX93" fmla="*/ 668988 w 1090712"/>
              <a:gd name="connsiteY93" fmla="*/ 260400 h 895572"/>
              <a:gd name="connsiteX94" fmla="*/ 682768 w 1090712"/>
              <a:gd name="connsiteY94" fmla="*/ 256361 h 895572"/>
              <a:gd name="connsiteX95" fmla="*/ 1030602 w 1090712"/>
              <a:gd name="connsiteY95" fmla="*/ 200289 h 895572"/>
              <a:gd name="connsiteX96" fmla="*/ 1027513 w 1090712"/>
              <a:gd name="connsiteY96" fmla="*/ 207892 h 895572"/>
              <a:gd name="connsiteX97" fmla="*/ 1023949 w 1090712"/>
              <a:gd name="connsiteY97" fmla="*/ 214545 h 895572"/>
              <a:gd name="connsiteX98" fmla="*/ 1019910 w 1090712"/>
              <a:gd name="connsiteY98" fmla="*/ 221197 h 895572"/>
              <a:gd name="connsiteX99" fmla="*/ 1015396 w 1090712"/>
              <a:gd name="connsiteY99" fmla="*/ 226899 h 895572"/>
              <a:gd name="connsiteX100" fmla="*/ 1011119 w 1090712"/>
              <a:gd name="connsiteY100" fmla="*/ 232839 h 895572"/>
              <a:gd name="connsiteX101" fmla="*/ 1006130 w 1090712"/>
              <a:gd name="connsiteY101" fmla="*/ 237591 h 895572"/>
              <a:gd name="connsiteX102" fmla="*/ 1001140 w 1090712"/>
              <a:gd name="connsiteY102" fmla="*/ 242105 h 895572"/>
              <a:gd name="connsiteX103" fmla="*/ 996388 w 1090712"/>
              <a:gd name="connsiteY103" fmla="*/ 246144 h 895572"/>
              <a:gd name="connsiteX104" fmla="*/ 990924 w 1090712"/>
              <a:gd name="connsiteY104" fmla="*/ 249708 h 895572"/>
              <a:gd name="connsiteX105" fmla="*/ 985697 w 1090712"/>
              <a:gd name="connsiteY105" fmla="*/ 252797 h 895572"/>
              <a:gd name="connsiteX106" fmla="*/ 980232 w 1090712"/>
              <a:gd name="connsiteY106" fmla="*/ 254935 h 895572"/>
              <a:gd name="connsiteX107" fmla="*/ 975005 w 1090712"/>
              <a:gd name="connsiteY107" fmla="*/ 256836 h 895572"/>
              <a:gd name="connsiteX108" fmla="*/ 969541 w 1090712"/>
              <a:gd name="connsiteY108" fmla="*/ 258262 h 895572"/>
              <a:gd name="connsiteX109" fmla="*/ 963839 w 1090712"/>
              <a:gd name="connsiteY109" fmla="*/ 258499 h 895572"/>
              <a:gd name="connsiteX110" fmla="*/ 958612 w 1090712"/>
              <a:gd name="connsiteY110" fmla="*/ 258499 h 895572"/>
              <a:gd name="connsiteX111" fmla="*/ 953622 w 1090712"/>
              <a:gd name="connsiteY111" fmla="*/ 257786 h 895572"/>
              <a:gd name="connsiteX112" fmla="*/ 970966 w 1090712"/>
              <a:gd name="connsiteY112" fmla="*/ 244006 h 895572"/>
              <a:gd name="connsiteX113" fmla="*/ 990211 w 1090712"/>
              <a:gd name="connsiteY113" fmla="*/ 229275 h 895572"/>
              <a:gd name="connsiteX114" fmla="*/ 1010169 w 1090712"/>
              <a:gd name="connsiteY114" fmla="*/ 214069 h 895572"/>
              <a:gd name="connsiteX115" fmla="*/ 1020385 w 1090712"/>
              <a:gd name="connsiteY115" fmla="*/ 206942 h 895572"/>
              <a:gd name="connsiteX116" fmla="*/ 389581 w 1090712"/>
              <a:gd name="connsiteY116" fmla="*/ 176768 h 895572"/>
              <a:gd name="connsiteX117" fmla="*/ 397422 w 1090712"/>
              <a:gd name="connsiteY117" fmla="*/ 177243 h 895572"/>
              <a:gd name="connsiteX118" fmla="*/ 414766 w 1090712"/>
              <a:gd name="connsiteY118" fmla="*/ 178906 h 895572"/>
              <a:gd name="connsiteX119" fmla="*/ 405500 w 1090712"/>
              <a:gd name="connsiteY119" fmla="*/ 179856 h 895572"/>
              <a:gd name="connsiteX120" fmla="*/ 396946 w 1090712"/>
              <a:gd name="connsiteY120" fmla="*/ 181995 h 895572"/>
              <a:gd name="connsiteX121" fmla="*/ 389581 w 1090712"/>
              <a:gd name="connsiteY121" fmla="*/ 184371 h 895572"/>
              <a:gd name="connsiteX122" fmla="*/ 381978 w 1090712"/>
              <a:gd name="connsiteY122" fmla="*/ 186984 h 895572"/>
              <a:gd name="connsiteX123" fmla="*/ 375326 w 1090712"/>
              <a:gd name="connsiteY123" fmla="*/ 190548 h 895572"/>
              <a:gd name="connsiteX124" fmla="*/ 368911 w 1090712"/>
              <a:gd name="connsiteY124" fmla="*/ 194112 h 895572"/>
              <a:gd name="connsiteX125" fmla="*/ 363208 w 1090712"/>
              <a:gd name="connsiteY125" fmla="*/ 198626 h 895572"/>
              <a:gd name="connsiteX126" fmla="*/ 357981 w 1090712"/>
              <a:gd name="connsiteY126" fmla="*/ 202903 h 895572"/>
              <a:gd name="connsiteX127" fmla="*/ 352517 w 1090712"/>
              <a:gd name="connsiteY127" fmla="*/ 208367 h 895572"/>
              <a:gd name="connsiteX128" fmla="*/ 348003 w 1090712"/>
              <a:gd name="connsiteY128" fmla="*/ 214070 h 895572"/>
              <a:gd name="connsiteX129" fmla="*/ 343726 w 1090712"/>
              <a:gd name="connsiteY129" fmla="*/ 220247 h 895572"/>
              <a:gd name="connsiteX130" fmla="*/ 339687 w 1090712"/>
              <a:gd name="connsiteY130" fmla="*/ 226662 h 895572"/>
              <a:gd name="connsiteX131" fmla="*/ 335648 w 1090712"/>
              <a:gd name="connsiteY131" fmla="*/ 233790 h 895572"/>
              <a:gd name="connsiteX132" fmla="*/ 332559 w 1090712"/>
              <a:gd name="connsiteY132" fmla="*/ 240917 h 895572"/>
              <a:gd name="connsiteX133" fmla="*/ 328995 w 1090712"/>
              <a:gd name="connsiteY133" fmla="*/ 248758 h 895572"/>
              <a:gd name="connsiteX134" fmla="*/ 325907 w 1090712"/>
              <a:gd name="connsiteY134" fmla="*/ 256836 h 895572"/>
              <a:gd name="connsiteX135" fmla="*/ 325432 w 1090712"/>
              <a:gd name="connsiteY135" fmla="*/ 252797 h 895572"/>
              <a:gd name="connsiteX136" fmla="*/ 324956 w 1090712"/>
              <a:gd name="connsiteY136" fmla="*/ 248283 h 895572"/>
              <a:gd name="connsiteX137" fmla="*/ 323056 w 1090712"/>
              <a:gd name="connsiteY137" fmla="*/ 239492 h 895572"/>
              <a:gd name="connsiteX138" fmla="*/ 320917 w 1090712"/>
              <a:gd name="connsiteY138" fmla="*/ 229275 h 895572"/>
              <a:gd name="connsiteX139" fmla="*/ 320442 w 1090712"/>
              <a:gd name="connsiteY139" fmla="*/ 223811 h 895572"/>
              <a:gd name="connsiteX140" fmla="*/ 319967 w 1090712"/>
              <a:gd name="connsiteY140" fmla="*/ 217633 h 895572"/>
              <a:gd name="connsiteX141" fmla="*/ 314740 w 1090712"/>
              <a:gd name="connsiteY141" fmla="*/ 217633 h 895572"/>
              <a:gd name="connsiteX142" fmla="*/ 302148 w 1090712"/>
              <a:gd name="connsiteY142" fmla="*/ 243056 h 895572"/>
              <a:gd name="connsiteX143" fmla="*/ 289793 w 1090712"/>
              <a:gd name="connsiteY143" fmla="*/ 267528 h 895572"/>
              <a:gd name="connsiteX144" fmla="*/ 277438 w 1090712"/>
              <a:gd name="connsiteY144" fmla="*/ 291049 h 895572"/>
              <a:gd name="connsiteX145" fmla="*/ 264371 w 1090712"/>
              <a:gd name="connsiteY145" fmla="*/ 312907 h 895572"/>
              <a:gd name="connsiteX146" fmla="*/ 267459 w 1090712"/>
              <a:gd name="connsiteY146" fmla="*/ 295088 h 895572"/>
              <a:gd name="connsiteX147" fmla="*/ 271023 w 1090712"/>
              <a:gd name="connsiteY147" fmla="*/ 279170 h 895572"/>
              <a:gd name="connsiteX148" fmla="*/ 274587 w 1090712"/>
              <a:gd name="connsiteY148" fmla="*/ 263964 h 895572"/>
              <a:gd name="connsiteX149" fmla="*/ 279101 w 1090712"/>
              <a:gd name="connsiteY149" fmla="*/ 250183 h 895572"/>
              <a:gd name="connsiteX150" fmla="*/ 284091 w 1090712"/>
              <a:gd name="connsiteY150" fmla="*/ 238066 h 895572"/>
              <a:gd name="connsiteX151" fmla="*/ 289318 w 1090712"/>
              <a:gd name="connsiteY151" fmla="*/ 226900 h 895572"/>
              <a:gd name="connsiteX152" fmla="*/ 292406 w 1090712"/>
              <a:gd name="connsiteY152" fmla="*/ 221673 h 895572"/>
              <a:gd name="connsiteX153" fmla="*/ 295495 w 1090712"/>
              <a:gd name="connsiteY153" fmla="*/ 217158 h 895572"/>
              <a:gd name="connsiteX154" fmla="*/ 298584 w 1090712"/>
              <a:gd name="connsiteY154" fmla="*/ 212406 h 895572"/>
              <a:gd name="connsiteX155" fmla="*/ 302148 w 1090712"/>
              <a:gd name="connsiteY155" fmla="*/ 208367 h 895572"/>
              <a:gd name="connsiteX156" fmla="*/ 305711 w 1090712"/>
              <a:gd name="connsiteY156" fmla="*/ 204328 h 895572"/>
              <a:gd name="connsiteX157" fmla="*/ 309275 w 1090712"/>
              <a:gd name="connsiteY157" fmla="*/ 200765 h 895572"/>
              <a:gd name="connsiteX158" fmla="*/ 313314 w 1090712"/>
              <a:gd name="connsiteY158" fmla="*/ 197201 h 895572"/>
              <a:gd name="connsiteX159" fmla="*/ 317354 w 1090712"/>
              <a:gd name="connsiteY159" fmla="*/ 194112 h 895572"/>
              <a:gd name="connsiteX160" fmla="*/ 321868 w 1090712"/>
              <a:gd name="connsiteY160" fmla="*/ 191498 h 895572"/>
              <a:gd name="connsiteX161" fmla="*/ 326382 w 1090712"/>
              <a:gd name="connsiteY161" fmla="*/ 188647 h 895572"/>
              <a:gd name="connsiteX162" fmla="*/ 330659 w 1090712"/>
              <a:gd name="connsiteY162" fmla="*/ 186509 h 895572"/>
              <a:gd name="connsiteX163" fmla="*/ 335648 w 1090712"/>
              <a:gd name="connsiteY163" fmla="*/ 184371 h 895572"/>
              <a:gd name="connsiteX164" fmla="*/ 340637 w 1090712"/>
              <a:gd name="connsiteY164" fmla="*/ 182470 h 895572"/>
              <a:gd name="connsiteX165" fmla="*/ 345864 w 1090712"/>
              <a:gd name="connsiteY165" fmla="*/ 181282 h 895572"/>
              <a:gd name="connsiteX166" fmla="*/ 351091 w 1090712"/>
              <a:gd name="connsiteY166" fmla="*/ 179856 h 895572"/>
              <a:gd name="connsiteX167" fmla="*/ 357031 w 1090712"/>
              <a:gd name="connsiteY167" fmla="*/ 178431 h 895572"/>
              <a:gd name="connsiteX168" fmla="*/ 368911 w 1090712"/>
              <a:gd name="connsiteY168" fmla="*/ 177243 h 895572"/>
              <a:gd name="connsiteX169" fmla="*/ 381978 w 1090712"/>
              <a:gd name="connsiteY169" fmla="*/ 176768 h 895572"/>
              <a:gd name="connsiteX170" fmla="*/ 609353 w 1090712"/>
              <a:gd name="connsiteY170" fmla="*/ 174629 h 895572"/>
              <a:gd name="connsiteX171" fmla="*/ 602463 w 1090712"/>
              <a:gd name="connsiteY171" fmla="*/ 180807 h 895572"/>
              <a:gd name="connsiteX172" fmla="*/ 596285 w 1090712"/>
              <a:gd name="connsiteY172" fmla="*/ 187459 h 895572"/>
              <a:gd name="connsiteX173" fmla="*/ 583931 w 1090712"/>
              <a:gd name="connsiteY173" fmla="*/ 201715 h 895572"/>
              <a:gd name="connsiteX174" fmla="*/ 571101 w 1090712"/>
              <a:gd name="connsiteY174" fmla="*/ 215495 h 895572"/>
              <a:gd name="connsiteX175" fmla="*/ 564686 w 1090712"/>
              <a:gd name="connsiteY175" fmla="*/ 222148 h 895572"/>
              <a:gd name="connsiteX176" fmla="*/ 558508 w 1090712"/>
              <a:gd name="connsiteY176" fmla="*/ 228325 h 895572"/>
              <a:gd name="connsiteX177" fmla="*/ 557558 w 1090712"/>
              <a:gd name="connsiteY177" fmla="*/ 223335 h 895572"/>
              <a:gd name="connsiteX178" fmla="*/ 557083 w 1090712"/>
              <a:gd name="connsiteY178" fmla="*/ 219059 h 895572"/>
              <a:gd name="connsiteX179" fmla="*/ 557083 w 1090712"/>
              <a:gd name="connsiteY179" fmla="*/ 215020 h 895572"/>
              <a:gd name="connsiteX180" fmla="*/ 557558 w 1090712"/>
              <a:gd name="connsiteY180" fmla="*/ 210981 h 895572"/>
              <a:gd name="connsiteX181" fmla="*/ 558508 w 1090712"/>
              <a:gd name="connsiteY181" fmla="*/ 207417 h 895572"/>
              <a:gd name="connsiteX182" fmla="*/ 560409 w 1090712"/>
              <a:gd name="connsiteY182" fmla="*/ 203853 h 895572"/>
              <a:gd name="connsiteX183" fmla="*/ 562072 w 1090712"/>
              <a:gd name="connsiteY183" fmla="*/ 200764 h 895572"/>
              <a:gd name="connsiteX184" fmla="*/ 564686 w 1090712"/>
              <a:gd name="connsiteY184" fmla="*/ 197676 h 895572"/>
              <a:gd name="connsiteX185" fmla="*/ 567774 w 1090712"/>
              <a:gd name="connsiteY185" fmla="*/ 194587 h 895572"/>
              <a:gd name="connsiteX186" fmla="*/ 571813 w 1090712"/>
              <a:gd name="connsiteY186" fmla="*/ 191973 h 895572"/>
              <a:gd name="connsiteX187" fmla="*/ 576328 w 1090712"/>
              <a:gd name="connsiteY187" fmla="*/ 188647 h 895572"/>
              <a:gd name="connsiteX188" fmla="*/ 581317 w 1090712"/>
              <a:gd name="connsiteY188" fmla="*/ 186034 h 895572"/>
              <a:gd name="connsiteX189" fmla="*/ 587019 w 1090712"/>
              <a:gd name="connsiteY189" fmla="*/ 183420 h 895572"/>
              <a:gd name="connsiteX190" fmla="*/ 593672 w 1090712"/>
              <a:gd name="connsiteY190" fmla="*/ 180332 h 895572"/>
              <a:gd name="connsiteX191" fmla="*/ 586544 w 1090712"/>
              <a:gd name="connsiteY191" fmla="*/ 0 h 895572"/>
              <a:gd name="connsiteX192" fmla="*/ 570150 w 1090712"/>
              <a:gd name="connsiteY192" fmla="*/ 2851 h 895572"/>
              <a:gd name="connsiteX193" fmla="*/ 553519 w 1090712"/>
              <a:gd name="connsiteY193" fmla="*/ 5940 h 895572"/>
              <a:gd name="connsiteX194" fmla="*/ 536650 w 1090712"/>
              <a:gd name="connsiteY194" fmla="*/ 10454 h 895572"/>
              <a:gd name="connsiteX195" fmla="*/ 520256 w 1090712"/>
              <a:gd name="connsiteY195" fmla="*/ 14731 h 895572"/>
              <a:gd name="connsiteX196" fmla="*/ 486993 w 1090712"/>
              <a:gd name="connsiteY196" fmla="*/ 24472 h 895572"/>
              <a:gd name="connsiteX197" fmla="*/ 469887 w 1090712"/>
              <a:gd name="connsiteY197" fmla="*/ 28986 h 895572"/>
              <a:gd name="connsiteX198" fmla="*/ 453493 w 1090712"/>
              <a:gd name="connsiteY198" fmla="*/ 33500 h 895572"/>
              <a:gd name="connsiteX199" fmla="*/ 438762 w 1090712"/>
              <a:gd name="connsiteY199" fmla="*/ 40153 h 895572"/>
              <a:gd name="connsiteX200" fmla="*/ 424507 w 1090712"/>
              <a:gd name="connsiteY200" fmla="*/ 47281 h 895572"/>
              <a:gd name="connsiteX201" fmla="*/ 417379 w 1090712"/>
              <a:gd name="connsiteY201" fmla="*/ 51320 h 895572"/>
              <a:gd name="connsiteX202" fmla="*/ 410727 w 1090712"/>
              <a:gd name="connsiteY202" fmla="*/ 55834 h 895572"/>
              <a:gd name="connsiteX203" fmla="*/ 403599 w 1090712"/>
              <a:gd name="connsiteY203" fmla="*/ 60111 h 895572"/>
              <a:gd name="connsiteX204" fmla="*/ 397422 w 1090712"/>
              <a:gd name="connsiteY204" fmla="*/ 65100 h 895572"/>
              <a:gd name="connsiteX205" fmla="*/ 390769 w 1090712"/>
              <a:gd name="connsiteY205" fmla="*/ 69852 h 895572"/>
              <a:gd name="connsiteX206" fmla="*/ 384592 w 1090712"/>
              <a:gd name="connsiteY206" fmla="*/ 75792 h 895572"/>
              <a:gd name="connsiteX207" fmla="*/ 378889 w 1090712"/>
              <a:gd name="connsiteY207" fmla="*/ 81494 h 895572"/>
              <a:gd name="connsiteX208" fmla="*/ 372950 w 1090712"/>
              <a:gd name="connsiteY208" fmla="*/ 87671 h 895572"/>
              <a:gd name="connsiteX209" fmla="*/ 367723 w 1090712"/>
              <a:gd name="connsiteY209" fmla="*/ 94324 h 895572"/>
              <a:gd name="connsiteX210" fmla="*/ 362733 w 1090712"/>
              <a:gd name="connsiteY210" fmla="*/ 101452 h 895572"/>
              <a:gd name="connsiteX211" fmla="*/ 357981 w 1090712"/>
              <a:gd name="connsiteY211" fmla="*/ 109055 h 895572"/>
              <a:gd name="connsiteX212" fmla="*/ 353467 w 1090712"/>
              <a:gd name="connsiteY212" fmla="*/ 117608 h 895572"/>
              <a:gd name="connsiteX213" fmla="*/ 409064 w 1090712"/>
              <a:gd name="connsiteY213" fmla="*/ 117608 h 895572"/>
              <a:gd name="connsiteX214" fmla="*/ 406925 w 1090712"/>
              <a:gd name="connsiteY214" fmla="*/ 119271 h 895572"/>
              <a:gd name="connsiteX215" fmla="*/ 404074 w 1090712"/>
              <a:gd name="connsiteY215" fmla="*/ 121647 h 895572"/>
              <a:gd name="connsiteX216" fmla="*/ 400510 w 1090712"/>
              <a:gd name="connsiteY216" fmla="*/ 123310 h 895572"/>
              <a:gd name="connsiteX217" fmla="*/ 397422 w 1090712"/>
              <a:gd name="connsiteY217" fmla="*/ 125211 h 895572"/>
              <a:gd name="connsiteX218" fmla="*/ 393383 w 1090712"/>
              <a:gd name="connsiteY218" fmla="*/ 126399 h 895572"/>
              <a:gd name="connsiteX219" fmla="*/ 389581 w 1090712"/>
              <a:gd name="connsiteY219" fmla="*/ 127824 h 895572"/>
              <a:gd name="connsiteX220" fmla="*/ 385542 w 1090712"/>
              <a:gd name="connsiteY220" fmla="*/ 128299 h 895572"/>
              <a:gd name="connsiteX221" fmla="*/ 381503 w 1090712"/>
              <a:gd name="connsiteY221" fmla="*/ 128774 h 895572"/>
              <a:gd name="connsiteX222" fmla="*/ 375326 w 1090712"/>
              <a:gd name="connsiteY222" fmla="*/ 130438 h 895572"/>
              <a:gd name="connsiteX223" fmla="*/ 368435 w 1090712"/>
              <a:gd name="connsiteY223" fmla="*/ 131863 h 895572"/>
              <a:gd name="connsiteX224" fmla="*/ 361783 w 1090712"/>
              <a:gd name="connsiteY224" fmla="*/ 133051 h 895572"/>
              <a:gd name="connsiteX225" fmla="*/ 355606 w 1090712"/>
              <a:gd name="connsiteY225" fmla="*/ 134001 h 895572"/>
              <a:gd name="connsiteX226" fmla="*/ 342300 w 1090712"/>
              <a:gd name="connsiteY226" fmla="*/ 135427 h 895572"/>
              <a:gd name="connsiteX227" fmla="*/ 329471 w 1090712"/>
              <a:gd name="connsiteY227" fmla="*/ 137090 h 895572"/>
              <a:gd name="connsiteX228" fmla="*/ 322818 w 1090712"/>
              <a:gd name="connsiteY228" fmla="*/ 138040 h 895572"/>
              <a:gd name="connsiteX229" fmla="*/ 316403 w 1090712"/>
              <a:gd name="connsiteY229" fmla="*/ 139704 h 895572"/>
              <a:gd name="connsiteX230" fmla="*/ 310226 w 1090712"/>
              <a:gd name="connsiteY230" fmla="*/ 141604 h 895572"/>
              <a:gd name="connsiteX231" fmla="*/ 304048 w 1090712"/>
              <a:gd name="connsiteY231" fmla="*/ 144218 h 895572"/>
              <a:gd name="connsiteX232" fmla="*/ 298346 w 1090712"/>
              <a:gd name="connsiteY232" fmla="*/ 147307 h 895572"/>
              <a:gd name="connsiteX233" fmla="*/ 292406 w 1090712"/>
              <a:gd name="connsiteY233" fmla="*/ 151346 h 895572"/>
              <a:gd name="connsiteX234" fmla="*/ 286704 w 1090712"/>
              <a:gd name="connsiteY234" fmla="*/ 156335 h 895572"/>
              <a:gd name="connsiteX235" fmla="*/ 281240 w 1090712"/>
              <a:gd name="connsiteY235" fmla="*/ 162037 h 895572"/>
              <a:gd name="connsiteX236" fmla="*/ 262232 w 1090712"/>
              <a:gd name="connsiteY236" fmla="*/ 182945 h 895572"/>
              <a:gd name="connsiteX237" fmla="*/ 242987 w 1090712"/>
              <a:gd name="connsiteY237" fmla="*/ 203378 h 895572"/>
              <a:gd name="connsiteX238" fmla="*/ 203547 w 1090712"/>
              <a:gd name="connsiteY238" fmla="*/ 244006 h 895572"/>
              <a:gd name="connsiteX239" fmla="*/ 183827 w 1090712"/>
              <a:gd name="connsiteY239" fmla="*/ 264439 h 895572"/>
              <a:gd name="connsiteX240" fmla="*/ 164345 w 1090712"/>
              <a:gd name="connsiteY240" fmla="*/ 285822 h 895572"/>
              <a:gd name="connsiteX241" fmla="*/ 144862 w 1090712"/>
              <a:gd name="connsiteY241" fmla="*/ 307443 h 895572"/>
              <a:gd name="connsiteX242" fmla="*/ 126093 w 1090712"/>
              <a:gd name="connsiteY242" fmla="*/ 329777 h 895572"/>
              <a:gd name="connsiteX243" fmla="*/ 122054 w 1090712"/>
              <a:gd name="connsiteY243" fmla="*/ 335004 h 895572"/>
              <a:gd name="connsiteX244" fmla="*/ 118015 w 1090712"/>
              <a:gd name="connsiteY244" fmla="*/ 340468 h 895572"/>
              <a:gd name="connsiteX245" fmla="*/ 110887 w 1090712"/>
              <a:gd name="connsiteY245" fmla="*/ 352110 h 895572"/>
              <a:gd name="connsiteX246" fmla="*/ 104709 w 1090712"/>
              <a:gd name="connsiteY246" fmla="*/ 363514 h 895572"/>
              <a:gd name="connsiteX247" fmla="*/ 99007 w 1090712"/>
              <a:gd name="connsiteY247" fmla="*/ 375156 h 895572"/>
              <a:gd name="connsiteX248" fmla="*/ 87840 w 1090712"/>
              <a:gd name="connsiteY248" fmla="*/ 400103 h 895572"/>
              <a:gd name="connsiteX249" fmla="*/ 82138 w 1090712"/>
              <a:gd name="connsiteY249" fmla="*/ 412458 h 895572"/>
              <a:gd name="connsiteX250" fmla="*/ 75723 w 1090712"/>
              <a:gd name="connsiteY250" fmla="*/ 425050 h 895572"/>
              <a:gd name="connsiteX251" fmla="*/ 75723 w 1090712"/>
              <a:gd name="connsiteY251" fmla="*/ 429802 h 895572"/>
              <a:gd name="connsiteX252" fmla="*/ 76674 w 1090712"/>
              <a:gd name="connsiteY252" fmla="*/ 436217 h 895572"/>
              <a:gd name="connsiteX253" fmla="*/ 77149 w 1090712"/>
              <a:gd name="connsiteY253" fmla="*/ 439306 h 895572"/>
              <a:gd name="connsiteX254" fmla="*/ 78574 w 1090712"/>
              <a:gd name="connsiteY254" fmla="*/ 442395 h 895572"/>
              <a:gd name="connsiteX255" fmla="*/ 79762 w 1090712"/>
              <a:gd name="connsiteY255" fmla="*/ 445008 h 895572"/>
              <a:gd name="connsiteX256" fmla="*/ 81663 w 1090712"/>
              <a:gd name="connsiteY256" fmla="*/ 447147 h 895572"/>
              <a:gd name="connsiteX257" fmla="*/ 94018 w 1090712"/>
              <a:gd name="connsiteY257" fmla="*/ 468055 h 895572"/>
              <a:gd name="connsiteX258" fmla="*/ 106848 w 1090712"/>
              <a:gd name="connsiteY258" fmla="*/ 488963 h 895572"/>
              <a:gd name="connsiteX259" fmla="*/ 113975 w 1090712"/>
              <a:gd name="connsiteY259" fmla="*/ 499654 h 895572"/>
              <a:gd name="connsiteX260" fmla="*/ 121103 w 1090712"/>
              <a:gd name="connsiteY260" fmla="*/ 510346 h 895572"/>
              <a:gd name="connsiteX261" fmla="*/ 128706 w 1090712"/>
              <a:gd name="connsiteY261" fmla="*/ 520562 h 895572"/>
              <a:gd name="connsiteX262" fmla="*/ 137259 w 1090712"/>
              <a:gd name="connsiteY262" fmla="*/ 531254 h 895572"/>
              <a:gd name="connsiteX263" fmla="*/ 149614 w 1090712"/>
              <a:gd name="connsiteY263" fmla="*/ 514385 h 895572"/>
              <a:gd name="connsiteX264" fmla="*/ 162206 w 1090712"/>
              <a:gd name="connsiteY264" fmla="*/ 498466 h 895572"/>
              <a:gd name="connsiteX265" fmla="*/ 174561 w 1090712"/>
              <a:gd name="connsiteY265" fmla="*/ 483260 h 895572"/>
              <a:gd name="connsiteX266" fmla="*/ 180739 w 1090712"/>
              <a:gd name="connsiteY266" fmla="*/ 476133 h 895572"/>
              <a:gd name="connsiteX267" fmla="*/ 186916 w 1090712"/>
              <a:gd name="connsiteY267" fmla="*/ 469480 h 895572"/>
              <a:gd name="connsiteX268" fmla="*/ 182639 w 1090712"/>
              <a:gd name="connsiteY268" fmla="*/ 482310 h 895572"/>
              <a:gd name="connsiteX269" fmla="*/ 178125 w 1090712"/>
              <a:gd name="connsiteY269" fmla="*/ 495615 h 895572"/>
              <a:gd name="connsiteX270" fmla="*/ 172423 w 1090712"/>
              <a:gd name="connsiteY270" fmla="*/ 509871 h 895572"/>
              <a:gd name="connsiteX271" fmla="*/ 164820 w 1090712"/>
              <a:gd name="connsiteY271" fmla="*/ 525552 h 895572"/>
              <a:gd name="connsiteX272" fmla="*/ 156267 w 1090712"/>
              <a:gd name="connsiteY272" fmla="*/ 538381 h 895572"/>
              <a:gd name="connsiteX273" fmla="*/ 152703 w 1090712"/>
              <a:gd name="connsiteY273" fmla="*/ 544559 h 895572"/>
              <a:gd name="connsiteX274" fmla="*/ 148664 w 1090712"/>
              <a:gd name="connsiteY274" fmla="*/ 551449 h 895572"/>
              <a:gd name="connsiteX275" fmla="*/ 145100 w 1090712"/>
              <a:gd name="connsiteY275" fmla="*/ 558339 h 895572"/>
              <a:gd name="connsiteX276" fmla="*/ 142011 w 1090712"/>
              <a:gd name="connsiteY276" fmla="*/ 565467 h 895572"/>
              <a:gd name="connsiteX277" fmla="*/ 139398 w 1090712"/>
              <a:gd name="connsiteY277" fmla="*/ 573070 h 895572"/>
              <a:gd name="connsiteX278" fmla="*/ 137259 w 1090712"/>
              <a:gd name="connsiteY278" fmla="*/ 581623 h 895572"/>
              <a:gd name="connsiteX279" fmla="*/ 136309 w 1090712"/>
              <a:gd name="connsiteY279" fmla="*/ 583761 h 895572"/>
              <a:gd name="connsiteX280" fmla="*/ 135359 w 1090712"/>
              <a:gd name="connsiteY280" fmla="*/ 586137 h 895572"/>
              <a:gd name="connsiteX281" fmla="*/ 134883 w 1090712"/>
              <a:gd name="connsiteY281" fmla="*/ 590889 h 895572"/>
              <a:gd name="connsiteX282" fmla="*/ 134883 w 1090712"/>
              <a:gd name="connsiteY282" fmla="*/ 595879 h 895572"/>
              <a:gd name="connsiteX283" fmla="*/ 135359 w 1090712"/>
              <a:gd name="connsiteY283" fmla="*/ 601106 h 895572"/>
              <a:gd name="connsiteX284" fmla="*/ 136784 w 1090712"/>
              <a:gd name="connsiteY284" fmla="*/ 606095 h 895572"/>
              <a:gd name="connsiteX285" fmla="*/ 138447 w 1090712"/>
              <a:gd name="connsiteY285" fmla="*/ 611322 h 895572"/>
              <a:gd name="connsiteX286" fmla="*/ 140348 w 1090712"/>
              <a:gd name="connsiteY286" fmla="*/ 616311 h 895572"/>
              <a:gd name="connsiteX287" fmla="*/ 142486 w 1090712"/>
              <a:gd name="connsiteY287" fmla="*/ 620826 h 895572"/>
              <a:gd name="connsiteX288" fmla="*/ 148664 w 1090712"/>
              <a:gd name="connsiteY288" fmla="*/ 629616 h 895572"/>
              <a:gd name="connsiteX289" fmla="*/ 155554 w 1090712"/>
              <a:gd name="connsiteY289" fmla="*/ 637219 h 895572"/>
              <a:gd name="connsiteX290" fmla="*/ 162444 w 1090712"/>
              <a:gd name="connsiteY290" fmla="*/ 643872 h 895572"/>
              <a:gd name="connsiteX291" fmla="*/ 169572 w 1090712"/>
              <a:gd name="connsiteY291" fmla="*/ 649099 h 895572"/>
              <a:gd name="connsiteX292" fmla="*/ 177175 w 1090712"/>
              <a:gd name="connsiteY292" fmla="*/ 653613 h 895572"/>
              <a:gd name="connsiteX293" fmla="*/ 184778 w 1090712"/>
              <a:gd name="connsiteY293" fmla="*/ 657177 h 895572"/>
              <a:gd name="connsiteX294" fmla="*/ 192856 w 1090712"/>
              <a:gd name="connsiteY294" fmla="*/ 659553 h 895572"/>
              <a:gd name="connsiteX295" fmla="*/ 200934 w 1090712"/>
              <a:gd name="connsiteY295" fmla="*/ 661216 h 895572"/>
              <a:gd name="connsiteX296" fmla="*/ 209250 w 1090712"/>
              <a:gd name="connsiteY296" fmla="*/ 661691 h 895572"/>
              <a:gd name="connsiteX297" fmla="*/ 218278 w 1090712"/>
              <a:gd name="connsiteY297" fmla="*/ 661691 h 895572"/>
              <a:gd name="connsiteX298" fmla="*/ 227069 w 1090712"/>
              <a:gd name="connsiteY298" fmla="*/ 660266 h 895572"/>
              <a:gd name="connsiteX299" fmla="*/ 236335 w 1090712"/>
              <a:gd name="connsiteY299" fmla="*/ 658603 h 895572"/>
              <a:gd name="connsiteX300" fmla="*/ 245838 w 1090712"/>
              <a:gd name="connsiteY300" fmla="*/ 655514 h 895572"/>
              <a:gd name="connsiteX301" fmla="*/ 255580 w 1090712"/>
              <a:gd name="connsiteY301" fmla="*/ 652425 h 895572"/>
              <a:gd name="connsiteX302" fmla="*/ 265321 w 1090712"/>
              <a:gd name="connsiteY302" fmla="*/ 647911 h 895572"/>
              <a:gd name="connsiteX303" fmla="*/ 276013 w 1090712"/>
              <a:gd name="connsiteY303" fmla="*/ 642922 h 895572"/>
              <a:gd name="connsiteX304" fmla="*/ 288367 w 1090712"/>
              <a:gd name="connsiteY304" fmla="*/ 635081 h 895572"/>
              <a:gd name="connsiteX305" fmla="*/ 301910 w 1090712"/>
              <a:gd name="connsiteY305" fmla="*/ 627478 h 895572"/>
              <a:gd name="connsiteX306" fmla="*/ 315215 w 1090712"/>
              <a:gd name="connsiteY306" fmla="*/ 620350 h 895572"/>
              <a:gd name="connsiteX307" fmla="*/ 329471 w 1090712"/>
              <a:gd name="connsiteY307" fmla="*/ 613698 h 895572"/>
              <a:gd name="connsiteX308" fmla="*/ 343726 w 1090712"/>
              <a:gd name="connsiteY308" fmla="*/ 607283 h 895572"/>
              <a:gd name="connsiteX309" fmla="*/ 357981 w 1090712"/>
              <a:gd name="connsiteY309" fmla="*/ 602056 h 895572"/>
              <a:gd name="connsiteX310" fmla="*/ 371999 w 1090712"/>
              <a:gd name="connsiteY310" fmla="*/ 597066 h 895572"/>
              <a:gd name="connsiteX311" fmla="*/ 386730 w 1090712"/>
              <a:gd name="connsiteY311" fmla="*/ 592790 h 895572"/>
              <a:gd name="connsiteX312" fmla="*/ 394808 w 1090712"/>
              <a:gd name="connsiteY312" fmla="*/ 590414 h 895572"/>
              <a:gd name="connsiteX313" fmla="*/ 402411 w 1090712"/>
              <a:gd name="connsiteY313" fmla="*/ 587325 h 895572"/>
              <a:gd name="connsiteX314" fmla="*/ 409064 w 1090712"/>
              <a:gd name="connsiteY314" fmla="*/ 583761 h 895572"/>
              <a:gd name="connsiteX315" fmla="*/ 411677 w 1090712"/>
              <a:gd name="connsiteY315" fmla="*/ 581623 h 895572"/>
              <a:gd name="connsiteX316" fmla="*/ 414766 w 1090712"/>
              <a:gd name="connsiteY316" fmla="*/ 579247 h 895572"/>
              <a:gd name="connsiteX317" fmla="*/ 417142 w 1090712"/>
              <a:gd name="connsiteY317" fmla="*/ 577109 h 895572"/>
              <a:gd name="connsiteX318" fmla="*/ 419280 w 1090712"/>
              <a:gd name="connsiteY318" fmla="*/ 574495 h 895572"/>
              <a:gd name="connsiteX319" fmla="*/ 420943 w 1090712"/>
              <a:gd name="connsiteY319" fmla="*/ 571407 h 895572"/>
              <a:gd name="connsiteX320" fmla="*/ 422844 w 1090712"/>
              <a:gd name="connsiteY320" fmla="*/ 568318 h 895572"/>
              <a:gd name="connsiteX321" fmla="*/ 424269 w 1090712"/>
              <a:gd name="connsiteY321" fmla="*/ 565229 h 895572"/>
              <a:gd name="connsiteX322" fmla="*/ 424982 w 1090712"/>
              <a:gd name="connsiteY322" fmla="*/ 561665 h 895572"/>
              <a:gd name="connsiteX323" fmla="*/ 425457 w 1090712"/>
              <a:gd name="connsiteY323" fmla="*/ 557626 h 895572"/>
              <a:gd name="connsiteX324" fmla="*/ 425932 w 1090712"/>
              <a:gd name="connsiteY324" fmla="*/ 553587 h 895572"/>
              <a:gd name="connsiteX325" fmla="*/ 425932 w 1090712"/>
              <a:gd name="connsiteY325" fmla="*/ 413884 h 895572"/>
              <a:gd name="connsiteX326" fmla="*/ 425932 w 1090712"/>
              <a:gd name="connsiteY326" fmla="*/ 285347 h 895572"/>
              <a:gd name="connsiteX327" fmla="*/ 429496 w 1090712"/>
              <a:gd name="connsiteY327" fmla="*/ 300078 h 895572"/>
              <a:gd name="connsiteX328" fmla="*/ 433060 w 1090712"/>
              <a:gd name="connsiteY328" fmla="*/ 314096 h 895572"/>
              <a:gd name="connsiteX329" fmla="*/ 436149 w 1090712"/>
              <a:gd name="connsiteY329" fmla="*/ 328826 h 895572"/>
              <a:gd name="connsiteX330" fmla="*/ 438762 w 1090712"/>
              <a:gd name="connsiteY330" fmla="*/ 343082 h 895572"/>
              <a:gd name="connsiteX331" fmla="*/ 443752 w 1090712"/>
              <a:gd name="connsiteY331" fmla="*/ 370642 h 895572"/>
              <a:gd name="connsiteX332" fmla="*/ 447791 w 1090712"/>
              <a:gd name="connsiteY332" fmla="*/ 397015 h 895572"/>
              <a:gd name="connsiteX333" fmla="*/ 451830 w 1090712"/>
              <a:gd name="connsiteY333" fmla="*/ 421962 h 895572"/>
              <a:gd name="connsiteX334" fmla="*/ 454919 w 1090712"/>
              <a:gd name="connsiteY334" fmla="*/ 446434 h 895572"/>
              <a:gd name="connsiteX335" fmla="*/ 456106 w 1090712"/>
              <a:gd name="connsiteY335" fmla="*/ 458313 h 895572"/>
              <a:gd name="connsiteX336" fmla="*/ 457057 w 1090712"/>
              <a:gd name="connsiteY336" fmla="*/ 470430 h 895572"/>
              <a:gd name="connsiteX337" fmla="*/ 457532 w 1090712"/>
              <a:gd name="connsiteY337" fmla="*/ 482310 h 895572"/>
              <a:gd name="connsiteX338" fmla="*/ 457532 w 1090712"/>
              <a:gd name="connsiteY338" fmla="*/ 493952 h 895572"/>
              <a:gd name="connsiteX339" fmla="*/ 457532 w 1090712"/>
              <a:gd name="connsiteY339" fmla="*/ 506069 h 895572"/>
              <a:gd name="connsiteX340" fmla="*/ 456582 w 1090712"/>
              <a:gd name="connsiteY340" fmla="*/ 517473 h 895572"/>
              <a:gd name="connsiteX341" fmla="*/ 455869 w 1090712"/>
              <a:gd name="connsiteY341" fmla="*/ 529116 h 895572"/>
              <a:gd name="connsiteX342" fmla="*/ 453968 w 1090712"/>
              <a:gd name="connsiteY342" fmla="*/ 540757 h 895572"/>
              <a:gd name="connsiteX343" fmla="*/ 452305 w 1090712"/>
              <a:gd name="connsiteY343" fmla="*/ 552162 h 895572"/>
              <a:gd name="connsiteX344" fmla="*/ 449454 w 1090712"/>
              <a:gd name="connsiteY344" fmla="*/ 563804 h 895572"/>
              <a:gd name="connsiteX345" fmla="*/ 446365 w 1090712"/>
              <a:gd name="connsiteY345" fmla="*/ 575446 h 895572"/>
              <a:gd name="connsiteX346" fmla="*/ 442326 w 1090712"/>
              <a:gd name="connsiteY346" fmla="*/ 586850 h 895572"/>
              <a:gd name="connsiteX347" fmla="*/ 440188 w 1090712"/>
              <a:gd name="connsiteY347" fmla="*/ 591364 h 895572"/>
              <a:gd name="connsiteX348" fmla="*/ 437574 w 1090712"/>
              <a:gd name="connsiteY348" fmla="*/ 595403 h 895572"/>
              <a:gd name="connsiteX349" fmla="*/ 434486 w 1090712"/>
              <a:gd name="connsiteY349" fmla="*/ 598967 h 895572"/>
              <a:gd name="connsiteX350" fmla="*/ 431397 w 1090712"/>
              <a:gd name="connsiteY350" fmla="*/ 602531 h 895572"/>
              <a:gd name="connsiteX351" fmla="*/ 428071 w 1090712"/>
              <a:gd name="connsiteY351" fmla="*/ 605145 h 895572"/>
              <a:gd name="connsiteX352" fmla="*/ 424982 w 1090712"/>
              <a:gd name="connsiteY352" fmla="*/ 607283 h 895572"/>
              <a:gd name="connsiteX353" fmla="*/ 422369 w 1090712"/>
              <a:gd name="connsiteY353" fmla="*/ 608708 h 895572"/>
              <a:gd name="connsiteX354" fmla="*/ 420230 w 1090712"/>
              <a:gd name="connsiteY354" fmla="*/ 609659 h 895572"/>
              <a:gd name="connsiteX355" fmla="*/ 410727 w 1090712"/>
              <a:gd name="connsiteY355" fmla="*/ 610847 h 895572"/>
              <a:gd name="connsiteX356" fmla="*/ 401461 w 1090712"/>
              <a:gd name="connsiteY356" fmla="*/ 612748 h 895572"/>
              <a:gd name="connsiteX357" fmla="*/ 392670 w 1090712"/>
              <a:gd name="connsiteY357" fmla="*/ 614886 h 895572"/>
              <a:gd name="connsiteX358" fmla="*/ 383641 w 1090712"/>
              <a:gd name="connsiteY358" fmla="*/ 617262 h 895572"/>
              <a:gd name="connsiteX359" fmla="*/ 374850 w 1090712"/>
              <a:gd name="connsiteY359" fmla="*/ 620350 h 895572"/>
              <a:gd name="connsiteX360" fmla="*/ 365822 w 1090712"/>
              <a:gd name="connsiteY360" fmla="*/ 623914 h 895572"/>
              <a:gd name="connsiteX361" fmla="*/ 348478 w 1090712"/>
              <a:gd name="connsiteY361" fmla="*/ 631042 h 895572"/>
              <a:gd name="connsiteX362" fmla="*/ 331609 w 1090712"/>
              <a:gd name="connsiteY362" fmla="*/ 639358 h 895572"/>
              <a:gd name="connsiteX363" fmla="*/ 314740 w 1090712"/>
              <a:gd name="connsiteY363" fmla="*/ 647911 h 895572"/>
              <a:gd name="connsiteX364" fmla="*/ 281240 w 1090712"/>
              <a:gd name="connsiteY364" fmla="*/ 665255 h 895572"/>
              <a:gd name="connsiteX365" fmla="*/ 274587 w 1090712"/>
              <a:gd name="connsiteY365" fmla="*/ 669294 h 895572"/>
              <a:gd name="connsiteX366" fmla="*/ 267935 w 1090712"/>
              <a:gd name="connsiteY366" fmla="*/ 672858 h 895572"/>
              <a:gd name="connsiteX367" fmla="*/ 261757 w 1090712"/>
              <a:gd name="connsiteY367" fmla="*/ 675947 h 895572"/>
              <a:gd name="connsiteX368" fmla="*/ 255105 w 1090712"/>
              <a:gd name="connsiteY368" fmla="*/ 679035 h 895572"/>
              <a:gd name="connsiteX369" fmla="*/ 248927 w 1090712"/>
              <a:gd name="connsiteY369" fmla="*/ 681174 h 895572"/>
              <a:gd name="connsiteX370" fmla="*/ 242987 w 1090712"/>
              <a:gd name="connsiteY370" fmla="*/ 683075 h 895572"/>
              <a:gd name="connsiteX371" fmla="*/ 236810 w 1090712"/>
              <a:gd name="connsiteY371" fmla="*/ 684738 h 895572"/>
              <a:gd name="connsiteX372" fmla="*/ 231108 w 1090712"/>
              <a:gd name="connsiteY372" fmla="*/ 686163 h 895572"/>
              <a:gd name="connsiteX373" fmla="*/ 225406 w 1090712"/>
              <a:gd name="connsiteY373" fmla="*/ 687114 h 895572"/>
              <a:gd name="connsiteX374" fmla="*/ 219466 w 1090712"/>
              <a:gd name="connsiteY374" fmla="*/ 687589 h 895572"/>
              <a:gd name="connsiteX375" fmla="*/ 213764 w 1090712"/>
              <a:gd name="connsiteY375" fmla="*/ 687589 h 895572"/>
              <a:gd name="connsiteX376" fmla="*/ 208299 w 1090712"/>
              <a:gd name="connsiteY376" fmla="*/ 687589 h 895572"/>
              <a:gd name="connsiteX377" fmla="*/ 203072 w 1090712"/>
              <a:gd name="connsiteY377" fmla="*/ 687114 h 895572"/>
              <a:gd name="connsiteX378" fmla="*/ 197607 w 1090712"/>
              <a:gd name="connsiteY378" fmla="*/ 686163 h 895572"/>
              <a:gd name="connsiteX379" fmla="*/ 192380 w 1090712"/>
              <a:gd name="connsiteY379" fmla="*/ 684738 h 895572"/>
              <a:gd name="connsiteX380" fmla="*/ 186916 w 1090712"/>
              <a:gd name="connsiteY380" fmla="*/ 683550 h 895572"/>
              <a:gd name="connsiteX381" fmla="*/ 181689 w 1090712"/>
              <a:gd name="connsiteY381" fmla="*/ 681649 h 895572"/>
              <a:gd name="connsiteX382" fmla="*/ 176699 w 1090712"/>
              <a:gd name="connsiteY382" fmla="*/ 679986 h 895572"/>
              <a:gd name="connsiteX383" fmla="*/ 171472 w 1090712"/>
              <a:gd name="connsiteY383" fmla="*/ 677610 h 895572"/>
              <a:gd name="connsiteX384" fmla="*/ 166483 w 1090712"/>
              <a:gd name="connsiteY384" fmla="*/ 674996 h 895572"/>
              <a:gd name="connsiteX385" fmla="*/ 156742 w 1090712"/>
              <a:gd name="connsiteY385" fmla="*/ 669294 h 895572"/>
              <a:gd name="connsiteX386" fmla="*/ 147001 w 1090712"/>
              <a:gd name="connsiteY386" fmla="*/ 662167 h 895572"/>
              <a:gd name="connsiteX387" fmla="*/ 137735 w 1090712"/>
              <a:gd name="connsiteY387" fmla="*/ 654564 h 895572"/>
              <a:gd name="connsiteX388" fmla="*/ 127756 w 1090712"/>
              <a:gd name="connsiteY388" fmla="*/ 645535 h 895572"/>
              <a:gd name="connsiteX389" fmla="*/ 118490 w 1090712"/>
              <a:gd name="connsiteY389" fmla="*/ 636269 h 895572"/>
              <a:gd name="connsiteX390" fmla="*/ 109224 w 1090712"/>
              <a:gd name="connsiteY390" fmla="*/ 626053 h 895572"/>
              <a:gd name="connsiteX391" fmla="*/ 107323 w 1090712"/>
              <a:gd name="connsiteY391" fmla="*/ 623914 h 895572"/>
              <a:gd name="connsiteX392" fmla="*/ 106135 w 1090712"/>
              <a:gd name="connsiteY392" fmla="*/ 620350 h 895572"/>
              <a:gd name="connsiteX393" fmla="*/ 105185 w 1090712"/>
              <a:gd name="connsiteY393" fmla="*/ 616311 h 895572"/>
              <a:gd name="connsiteX394" fmla="*/ 105185 w 1090712"/>
              <a:gd name="connsiteY394" fmla="*/ 612272 h 895572"/>
              <a:gd name="connsiteX395" fmla="*/ 105185 w 1090712"/>
              <a:gd name="connsiteY395" fmla="*/ 608233 h 895572"/>
              <a:gd name="connsiteX396" fmla="*/ 106135 w 1090712"/>
              <a:gd name="connsiteY396" fmla="*/ 604194 h 895572"/>
              <a:gd name="connsiteX397" fmla="*/ 107323 w 1090712"/>
              <a:gd name="connsiteY397" fmla="*/ 600630 h 895572"/>
              <a:gd name="connsiteX398" fmla="*/ 109224 w 1090712"/>
              <a:gd name="connsiteY398" fmla="*/ 598017 h 895572"/>
              <a:gd name="connsiteX399" fmla="*/ 111837 w 1090712"/>
              <a:gd name="connsiteY399" fmla="*/ 591840 h 895572"/>
              <a:gd name="connsiteX400" fmla="*/ 113975 w 1090712"/>
              <a:gd name="connsiteY400" fmla="*/ 586137 h 895572"/>
              <a:gd name="connsiteX401" fmla="*/ 115401 w 1090712"/>
              <a:gd name="connsiteY401" fmla="*/ 579722 h 895572"/>
              <a:gd name="connsiteX402" fmla="*/ 115876 w 1090712"/>
              <a:gd name="connsiteY402" fmla="*/ 574020 h 895572"/>
              <a:gd name="connsiteX403" fmla="*/ 115876 w 1090712"/>
              <a:gd name="connsiteY403" fmla="*/ 568318 h 895572"/>
              <a:gd name="connsiteX404" fmla="*/ 115401 w 1090712"/>
              <a:gd name="connsiteY404" fmla="*/ 562378 h 895572"/>
              <a:gd name="connsiteX405" fmla="*/ 114451 w 1090712"/>
              <a:gd name="connsiteY405" fmla="*/ 557151 h 895572"/>
              <a:gd name="connsiteX406" fmla="*/ 112788 w 1090712"/>
              <a:gd name="connsiteY406" fmla="*/ 551449 h 895572"/>
              <a:gd name="connsiteX407" fmla="*/ 110412 w 1090712"/>
              <a:gd name="connsiteY407" fmla="*/ 545984 h 895572"/>
              <a:gd name="connsiteX408" fmla="*/ 108273 w 1090712"/>
              <a:gd name="connsiteY408" fmla="*/ 540757 h 895572"/>
              <a:gd name="connsiteX409" fmla="*/ 105185 w 1090712"/>
              <a:gd name="connsiteY409" fmla="*/ 535293 h 895572"/>
              <a:gd name="connsiteX410" fmla="*/ 102096 w 1090712"/>
              <a:gd name="connsiteY410" fmla="*/ 530066 h 895572"/>
              <a:gd name="connsiteX411" fmla="*/ 94968 w 1090712"/>
              <a:gd name="connsiteY411" fmla="*/ 519374 h 895572"/>
              <a:gd name="connsiteX412" fmla="*/ 86890 w 1090712"/>
              <a:gd name="connsiteY412" fmla="*/ 508683 h 895572"/>
              <a:gd name="connsiteX413" fmla="*/ 78812 w 1090712"/>
              <a:gd name="connsiteY413" fmla="*/ 497991 h 895572"/>
              <a:gd name="connsiteX414" fmla="*/ 70972 w 1090712"/>
              <a:gd name="connsiteY414" fmla="*/ 486824 h 895572"/>
              <a:gd name="connsiteX415" fmla="*/ 67408 w 1090712"/>
              <a:gd name="connsiteY415" fmla="*/ 481122 h 895572"/>
              <a:gd name="connsiteX416" fmla="*/ 64319 w 1090712"/>
              <a:gd name="connsiteY416" fmla="*/ 474707 h 895572"/>
              <a:gd name="connsiteX417" fmla="*/ 61230 w 1090712"/>
              <a:gd name="connsiteY417" fmla="*/ 469005 h 895572"/>
              <a:gd name="connsiteX418" fmla="*/ 58379 w 1090712"/>
              <a:gd name="connsiteY418" fmla="*/ 462828 h 895572"/>
              <a:gd name="connsiteX419" fmla="*/ 56716 w 1090712"/>
              <a:gd name="connsiteY419" fmla="*/ 456175 h 895572"/>
              <a:gd name="connsiteX420" fmla="*/ 54815 w 1090712"/>
              <a:gd name="connsiteY420" fmla="*/ 449998 h 895572"/>
              <a:gd name="connsiteX421" fmla="*/ 54103 w 1090712"/>
              <a:gd name="connsiteY421" fmla="*/ 443345 h 895572"/>
              <a:gd name="connsiteX422" fmla="*/ 53627 w 1090712"/>
              <a:gd name="connsiteY422" fmla="*/ 436455 h 895572"/>
              <a:gd name="connsiteX423" fmla="*/ 53627 w 1090712"/>
              <a:gd name="connsiteY423" fmla="*/ 429327 h 895572"/>
              <a:gd name="connsiteX424" fmla="*/ 54815 w 1090712"/>
              <a:gd name="connsiteY424" fmla="*/ 422675 h 895572"/>
              <a:gd name="connsiteX425" fmla="*/ 56716 w 1090712"/>
              <a:gd name="connsiteY425" fmla="*/ 415547 h 895572"/>
              <a:gd name="connsiteX426" fmla="*/ 59330 w 1090712"/>
              <a:gd name="connsiteY426" fmla="*/ 408182 h 895572"/>
              <a:gd name="connsiteX427" fmla="*/ 60280 w 1090712"/>
              <a:gd name="connsiteY427" fmla="*/ 403192 h 895572"/>
              <a:gd name="connsiteX428" fmla="*/ 61943 w 1090712"/>
              <a:gd name="connsiteY428" fmla="*/ 397965 h 895572"/>
              <a:gd name="connsiteX429" fmla="*/ 65507 w 1090712"/>
              <a:gd name="connsiteY429" fmla="*/ 387986 h 895572"/>
              <a:gd name="connsiteX430" fmla="*/ 69546 w 1090712"/>
              <a:gd name="connsiteY430" fmla="*/ 378720 h 895572"/>
              <a:gd name="connsiteX431" fmla="*/ 74535 w 1090712"/>
              <a:gd name="connsiteY431" fmla="*/ 369929 h 895572"/>
              <a:gd name="connsiteX432" fmla="*/ 79762 w 1090712"/>
              <a:gd name="connsiteY432" fmla="*/ 360901 h 895572"/>
              <a:gd name="connsiteX433" fmla="*/ 85940 w 1090712"/>
              <a:gd name="connsiteY433" fmla="*/ 352585 h 895572"/>
              <a:gd name="connsiteX434" fmla="*/ 98057 w 1090712"/>
              <a:gd name="connsiteY434" fmla="*/ 335479 h 895572"/>
              <a:gd name="connsiteX435" fmla="*/ 102571 w 1090712"/>
              <a:gd name="connsiteY435" fmla="*/ 328113 h 895572"/>
              <a:gd name="connsiteX436" fmla="*/ 106848 w 1090712"/>
              <a:gd name="connsiteY436" fmla="*/ 320986 h 895572"/>
              <a:gd name="connsiteX437" fmla="*/ 116827 w 1090712"/>
              <a:gd name="connsiteY437" fmla="*/ 307205 h 895572"/>
              <a:gd name="connsiteX438" fmla="*/ 127043 w 1090712"/>
              <a:gd name="connsiteY438" fmla="*/ 293188 h 895572"/>
              <a:gd name="connsiteX439" fmla="*/ 137735 w 1090712"/>
              <a:gd name="connsiteY439" fmla="*/ 279407 h 895572"/>
              <a:gd name="connsiteX440" fmla="*/ 159831 w 1090712"/>
              <a:gd name="connsiteY440" fmla="*/ 251847 h 895572"/>
              <a:gd name="connsiteX441" fmla="*/ 170522 w 1090712"/>
              <a:gd name="connsiteY441" fmla="*/ 238066 h 895572"/>
              <a:gd name="connsiteX442" fmla="*/ 181214 w 1090712"/>
              <a:gd name="connsiteY442" fmla="*/ 223336 h 895572"/>
              <a:gd name="connsiteX443" fmla="*/ 164820 w 1090712"/>
              <a:gd name="connsiteY443" fmla="*/ 223336 h 895572"/>
              <a:gd name="connsiteX444" fmla="*/ 137972 w 1090712"/>
              <a:gd name="connsiteY444" fmla="*/ 230226 h 895572"/>
              <a:gd name="connsiteX445" fmla="*/ 125142 w 1090712"/>
              <a:gd name="connsiteY445" fmla="*/ 233790 h 895572"/>
              <a:gd name="connsiteX446" fmla="*/ 112788 w 1090712"/>
              <a:gd name="connsiteY446" fmla="*/ 237591 h 895572"/>
              <a:gd name="connsiteX447" fmla="*/ 100195 w 1090712"/>
              <a:gd name="connsiteY447" fmla="*/ 241630 h 895572"/>
              <a:gd name="connsiteX448" fmla="*/ 87840 w 1090712"/>
              <a:gd name="connsiteY448" fmla="*/ 245669 h 895572"/>
              <a:gd name="connsiteX449" fmla="*/ 75723 w 1090712"/>
              <a:gd name="connsiteY449" fmla="*/ 250183 h 895572"/>
              <a:gd name="connsiteX450" fmla="*/ 64319 w 1090712"/>
              <a:gd name="connsiteY450" fmla="*/ 254935 h 895572"/>
              <a:gd name="connsiteX451" fmla="*/ 52677 w 1090712"/>
              <a:gd name="connsiteY451" fmla="*/ 260400 h 895572"/>
              <a:gd name="connsiteX452" fmla="*/ 41035 w 1090712"/>
              <a:gd name="connsiteY452" fmla="*/ 265627 h 895572"/>
              <a:gd name="connsiteX453" fmla="*/ 29868 w 1090712"/>
              <a:gd name="connsiteY453" fmla="*/ 271567 h 895572"/>
              <a:gd name="connsiteX454" fmla="*/ 18939 w 1090712"/>
              <a:gd name="connsiteY454" fmla="*/ 277744 h 895572"/>
              <a:gd name="connsiteX455" fmla="*/ 7772 w 1090712"/>
              <a:gd name="connsiteY455" fmla="*/ 284397 h 895572"/>
              <a:gd name="connsiteX456" fmla="*/ 0 w 1090712"/>
              <a:gd name="connsiteY456" fmla="*/ 289924 h 895572"/>
              <a:gd name="connsiteX457" fmla="*/ 0 w 1090712"/>
              <a:gd name="connsiteY457" fmla="*/ 895572 h 895572"/>
              <a:gd name="connsiteX458" fmla="*/ 125653 w 1090712"/>
              <a:gd name="connsiteY458" fmla="*/ 895572 h 895572"/>
              <a:gd name="connsiteX459" fmla="*/ 127756 w 1090712"/>
              <a:gd name="connsiteY459" fmla="*/ 892155 h 895572"/>
              <a:gd name="connsiteX460" fmla="*/ 131082 w 1090712"/>
              <a:gd name="connsiteY460" fmla="*/ 885502 h 895572"/>
              <a:gd name="connsiteX461" fmla="*/ 133696 w 1090712"/>
              <a:gd name="connsiteY461" fmla="*/ 878374 h 895572"/>
              <a:gd name="connsiteX462" fmla="*/ 135834 w 1090712"/>
              <a:gd name="connsiteY462" fmla="*/ 871722 h 895572"/>
              <a:gd name="connsiteX463" fmla="*/ 137735 w 1090712"/>
              <a:gd name="connsiteY463" fmla="*/ 864594 h 895572"/>
              <a:gd name="connsiteX464" fmla="*/ 138923 w 1090712"/>
              <a:gd name="connsiteY464" fmla="*/ 857466 h 895572"/>
              <a:gd name="connsiteX465" fmla="*/ 140348 w 1090712"/>
              <a:gd name="connsiteY465" fmla="*/ 850339 h 895572"/>
              <a:gd name="connsiteX466" fmla="*/ 141298 w 1090712"/>
              <a:gd name="connsiteY466" fmla="*/ 843211 h 895572"/>
              <a:gd name="connsiteX467" fmla="*/ 142011 w 1090712"/>
              <a:gd name="connsiteY467" fmla="*/ 828955 h 895572"/>
              <a:gd name="connsiteX468" fmla="*/ 142486 w 1090712"/>
              <a:gd name="connsiteY468" fmla="*/ 814225 h 895572"/>
              <a:gd name="connsiteX469" fmla="*/ 142486 w 1090712"/>
              <a:gd name="connsiteY469" fmla="*/ 799494 h 895572"/>
              <a:gd name="connsiteX470" fmla="*/ 142486 w 1090712"/>
              <a:gd name="connsiteY470" fmla="*/ 782625 h 895572"/>
              <a:gd name="connsiteX471" fmla="*/ 142486 w 1090712"/>
              <a:gd name="connsiteY471" fmla="*/ 771458 h 895572"/>
              <a:gd name="connsiteX472" fmla="*/ 143912 w 1090712"/>
              <a:gd name="connsiteY472" fmla="*/ 778586 h 895572"/>
              <a:gd name="connsiteX473" fmla="*/ 145100 w 1090712"/>
              <a:gd name="connsiteY473" fmla="*/ 784526 h 895572"/>
              <a:gd name="connsiteX474" fmla="*/ 147476 w 1090712"/>
              <a:gd name="connsiteY474" fmla="*/ 789753 h 895572"/>
              <a:gd name="connsiteX475" fmla="*/ 149614 w 1090712"/>
              <a:gd name="connsiteY475" fmla="*/ 794267 h 895572"/>
              <a:gd name="connsiteX476" fmla="*/ 152228 w 1090712"/>
              <a:gd name="connsiteY476" fmla="*/ 797831 h 895572"/>
              <a:gd name="connsiteX477" fmla="*/ 155554 w 1090712"/>
              <a:gd name="connsiteY477" fmla="*/ 801395 h 895572"/>
              <a:gd name="connsiteX478" fmla="*/ 158643 w 1090712"/>
              <a:gd name="connsiteY478" fmla="*/ 803533 h 895572"/>
              <a:gd name="connsiteX479" fmla="*/ 162206 w 1090712"/>
              <a:gd name="connsiteY479" fmla="*/ 805909 h 895572"/>
              <a:gd name="connsiteX480" fmla="*/ 165770 w 1090712"/>
              <a:gd name="connsiteY480" fmla="*/ 807572 h 895572"/>
              <a:gd name="connsiteX481" fmla="*/ 169572 w 1090712"/>
              <a:gd name="connsiteY481" fmla="*/ 808523 h 895572"/>
              <a:gd name="connsiteX482" fmla="*/ 174086 w 1090712"/>
              <a:gd name="connsiteY482" fmla="*/ 809473 h 895572"/>
              <a:gd name="connsiteX483" fmla="*/ 178600 w 1090712"/>
              <a:gd name="connsiteY483" fmla="*/ 810186 h 895572"/>
              <a:gd name="connsiteX484" fmla="*/ 187866 w 1090712"/>
              <a:gd name="connsiteY484" fmla="*/ 810661 h 895572"/>
              <a:gd name="connsiteX485" fmla="*/ 198083 w 1090712"/>
              <a:gd name="connsiteY485" fmla="*/ 810661 h 895572"/>
              <a:gd name="connsiteX486" fmla="*/ 236810 w 1090712"/>
              <a:gd name="connsiteY486" fmla="*/ 810661 h 895572"/>
              <a:gd name="connsiteX487" fmla="*/ 249640 w 1090712"/>
              <a:gd name="connsiteY487" fmla="*/ 811136 h 895572"/>
              <a:gd name="connsiteX488" fmla="*/ 263183 w 1090712"/>
              <a:gd name="connsiteY488" fmla="*/ 811611 h 895572"/>
              <a:gd name="connsiteX489" fmla="*/ 270310 w 1090712"/>
              <a:gd name="connsiteY489" fmla="*/ 811611 h 895572"/>
              <a:gd name="connsiteX490" fmla="*/ 276963 w 1090712"/>
              <a:gd name="connsiteY490" fmla="*/ 811136 h 895572"/>
              <a:gd name="connsiteX491" fmla="*/ 283140 w 1090712"/>
              <a:gd name="connsiteY491" fmla="*/ 810186 h 895572"/>
              <a:gd name="connsiteX492" fmla="*/ 289793 w 1090712"/>
              <a:gd name="connsiteY492" fmla="*/ 808523 h 895572"/>
              <a:gd name="connsiteX493" fmla="*/ 295495 w 1090712"/>
              <a:gd name="connsiteY493" fmla="*/ 806147 h 895572"/>
              <a:gd name="connsiteX494" fmla="*/ 301435 w 1090712"/>
              <a:gd name="connsiteY494" fmla="*/ 803058 h 895572"/>
              <a:gd name="connsiteX495" fmla="*/ 304524 w 1090712"/>
              <a:gd name="connsiteY495" fmla="*/ 801395 h 895572"/>
              <a:gd name="connsiteX496" fmla="*/ 307137 w 1090712"/>
              <a:gd name="connsiteY496" fmla="*/ 799256 h 895572"/>
              <a:gd name="connsiteX497" fmla="*/ 309275 w 1090712"/>
              <a:gd name="connsiteY497" fmla="*/ 796881 h 895572"/>
              <a:gd name="connsiteX498" fmla="*/ 312126 w 1090712"/>
              <a:gd name="connsiteY498" fmla="*/ 794267 h 895572"/>
              <a:gd name="connsiteX499" fmla="*/ 314265 w 1090712"/>
              <a:gd name="connsiteY499" fmla="*/ 791178 h 895572"/>
              <a:gd name="connsiteX500" fmla="*/ 316403 w 1090712"/>
              <a:gd name="connsiteY500" fmla="*/ 788090 h 895572"/>
              <a:gd name="connsiteX501" fmla="*/ 318304 w 1090712"/>
              <a:gd name="connsiteY501" fmla="*/ 784051 h 895572"/>
              <a:gd name="connsiteX502" fmla="*/ 319967 w 1090712"/>
              <a:gd name="connsiteY502" fmla="*/ 780012 h 895572"/>
              <a:gd name="connsiteX503" fmla="*/ 321868 w 1090712"/>
              <a:gd name="connsiteY503" fmla="*/ 775973 h 895572"/>
              <a:gd name="connsiteX504" fmla="*/ 323056 w 1090712"/>
              <a:gd name="connsiteY504" fmla="*/ 771221 h 895572"/>
              <a:gd name="connsiteX505" fmla="*/ 324481 w 1090712"/>
              <a:gd name="connsiteY505" fmla="*/ 765756 h 895572"/>
              <a:gd name="connsiteX506" fmla="*/ 325907 w 1090712"/>
              <a:gd name="connsiteY506" fmla="*/ 760529 h 895572"/>
              <a:gd name="connsiteX507" fmla="*/ 325907 w 1090712"/>
              <a:gd name="connsiteY507" fmla="*/ 827530 h 895572"/>
              <a:gd name="connsiteX508" fmla="*/ 310226 w 1090712"/>
              <a:gd name="connsiteY508" fmla="*/ 835608 h 895572"/>
              <a:gd name="connsiteX509" fmla="*/ 295970 w 1090712"/>
              <a:gd name="connsiteY509" fmla="*/ 843686 h 895572"/>
              <a:gd name="connsiteX510" fmla="*/ 282665 w 1090712"/>
              <a:gd name="connsiteY510" fmla="*/ 850339 h 895572"/>
              <a:gd name="connsiteX511" fmla="*/ 276488 w 1090712"/>
              <a:gd name="connsiteY511" fmla="*/ 852952 h 895572"/>
              <a:gd name="connsiteX512" fmla="*/ 270310 w 1090712"/>
              <a:gd name="connsiteY512" fmla="*/ 855565 h 895572"/>
              <a:gd name="connsiteX513" fmla="*/ 266271 w 1090712"/>
              <a:gd name="connsiteY513" fmla="*/ 857942 h 895572"/>
              <a:gd name="connsiteX514" fmla="*/ 262708 w 1090712"/>
              <a:gd name="connsiteY514" fmla="*/ 860080 h 895572"/>
              <a:gd name="connsiteX515" fmla="*/ 259619 w 1090712"/>
              <a:gd name="connsiteY515" fmla="*/ 862693 h 895572"/>
              <a:gd name="connsiteX516" fmla="*/ 256768 w 1090712"/>
              <a:gd name="connsiteY516" fmla="*/ 865544 h 895572"/>
              <a:gd name="connsiteX517" fmla="*/ 254154 w 1090712"/>
              <a:gd name="connsiteY517" fmla="*/ 868633 h 895572"/>
              <a:gd name="connsiteX518" fmla="*/ 252491 w 1090712"/>
              <a:gd name="connsiteY518" fmla="*/ 871722 h 895572"/>
              <a:gd name="connsiteX519" fmla="*/ 250590 w 1090712"/>
              <a:gd name="connsiteY519" fmla="*/ 874810 h 895572"/>
              <a:gd name="connsiteX520" fmla="*/ 249402 w 1090712"/>
              <a:gd name="connsiteY520" fmla="*/ 877899 h 895572"/>
              <a:gd name="connsiteX521" fmla="*/ 248452 w 1090712"/>
              <a:gd name="connsiteY521" fmla="*/ 880988 h 895572"/>
              <a:gd name="connsiteX522" fmla="*/ 247977 w 1090712"/>
              <a:gd name="connsiteY522" fmla="*/ 884076 h 895572"/>
              <a:gd name="connsiteX523" fmla="*/ 247977 w 1090712"/>
              <a:gd name="connsiteY523" fmla="*/ 887165 h 895572"/>
              <a:gd name="connsiteX524" fmla="*/ 248452 w 1090712"/>
              <a:gd name="connsiteY524" fmla="*/ 890016 h 895572"/>
              <a:gd name="connsiteX525" fmla="*/ 249402 w 1090712"/>
              <a:gd name="connsiteY525" fmla="*/ 893105 h 895572"/>
              <a:gd name="connsiteX526" fmla="*/ 250075 w 1090712"/>
              <a:gd name="connsiteY526" fmla="*/ 895572 h 895572"/>
              <a:gd name="connsiteX527" fmla="*/ 474750 w 1090712"/>
              <a:gd name="connsiteY527" fmla="*/ 895572 h 895572"/>
              <a:gd name="connsiteX528" fmla="*/ 475827 w 1090712"/>
              <a:gd name="connsiteY528" fmla="*/ 894768 h 895572"/>
              <a:gd name="connsiteX529" fmla="*/ 486993 w 1090712"/>
              <a:gd name="connsiteY529" fmla="*/ 882889 h 895572"/>
              <a:gd name="connsiteX530" fmla="*/ 497210 w 1090712"/>
              <a:gd name="connsiteY530" fmla="*/ 870296 h 895572"/>
              <a:gd name="connsiteX531" fmla="*/ 506951 w 1090712"/>
              <a:gd name="connsiteY531" fmla="*/ 857942 h 895572"/>
              <a:gd name="connsiteX532" fmla="*/ 515742 w 1090712"/>
              <a:gd name="connsiteY532" fmla="*/ 844636 h 895572"/>
              <a:gd name="connsiteX533" fmla="*/ 523820 w 1090712"/>
              <a:gd name="connsiteY533" fmla="*/ 831094 h 895572"/>
              <a:gd name="connsiteX534" fmla="*/ 531898 w 1090712"/>
              <a:gd name="connsiteY534" fmla="*/ 816838 h 895572"/>
              <a:gd name="connsiteX535" fmla="*/ 539026 w 1090712"/>
              <a:gd name="connsiteY535" fmla="*/ 802583 h 895572"/>
              <a:gd name="connsiteX536" fmla="*/ 545678 w 1090712"/>
              <a:gd name="connsiteY536" fmla="*/ 788565 h 895572"/>
              <a:gd name="connsiteX537" fmla="*/ 552331 w 1090712"/>
              <a:gd name="connsiteY537" fmla="*/ 773359 h 895572"/>
              <a:gd name="connsiteX538" fmla="*/ 558033 w 1090712"/>
              <a:gd name="connsiteY538" fmla="*/ 758628 h 895572"/>
              <a:gd name="connsiteX539" fmla="*/ 563498 w 1090712"/>
              <a:gd name="connsiteY539" fmla="*/ 743185 h 895572"/>
              <a:gd name="connsiteX540" fmla="*/ 568725 w 1090712"/>
              <a:gd name="connsiteY540" fmla="*/ 727979 h 895572"/>
              <a:gd name="connsiteX541" fmla="*/ 573714 w 1090712"/>
              <a:gd name="connsiteY541" fmla="*/ 712298 h 895572"/>
              <a:gd name="connsiteX542" fmla="*/ 577991 w 1090712"/>
              <a:gd name="connsiteY542" fmla="*/ 696855 h 895572"/>
              <a:gd name="connsiteX543" fmla="*/ 586544 w 1090712"/>
              <a:gd name="connsiteY543" fmla="*/ 665255 h 895572"/>
              <a:gd name="connsiteX544" fmla="*/ 586069 w 1090712"/>
              <a:gd name="connsiteY544" fmla="*/ 663117 h 895572"/>
              <a:gd name="connsiteX545" fmla="*/ 584881 w 1090712"/>
              <a:gd name="connsiteY545" fmla="*/ 660266 h 895572"/>
              <a:gd name="connsiteX546" fmla="*/ 582980 w 1090712"/>
              <a:gd name="connsiteY546" fmla="*/ 657177 h 895572"/>
              <a:gd name="connsiteX547" fmla="*/ 580367 w 1090712"/>
              <a:gd name="connsiteY547" fmla="*/ 654088 h 895572"/>
              <a:gd name="connsiteX548" fmla="*/ 574902 w 1090712"/>
              <a:gd name="connsiteY548" fmla="*/ 647911 h 895572"/>
              <a:gd name="connsiteX549" fmla="*/ 570150 w 1090712"/>
              <a:gd name="connsiteY549" fmla="*/ 642922 h 895572"/>
              <a:gd name="connsiteX550" fmla="*/ 565636 w 1090712"/>
              <a:gd name="connsiteY550" fmla="*/ 636744 h 895572"/>
              <a:gd name="connsiteX551" fmla="*/ 560647 w 1090712"/>
              <a:gd name="connsiteY551" fmla="*/ 631517 h 895572"/>
              <a:gd name="connsiteX552" fmla="*/ 555420 w 1090712"/>
              <a:gd name="connsiteY552" fmla="*/ 626053 h 895572"/>
              <a:gd name="connsiteX553" fmla="*/ 550193 w 1090712"/>
              <a:gd name="connsiteY553" fmla="*/ 621301 h 895572"/>
              <a:gd name="connsiteX554" fmla="*/ 544253 w 1090712"/>
              <a:gd name="connsiteY554" fmla="*/ 616787 h 895572"/>
              <a:gd name="connsiteX555" fmla="*/ 538075 w 1090712"/>
              <a:gd name="connsiteY555" fmla="*/ 612272 h 895572"/>
              <a:gd name="connsiteX556" fmla="*/ 525721 w 1090712"/>
              <a:gd name="connsiteY556" fmla="*/ 603719 h 895572"/>
              <a:gd name="connsiteX557" fmla="*/ 563023 w 1090712"/>
              <a:gd name="connsiteY557" fmla="*/ 619875 h 895572"/>
              <a:gd name="connsiteX558" fmla="*/ 581317 w 1090712"/>
              <a:gd name="connsiteY558" fmla="*/ 628191 h 895572"/>
              <a:gd name="connsiteX559" fmla="*/ 599374 w 1090712"/>
              <a:gd name="connsiteY559" fmla="*/ 636744 h 895572"/>
              <a:gd name="connsiteX560" fmla="*/ 607927 w 1090712"/>
              <a:gd name="connsiteY560" fmla="*/ 641259 h 895572"/>
              <a:gd name="connsiteX561" fmla="*/ 616718 w 1090712"/>
              <a:gd name="connsiteY561" fmla="*/ 646010 h 895572"/>
              <a:gd name="connsiteX562" fmla="*/ 625271 w 1090712"/>
              <a:gd name="connsiteY562" fmla="*/ 651000 h 895572"/>
              <a:gd name="connsiteX563" fmla="*/ 633349 w 1090712"/>
              <a:gd name="connsiteY563" fmla="*/ 656227 h 895572"/>
              <a:gd name="connsiteX564" fmla="*/ 641665 w 1090712"/>
              <a:gd name="connsiteY564" fmla="*/ 662167 h 895572"/>
              <a:gd name="connsiteX565" fmla="*/ 649268 w 1090712"/>
              <a:gd name="connsiteY565" fmla="*/ 668344 h 895572"/>
              <a:gd name="connsiteX566" fmla="*/ 656871 w 1090712"/>
              <a:gd name="connsiteY566" fmla="*/ 674996 h 895572"/>
              <a:gd name="connsiteX567" fmla="*/ 664474 w 1090712"/>
              <a:gd name="connsiteY567" fmla="*/ 682124 h 895572"/>
              <a:gd name="connsiteX568" fmla="*/ 668988 w 1090712"/>
              <a:gd name="connsiteY568" fmla="*/ 686163 h 895572"/>
              <a:gd name="connsiteX569" fmla="*/ 672790 w 1090712"/>
              <a:gd name="connsiteY569" fmla="*/ 690202 h 895572"/>
              <a:gd name="connsiteX570" fmla="*/ 677304 w 1090712"/>
              <a:gd name="connsiteY570" fmla="*/ 693291 h 895572"/>
              <a:gd name="connsiteX571" fmla="*/ 682293 w 1090712"/>
              <a:gd name="connsiteY571" fmla="*/ 696855 h 895572"/>
              <a:gd name="connsiteX572" fmla="*/ 686570 w 1090712"/>
              <a:gd name="connsiteY572" fmla="*/ 699468 h 895572"/>
              <a:gd name="connsiteX573" fmla="*/ 691559 w 1090712"/>
              <a:gd name="connsiteY573" fmla="*/ 702082 h 895572"/>
              <a:gd name="connsiteX574" fmla="*/ 696549 w 1090712"/>
              <a:gd name="connsiteY574" fmla="*/ 703983 h 895572"/>
              <a:gd name="connsiteX575" fmla="*/ 701300 w 1090712"/>
              <a:gd name="connsiteY575" fmla="*/ 705646 h 895572"/>
              <a:gd name="connsiteX576" fmla="*/ 706290 w 1090712"/>
              <a:gd name="connsiteY576" fmla="*/ 707071 h 895572"/>
              <a:gd name="connsiteX577" fmla="*/ 711042 w 1090712"/>
              <a:gd name="connsiteY577" fmla="*/ 708497 h 895572"/>
              <a:gd name="connsiteX578" fmla="*/ 716506 w 1090712"/>
              <a:gd name="connsiteY578" fmla="*/ 708734 h 895572"/>
              <a:gd name="connsiteX579" fmla="*/ 721258 w 1090712"/>
              <a:gd name="connsiteY579" fmla="*/ 708734 h 895572"/>
              <a:gd name="connsiteX580" fmla="*/ 726723 w 1090712"/>
              <a:gd name="connsiteY580" fmla="*/ 708497 h 895572"/>
              <a:gd name="connsiteX581" fmla="*/ 731712 w 1090712"/>
              <a:gd name="connsiteY581" fmla="*/ 707546 h 895572"/>
              <a:gd name="connsiteX582" fmla="*/ 736939 w 1090712"/>
              <a:gd name="connsiteY582" fmla="*/ 706121 h 895572"/>
              <a:gd name="connsiteX583" fmla="*/ 742166 w 1090712"/>
              <a:gd name="connsiteY583" fmla="*/ 704458 h 895572"/>
              <a:gd name="connsiteX584" fmla="*/ 749294 w 1090712"/>
              <a:gd name="connsiteY584" fmla="*/ 702082 h 895572"/>
              <a:gd name="connsiteX585" fmla="*/ 756184 w 1090712"/>
              <a:gd name="connsiteY585" fmla="*/ 699468 h 895572"/>
              <a:gd name="connsiteX586" fmla="*/ 762361 w 1090712"/>
              <a:gd name="connsiteY586" fmla="*/ 696380 h 895572"/>
              <a:gd name="connsiteX587" fmla="*/ 768063 w 1090712"/>
              <a:gd name="connsiteY587" fmla="*/ 692816 h 895572"/>
              <a:gd name="connsiteX588" fmla="*/ 773528 w 1090712"/>
              <a:gd name="connsiteY588" fmla="*/ 689252 h 895572"/>
              <a:gd name="connsiteX589" fmla="*/ 778755 w 1090712"/>
              <a:gd name="connsiteY589" fmla="*/ 684738 h 895572"/>
              <a:gd name="connsiteX590" fmla="*/ 783269 w 1090712"/>
              <a:gd name="connsiteY590" fmla="*/ 680461 h 895572"/>
              <a:gd name="connsiteX591" fmla="*/ 787308 w 1090712"/>
              <a:gd name="connsiteY591" fmla="*/ 674996 h 895572"/>
              <a:gd name="connsiteX592" fmla="*/ 791110 w 1090712"/>
              <a:gd name="connsiteY592" fmla="*/ 669769 h 895572"/>
              <a:gd name="connsiteX593" fmla="*/ 794436 w 1090712"/>
              <a:gd name="connsiteY593" fmla="*/ 663830 h 895572"/>
              <a:gd name="connsiteX594" fmla="*/ 797050 w 1090712"/>
              <a:gd name="connsiteY594" fmla="*/ 657652 h 895572"/>
              <a:gd name="connsiteX595" fmla="*/ 799188 w 1090712"/>
              <a:gd name="connsiteY595" fmla="*/ 651000 h 895572"/>
              <a:gd name="connsiteX596" fmla="*/ 801089 w 1090712"/>
              <a:gd name="connsiteY596" fmla="*/ 643872 h 895572"/>
              <a:gd name="connsiteX597" fmla="*/ 802277 w 1090712"/>
              <a:gd name="connsiteY597" fmla="*/ 636744 h 895572"/>
              <a:gd name="connsiteX598" fmla="*/ 803227 w 1090712"/>
              <a:gd name="connsiteY598" fmla="*/ 628666 h 895572"/>
              <a:gd name="connsiteX599" fmla="*/ 803227 w 1090712"/>
              <a:gd name="connsiteY599" fmla="*/ 620826 h 895572"/>
              <a:gd name="connsiteX600" fmla="*/ 801089 w 1090712"/>
              <a:gd name="connsiteY600" fmla="*/ 622489 h 895572"/>
              <a:gd name="connsiteX601" fmla="*/ 798238 w 1090712"/>
              <a:gd name="connsiteY601" fmla="*/ 623914 h 895572"/>
              <a:gd name="connsiteX602" fmla="*/ 793011 w 1090712"/>
              <a:gd name="connsiteY602" fmla="*/ 626053 h 895572"/>
              <a:gd name="connsiteX603" fmla="*/ 790397 w 1090712"/>
              <a:gd name="connsiteY603" fmla="*/ 627478 h 895572"/>
              <a:gd name="connsiteX604" fmla="*/ 788496 w 1090712"/>
              <a:gd name="connsiteY604" fmla="*/ 628191 h 895572"/>
              <a:gd name="connsiteX605" fmla="*/ 787308 w 1090712"/>
              <a:gd name="connsiteY605" fmla="*/ 630092 h 895572"/>
              <a:gd name="connsiteX606" fmla="*/ 786833 w 1090712"/>
              <a:gd name="connsiteY606" fmla="*/ 631755 h 895572"/>
              <a:gd name="connsiteX607" fmla="*/ 785408 w 1090712"/>
              <a:gd name="connsiteY607" fmla="*/ 635794 h 895572"/>
              <a:gd name="connsiteX608" fmla="*/ 784220 w 1090712"/>
              <a:gd name="connsiteY608" fmla="*/ 639833 h 895572"/>
              <a:gd name="connsiteX609" fmla="*/ 780656 w 1090712"/>
              <a:gd name="connsiteY609" fmla="*/ 646485 h 895572"/>
              <a:gd name="connsiteX610" fmla="*/ 776617 w 1090712"/>
              <a:gd name="connsiteY610" fmla="*/ 653138 h 895572"/>
              <a:gd name="connsiteX611" fmla="*/ 772103 w 1090712"/>
              <a:gd name="connsiteY611" fmla="*/ 659078 h 895572"/>
              <a:gd name="connsiteX612" fmla="*/ 762361 w 1090712"/>
              <a:gd name="connsiteY612" fmla="*/ 670007 h 895572"/>
              <a:gd name="connsiteX613" fmla="*/ 757847 w 1090712"/>
              <a:gd name="connsiteY613" fmla="*/ 675947 h 895572"/>
              <a:gd name="connsiteX614" fmla="*/ 753333 w 1090712"/>
              <a:gd name="connsiteY614" fmla="*/ 682124 h 895572"/>
              <a:gd name="connsiteX615" fmla="*/ 750244 w 1090712"/>
              <a:gd name="connsiteY615" fmla="*/ 684738 h 895572"/>
              <a:gd name="connsiteX616" fmla="*/ 747155 w 1090712"/>
              <a:gd name="connsiteY616" fmla="*/ 687589 h 895572"/>
              <a:gd name="connsiteX617" fmla="*/ 744067 w 1090712"/>
              <a:gd name="connsiteY617" fmla="*/ 689252 h 895572"/>
              <a:gd name="connsiteX618" fmla="*/ 740978 w 1090712"/>
              <a:gd name="connsiteY618" fmla="*/ 690915 h 895572"/>
              <a:gd name="connsiteX619" fmla="*/ 737890 w 1090712"/>
              <a:gd name="connsiteY619" fmla="*/ 691865 h 895572"/>
              <a:gd name="connsiteX620" fmla="*/ 734801 w 1090712"/>
              <a:gd name="connsiteY620" fmla="*/ 692816 h 895572"/>
              <a:gd name="connsiteX621" fmla="*/ 731950 w 1090712"/>
              <a:gd name="connsiteY621" fmla="*/ 693291 h 895572"/>
              <a:gd name="connsiteX622" fmla="*/ 728861 w 1090712"/>
              <a:gd name="connsiteY622" fmla="*/ 693291 h 895572"/>
              <a:gd name="connsiteX623" fmla="*/ 723634 w 1090712"/>
              <a:gd name="connsiteY623" fmla="*/ 692816 h 895572"/>
              <a:gd name="connsiteX624" fmla="*/ 718169 w 1090712"/>
              <a:gd name="connsiteY624" fmla="*/ 691390 h 895572"/>
              <a:gd name="connsiteX625" fmla="*/ 713418 w 1090712"/>
              <a:gd name="connsiteY625" fmla="*/ 689727 h 895572"/>
              <a:gd name="connsiteX626" fmla="*/ 708903 w 1090712"/>
              <a:gd name="connsiteY626" fmla="*/ 687826 h 895572"/>
              <a:gd name="connsiteX627" fmla="*/ 706765 w 1090712"/>
              <a:gd name="connsiteY627" fmla="*/ 687589 h 895572"/>
              <a:gd name="connsiteX628" fmla="*/ 704864 w 1090712"/>
              <a:gd name="connsiteY628" fmla="*/ 687114 h 895572"/>
              <a:gd name="connsiteX629" fmla="*/ 703201 w 1090712"/>
              <a:gd name="connsiteY629" fmla="*/ 686163 h 895572"/>
              <a:gd name="connsiteX630" fmla="*/ 701776 w 1090712"/>
              <a:gd name="connsiteY630" fmla="*/ 684738 h 895572"/>
              <a:gd name="connsiteX631" fmla="*/ 698687 w 1090712"/>
              <a:gd name="connsiteY631" fmla="*/ 681649 h 895572"/>
              <a:gd name="connsiteX632" fmla="*/ 696549 w 1090712"/>
              <a:gd name="connsiteY632" fmla="*/ 678085 h 895572"/>
              <a:gd name="connsiteX633" fmla="*/ 694648 w 1090712"/>
              <a:gd name="connsiteY633" fmla="*/ 673571 h 895572"/>
              <a:gd name="connsiteX634" fmla="*/ 693460 w 1090712"/>
              <a:gd name="connsiteY634" fmla="*/ 668819 h 895572"/>
              <a:gd name="connsiteX635" fmla="*/ 692510 w 1090712"/>
              <a:gd name="connsiteY635" fmla="*/ 664305 h 895572"/>
              <a:gd name="connsiteX636" fmla="*/ 692510 w 1090712"/>
              <a:gd name="connsiteY636" fmla="*/ 659790 h 895572"/>
              <a:gd name="connsiteX637" fmla="*/ 692510 w 1090712"/>
              <a:gd name="connsiteY637" fmla="*/ 647436 h 895572"/>
              <a:gd name="connsiteX638" fmla="*/ 693460 w 1090712"/>
              <a:gd name="connsiteY638" fmla="*/ 635319 h 895572"/>
              <a:gd name="connsiteX639" fmla="*/ 694173 w 1090712"/>
              <a:gd name="connsiteY639" fmla="*/ 624389 h 895572"/>
              <a:gd name="connsiteX640" fmla="*/ 695598 w 1090712"/>
              <a:gd name="connsiteY640" fmla="*/ 612748 h 895572"/>
              <a:gd name="connsiteX641" fmla="*/ 699162 w 1090712"/>
              <a:gd name="connsiteY641" fmla="*/ 591364 h 895572"/>
              <a:gd name="connsiteX642" fmla="*/ 703676 w 1090712"/>
              <a:gd name="connsiteY642" fmla="*/ 570456 h 895572"/>
              <a:gd name="connsiteX643" fmla="*/ 720070 w 1090712"/>
              <a:gd name="connsiteY643" fmla="*/ 574971 h 895572"/>
              <a:gd name="connsiteX644" fmla="*/ 736939 w 1090712"/>
              <a:gd name="connsiteY644" fmla="*/ 579247 h 895572"/>
              <a:gd name="connsiteX645" fmla="*/ 770677 w 1090712"/>
              <a:gd name="connsiteY645" fmla="*/ 589226 h 895572"/>
              <a:gd name="connsiteX646" fmla="*/ 788021 w 1090712"/>
              <a:gd name="connsiteY646" fmla="*/ 593503 h 895572"/>
              <a:gd name="connsiteX647" fmla="*/ 805365 w 1090712"/>
              <a:gd name="connsiteY647" fmla="*/ 597542 h 895572"/>
              <a:gd name="connsiteX648" fmla="*/ 823660 w 1090712"/>
              <a:gd name="connsiteY648" fmla="*/ 601106 h 895572"/>
              <a:gd name="connsiteX649" fmla="*/ 841954 w 1090712"/>
              <a:gd name="connsiteY649" fmla="*/ 603719 h 895572"/>
              <a:gd name="connsiteX650" fmla="*/ 861437 w 1090712"/>
              <a:gd name="connsiteY650" fmla="*/ 606570 h 895572"/>
              <a:gd name="connsiteX651" fmla="*/ 880682 w 1090712"/>
              <a:gd name="connsiteY651" fmla="*/ 608233 h 895572"/>
              <a:gd name="connsiteX652" fmla="*/ 889948 w 1090712"/>
              <a:gd name="connsiteY652" fmla="*/ 608708 h 895572"/>
              <a:gd name="connsiteX653" fmla="*/ 898976 w 1090712"/>
              <a:gd name="connsiteY653" fmla="*/ 608708 h 895572"/>
              <a:gd name="connsiteX654" fmla="*/ 908242 w 1090712"/>
              <a:gd name="connsiteY654" fmla="*/ 608708 h 895572"/>
              <a:gd name="connsiteX655" fmla="*/ 916795 w 1090712"/>
              <a:gd name="connsiteY655" fmla="*/ 608233 h 895572"/>
              <a:gd name="connsiteX656" fmla="*/ 925586 w 1090712"/>
              <a:gd name="connsiteY656" fmla="*/ 607283 h 895572"/>
              <a:gd name="connsiteX657" fmla="*/ 934140 w 1090712"/>
              <a:gd name="connsiteY657" fmla="*/ 606095 h 895572"/>
              <a:gd name="connsiteX658" fmla="*/ 942455 w 1090712"/>
              <a:gd name="connsiteY658" fmla="*/ 604669 h 895572"/>
              <a:gd name="connsiteX659" fmla="*/ 950533 w 1090712"/>
              <a:gd name="connsiteY659" fmla="*/ 603006 h 895572"/>
              <a:gd name="connsiteX660" fmla="*/ 958611 w 1090712"/>
              <a:gd name="connsiteY660" fmla="*/ 600630 h 895572"/>
              <a:gd name="connsiteX661" fmla="*/ 966452 w 1090712"/>
              <a:gd name="connsiteY661" fmla="*/ 598017 h 895572"/>
              <a:gd name="connsiteX662" fmla="*/ 974055 w 1090712"/>
              <a:gd name="connsiteY662" fmla="*/ 595403 h 895572"/>
              <a:gd name="connsiteX663" fmla="*/ 981658 w 1090712"/>
              <a:gd name="connsiteY663" fmla="*/ 591840 h 895572"/>
              <a:gd name="connsiteX664" fmla="*/ 989261 w 1090712"/>
              <a:gd name="connsiteY664" fmla="*/ 588276 h 895572"/>
              <a:gd name="connsiteX665" fmla="*/ 996388 w 1090712"/>
              <a:gd name="connsiteY665" fmla="*/ 584237 h 895572"/>
              <a:gd name="connsiteX666" fmla="*/ 1003041 w 1090712"/>
              <a:gd name="connsiteY666" fmla="*/ 579247 h 895572"/>
              <a:gd name="connsiteX667" fmla="*/ 1009694 w 1090712"/>
              <a:gd name="connsiteY667" fmla="*/ 574495 h 895572"/>
              <a:gd name="connsiteX668" fmla="*/ 1016346 w 1090712"/>
              <a:gd name="connsiteY668" fmla="*/ 569031 h 895572"/>
              <a:gd name="connsiteX669" fmla="*/ 1022998 w 1090712"/>
              <a:gd name="connsiteY669" fmla="*/ 562853 h 895572"/>
              <a:gd name="connsiteX670" fmla="*/ 1029176 w 1090712"/>
              <a:gd name="connsiteY670" fmla="*/ 556676 h 895572"/>
              <a:gd name="connsiteX671" fmla="*/ 1035116 w 1090712"/>
              <a:gd name="connsiteY671" fmla="*/ 549548 h 895572"/>
              <a:gd name="connsiteX672" fmla="*/ 1040818 w 1090712"/>
              <a:gd name="connsiteY672" fmla="*/ 541945 h 895572"/>
              <a:gd name="connsiteX673" fmla="*/ 1046520 w 1090712"/>
              <a:gd name="connsiteY673" fmla="*/ 534342 h 895572"/>
              <a:gd name="connsiteX674" fmla="*/ 1051985 w 1090712"/>
              <a:gd name="connsiteY674" fmla="*/ 526027 h 895572"/>
              <a:gd name="connsiteX675" fmla="*/ 1056737 w 1090712"/>
              <a:gd name="connsiteY675" fmla="*/ 516523 h 895572"/>
              <a:gd name="connsiteX676" fmla="*/ 1061726 w 1090712"/>
              <a:gd name="connsiteY676" fmla="*/ 507257 h 895572"/>
              <a:gd name="connsiteX677" fmla="*/ 1066715 w 1090712"/>
              <a:gd name="connsiteY677" fmla="*/ 497041 h 895572"/>
              <a:gd name="connsiteX678" fmla="*/ 1070992 w 1090712"/>
              <a:gd name="connsiteY678" fmla="*/ 486349 h 895572"/>
              <a:gd name="connsiteX679" fmla="*/ 1075506 w 1090712"/>
              <a:gd name="connsiteY679" fmla="*/ 475182 h 895572"/>
              <a:gd name="connsiteX680" fmla="*/ 1079070 w 1090712"/>
              <a:gd name="connsiteY680" fmla="*/ 462828 h 895572"/>
              <a:gd name="connsiteX681" fmla="*/ 1082634 w 1090712"/>
              <a:gd name="connsiteY681" fmla="*/ 449998 h 895572"/>
              <a:gd name="connsiteX682" fmla="*/ 1084772 w 1090712"/>
              <a:gd name="connsiteY682" fmla="*/ 437405 h 895572"/>
              <a:gd name="connsiteX683" fmla="*/ 1087148 w 1090712"/>
              <a:gd name="connsiteY683" fmla="*/ 425050 h 895572"/>
              <a:gd name="connsiteX684" fmla="*/ 1088811 w 1090712"/>
              <a:gd name="connsiteY684" fmla="*/ 411983 h 895572"/>
              <a:gd name="connsiteX685" fmla="*/ 1089762 w 1090712"/>
              <a:gd name="connsiteY685" fmla="*/ 399628 h 895572"/>
              <a:gd name="connsiteX686" fmla="*/ 1090712 w 1090712"/>
              <a:gd name="connsiteY686" fmla="*/ 386798 h 895572"/>
              <a:gd name="connsiteX687" fmla="*/ 1090712 w 1090712"/>
              <a:gd name="connsiteY687" fmla="*/ 373731 h 895572"/>
              <a:gd name="connsiteX688" fmla="*/ 1090712 w 1090712"/>
              <a:gd name="connsiteY688" fmla="*/ 360901 h 895572"/>
              <a:gd name="connsiteX689" fmla="*/ 1089762 w 1090712"/>
              <a:gd name="connsiteY689" fmla="*/ 348071 h 895572"/>
              <a:gd name="connsiteX690" fmla="*/ 1088811 w 1090712"/>
              <a:gd name="connsiteY690" fmla="*/ 335004 h 895572"/>
              <a:gd name="connsiteX691" fmla="*/ 1088099 w 1090712"/>
              <a:gd name="connsiteY691" fmla="*/ 321698 h 895572"/>
              <a:gd name="connsiteX692" fmla="*/ 1084772 w 1090712"/>
              <a:gd name="connsiteY692" fmla="*/ 295563 h 895572"/>
              <a:gd name="connsiteX693" fmla="*/ 1080971 w 1090712"/>
              <a:gd name="connsiteY693" fmla="*/ 268478 h 895572"/>
              <a:gd name="connsiteX694" fmla="*/ 1078595 w 1090712"/>
              <a:gd name="connsiteY694" fmla="*/ 258262 h 895572"/>
              <a:gd name="connsiteX695" fmla="*/ 1075981 w 1090712"/>
              <a:gd name="connsiteY695" fmla="*/ 248283 h 895572"/>
              <a:gd name="connsiteX696" fmla="*/ 1072417 w 1090712"/>
              <a:gd name="connsiteY696" fmla="*/ 238542 h 895572"/>
              <a:gd name="connsiteX697" fmla="*/ 1069329 w 1090712"/>
              <a:gd name="connsiteY697" fmla="*/ 229275 h 895572"/>
              <a:gd name="connsiteX698" fmla="*/ 1061251 w 1090712"/>
              <a:gd name="connsiteY698" fmla="*/ 210031 h 895572"/>
              <a:gd name="connsiteX699" fmla="*/ 1053173 w 1090712"/>
              <a:gd name="connsiteY699" fmla="*/ 190073 h 895572"/>
              <a:gd name="connsiteX700" fmla="*/ 1051034 w 1090712"/>
              <a:gd name="connsiteY700" fmla="*/ 186034 h 895572"/>
              <a:gd name="connsiteX701" fmla="*/ 1048896 w 1090712"/>
              <a:gd name="connsiteY701" fmla="*/ 182470 h 895572"/>
              <a:gd name="connsiteX702" fmla="*/ 1046045 w 1090712"/>
              <a:gd name="connsiteY702" fmla="*/ 179381 h 895572"/>
              <a:gd name="connsiteX703" fmla="*/ 1043906 w 1090712"/>
              <a:gd name="connsiteY703" fmla="*/ 176768 h 895572"/>
              <a:gd name="connsiteX704" fmla="*/ 1041293 w 1090712"/>
              <a:gd name="connsiteY704" fmla="*/ 174630 h 895572"/>
              <a:gd name="connsiteX705" fmla="*/ 1038680 w 1090712"/>
              <a:gd name="connsiteY705" fmla="*/ 172729 h 895572"/>
              <a:gd name="connsiteX706" fmla="*/ 1035828 w 1090712"/>
              <a:gd name="connsiteY706" fmla="*/ 171303 h 895572"/>
              <a:gd name="connsiteX707" fmla="*/ 1032740 w 1090712"/>
              <a:gd name="connsiteY707" fmla="*/ 170591 h 895572"/>
              <a:gd name="connsiteX708" fmla="*/ 1030126 w 1090712"/>
              <a:gd name="connsiteY708" fmla="*/ 170591 h 895572"/>
              <a:gd name="connsiteX709" fmla="*/ 1027038 w 1090712"/>
              <a:gd name="connsiteY709" fmla="*/ 170591 h 895572"/>
              <a:gd name="connsiteX710" fmla="*/ 1024424 w 1090712"/>
              <a:gd name="connsiteY710" fmla="*/ 171303 h 895572"/>
              <a:gd name="connsiteX711" fmla="*/ 1021335 w 1090712"/>
              <a:gd name="connsiteY711" fmla="*/ 172729 h 895572"/>
              <a:gd name="connsiteX712" fmla="*/ 1018247 w 1090712"/>
              <a:gd name="connsiteY712" fmla="*/ 174867 h 895572"/>
              <a:gd name="connsiteX713" fmla="*/ 1014920 w 1090712"/>
              <a:gd name="connsiteY713" fmla="*/ 177718 h 895572"/>
              <a:gd name="connsiteX714" fmla="*/ 1011832 w 1090712"/>
              <a:gd name="connsiteY714" fmla="*/ 180807 h 895572"/>
              <a:gd name="connsiteX715" fmla="*/ 1008743 w 1090712"/>
              <a:gd name="connsiteY715" fmla="*/ 184846 h 895572"/>
              <a:gd name="connsiteX716" fmla="*/ 991874 w 1090712"/>
              <a:gd name="connsiteY716" fmla="*/ 201240 h 895572"/>
              <a:gd name="connsiteX717" fmla="*/ 983321 w 1090712"/>
              <a:gd name="connsiteY717" fmla="*/ 209318 h 895572"/>
              <a:gd name="connsiteX718" fmla="*/ 974530 w 1090712"/>
              <a:gd name="connsiteY718" fmla="*/ 216683 h 895572"/>
              <a:gd name="connsiteX719" fmla="*/ 965739 w 1090712"/>
              <a:gd name="connsiteY719" fmla="*/ 223811 h 895572"/>
              <a:gd name="connsiteX720" fmla="*/ 956236 w 1090712"/>
              <a:gd name="connsiteY720" fmla="*/ 230226 h 895572"/>
              <a:gd name="connsiteX721" fmla="*/ 946494 w 1090712"/>
              <a:gd name="connsiteY721" fmla="*/ 235928 h 895572"/>
              <a:gd name="connsiteX722" fmla="*/ 941505 w 1090712"/>
              <a:gd name="connsiteY722" fmla="*/ 238066 h 895572"/>
              <a:gd name="connsiteX723" fmla="*/ 936753 w 1090712"/>
              <a:gd name="connsiteY723" fmla="*/ 240442 h 895572"/>
              <a:gd name="connsiteX724" fmla="*/ 932239 w 1090712"/>
              <a:gd name="connsiteY724" fmla="*/ 242581 h 895572"/>
              <a:gd name="connsiteX725" fmla="*/ 928675 w 1090712"/>
              <a:gd name="connsiteY725" fmla="*/ 245669 h 895572"/>
              <a:gd name="connsiteX726" fmla="*/ 925111 w 1090712"/>
              <a:gd name="connsiteY726" fmla="*/ 249233 h 895572"/>
              <a:gd name="connsiteX727" fmla="*/ 922022 w 1090712"/>
              <a:gd name="connsiteY727" fmla="*/ 252797 h 895572"/>
              <a:gd name="connsiteX728" fmla="*/ 919884 w 1090712"/>
              <a:gd name="connsiteY728" fmla="*/ 257311 h 895572"/>
              <a:gd name="connsiteX729" fmla="*/ 918934 w 1090712"/>
              <a:gd name="connsiteY729" fmla="*/ 259925 h 895572"/>
              <a:gd name="connsiteX730" fmla="*/ 918459 w 1090712"/>
              <a:gd name="connsiteY730" fmla="*/ 262538 h 895572"/>
              <a:gd name="connsiteX731" fmla="*/ 918459 w 1090712"/>
              <a:gd name="connsiteY731" fmla="*/ 265389 h 895572"/>
              <a:gd name="connsiteX732" fmla="*/ 918459 w 1090712"/>
              <a:gd name="connsiteY732" fmla="*/ 268003 h 895572"/>
              <a:gd name="connsiteX733" fmla="*/ 918934 w 1090712"/>
              <a:gd name="connsiteY733" fmla="*/ 271091 h 895572"/>
              <a:gd name="connsiteX734" fmla="*/ 919884 w 1090712"/>
              <a:gd name="connsiteY734" fmla="*/ 274180 h 895572"/>
              <a:gd name="connsiteX735" fmla="*/ 921547 w 1090712"/>
              <a:gd name="connsiteY735" fmla="*/ 282258 h 895572"/>
              <a:gd name="connsiteX736" fmla="*/ 922973 w 1090712"/>
              <a:gd name="connsiteY736" fmla="*/ 290574 h 895572"/>
              <a:gd name="connsiteX737" fmla="*/ 923923 w 1090712"/>
              <a:gd name="connsiteY737" fmla="*/ 299127 h 895572"/>
              <a:gd name="connsiteX738" fmla="*/ 924161 w 1090712"/>
              <a:gd name="connsiteY738" fmla="*/ 307443 h 895572"/>
              <a:gd name="connsiteX739" fmla="*/ 924161 w 1090712"/>
              <a:gd name="connsiteY739" fmla="*/ 315996 h 895572"/>
              <a:gd name="connsiteX740" fmla="*/ 923923 w 1090712"/>
              <a:gd name="connsiteY740" fmla="*/ 324550 h 895572"/>
              <a:gd name="connsiteX741" fmla="*/ 922973 w 1090712"/>
              <a:gd name="connsiteY741" fmla="*/ 332865 h 895572"/>
              <a:gd name="connsiteX742" fmla="*/ 922022 w 1090712"/>
              <a:gd name="connsiteY742" fmla="*/ 340943 h 895572"/>
              <a:gd name="connsiteX743" fmla="*/ 920597 w 1090712"/>
              <a:gd name="connsiteY743" fmla="*/ 349259 h 895572"/>
              <a:gd name="connsiteX744" fmla="*/ 918934 w 1090712"/>
              <a:gd name="connsiteY744" fmla="*/ 357812 h 895572"/>
              <a:gd name="connsiteX745" fmla="*/ 914420 w 1090712"/>
              <a:gd name="connsiteY745" fmla="*/ 374681 h 895572"/>
              <a:gd name="connsiteX746" fmla="*/ 909192 w 1090712"/>
              <a:gd name="connsiteY746" fmla="*/ 391075 h 895572"/>
              <a:gd name="connsiteX747" fmla="*/ 903253 w 1090712"/>
              <a:gd name="connsiteY747" fmla="*/ 408182 h 895572"/>
              <a:gd name="connsiteX748" fmla="*/ 903253 w 1090712"/>
              <a:gd name="connsiteY748" fmla="*/ 397965 h 895572"/>
              <a:gd name="connsiteX749" fmla="*/ 904203 w 1090712"/>
              <a:gd name="connsiteY749" fmla="*/ 387274 h 895572"/>
              <a:gd name="connsiteX750" fmla="*/ 906104 w 1090712"/>
              <a:gd name="connsiteY750" fmla="*/ 367078 h 895572"/>
              <a:gd name="connsiteX751" fmla="*/ 907767 w 1090712"/>
              <a:gd name="connsiteY751" fmla="*/ 347596 h 895572"/>
              <a:gd name="connsiteX752" fmla="*/ 908717 w 1090712"/>
              <a:gd name="connsiteY752" fmla="*/ 338567 h 895572"/>
              <a:gd name="connsiteX753" fmla="*/ 908717 w 1090712"/>
              <a:gd name="connsiteY753" fmla="*/ 329777 h 895572"/>
              <a:gd name="connsiteX754" fmla="*/ 908717 w 1090712"/>
              <a:gd name="connsiteY754" fmla="*/ 325738 h 895572"/>
              <a:gd name="connsiteX755" fmla="*/ 907767 w 1090712"/>
              <a:gd name="connsiteY755" fmla="*/ 322649 h 895572"/>
              <a:gd name="connsiteX756" fmla="*/ 906817 w 1090712"/>
              <a:gd name="connsiteY756" fmla="*/ 319560 h 895572"/>
              <a:gd name="connsiteX757" fmla="*/ 905154 w 1090712"/>
              <a:gd name="connsiteY757" fmla="*/ 316471 h 895572"/>
              <a:gd name="connsiteX758" fmla="*/ 903728 w 1090712"/>
              <a:gd name="connsiteY758" fmla="*/ 314096 h 895572"/>
              <a:gd name="connsiteX759" fmla="*/ 901590 w 1090712"/>
              <a:gd name="connsiteY759" fmla="*/ 311957 h 895572"/>
              <a:gd name="connsiteX760" fmla="*/ 897551 w 1090712"/>
              <a:gd name="connsiteY760" fmla="*/ 307443 h 895572"/>
              <a:gd name="connsiteX761" fmla="*/ 895412 w 1090712"/>
              <a:gd name="connsiteY761" fmla="*/ 309344 h 895572"/>
              <a:gd name="connsiteX762" fmla="*/ 892561 w 1090712"/>
              <a:gd name="connsiteY762" fmla="*/ 310769 h 895572"/>
              <a:gd name="connsiteX763" fmla="*/ 887334 w 1090712"/>
              <a:gd name="connsiteY763" fmla="*/ 313383 h 895572"/>
              <a:gd name="connsiteX764" fmla="*/ 884721 w 1090712"/>
              <a:gd name="connsiteY764" fmla="*/ 314096 h 895572"/>
              <a:gd name="connsiteX765" fmla="*/ 882820 w 1090712"/>
              <a:gd name="connsiteY765" fmla="*/ 315521 h 895572"/>
              <a:gd name="connsiteX766" fmla="*/ 881632 w 1090712"/>
              <a:gd name="connsiteY766" fmla="*/ 316947 h 895572"/>
              <a:gd name="connsiteX767" fmla="*/ 881157 w 1090712"/>
              <a:gd name="connsiteY767" fmla="*/ 318610 h 895572"/>
              <a:gd name="connsiteX768" fmla="*/ 872604 w 1090712"/>
              <a:gd name="connsiteY768" fmla="*/ 331915 h 895572"/>
              <a:gd name="connsiteX769" fmla="*/ 864288 w 1090712"/>
              <a:gd name="connsiteY769" fmla="*/ 346646 h 895572"/>
              <a:gd name="connsiteX770" fmla="*/ 856210 w 1090712"/>
              <a:gd name="connsiteY770" fmla="*/ 361376 h 895572"/>
              <a:gd name="connsiteX771" fmla="*/ 847656 w 1090712"/>
              <a:gd name="connsiteY771" fmla="*/ 374681 h 895572"/>
              <a:gd name="connsiteX772" fmla="*/ 841954 w 1090712"/>
              <a:gd name="connsiteY772" fmla="*/ 374681 h 895572"/>
              <a:gd name="connsiteX773" fmla="*/ 846468 w 1090712"/>
              <a:gd name="connsiteY773" fmla="*/ 357812 h 895572"/>
              <a:gd name="connsiteX774" fmla="*/ 850508 w 1090712"/>
              <a:gd name="connsiteY774" fmla="*/ 339518 h 895572"/>
              <a:gd name="connsiteX775" fmla="*/ 854784 w 1090712"/>
              <a:gd name="connsiteY775" fmla="*/ 319560 h 895572"/>
              <a:gd name="connsiteX776" fmla="*/ 858823 w 1090712"/>
              <a:gd name="connsiteY776" fmla="*/ 296514 h 895572"/>
              <a:gd name="connsiteX777" fmla="*/ 848132 w 1090712"/>
              <a:gd name="connsiteY777" fmla="*/ 303879 h 895572"/>
              <a:gd name="connsiteX778" fmla="*/ 840054 w 1090712"/>
              <a:gd name="connsiteY778" fmla="*/ 310294 h 895572"/>
              <a:gd name="connsiteX779" fmla="*/ 833163 w 1090712"/>
              <a:gd name="connsiteY779" fmla="*/ 316947 h 895572"/>
              <a:gd name="connsiteX780" fmla="*/ 825560 w 1090712"/>
              <a:gd name="connsiteY780" fmla="*/ 324550 h 895572"/>
              <a:gd name="connsiteX781" fmla="*/ 823185 w 1090712"/>
              <a:gd name="connsiteY781" fmla="*/ 326688 h 895572"/>
              <a:gd name="connsiteX782" fmla="*/ 821522 w 1090712"/>
              <a:gd name="connsiteY782" fmla="*/ 329301 h 895572"/>
              <a:gd name="connsiteX783" fmla="*/ 817007 w 1090712"/>
              <a:gd name="connsiteY783" fmla="*/ 335954 h 895572"/>
              <a:gd name="connsiteX784" fmla="*/ 812968 w 1090712"/>
              <a:gd name="connsiteY784" fmla="*/ 344032 h 895572"/>
              <a:gd name="connsiteX785" fmla="*/ 808929 w 1090712"/>
              <a:gd name="connsiteY785" fmla="*/ 352585 h 895572"/>
              <a:gd name="connsiteX786" fmla="*/ 809880 w 1090712"/>
              <a:gd name="connsiteY786" fmla="*/ 343557 h 895572"/>
              <a:gd name="connsiteX787" fmla="*/ 811305 w 1090712"/>
              <a:gd name="connsiteY787" fmla="*/ 335479 h 895572"/>
              <a:gd name="connsiteX788" fmla="*/ 812493 w 1090712"/>
              <a:gd name="connsiteY788" fmla="*/ 328826 h 895572"/>
              <a:gd name="connsiteX789" fmla="*/ 814394 w 1090712"/>
              <a:gd name="connsiteY789" fmla="*/ 323124 h 895572"/>
              <a:gd name="connsiteX790" fmla="*/ 816532 w 1090712"/>
              <a:gd name="connsiteY790" fmla="*/ 317659 h 895572"/>
              <a:gd name="connsiteX791" fmla="*/ 819146 w 1090712"/>
              <a:gd name="connsiteY791" fmla="*/ 313383 h 895572"/>
              <a:gd name="connsiteX792" fmla="*/ 822709 w 1090712"/>
              <a:gd name="connsiteY792" fmla="*/ 309344 h 895572"/>
              <a:gd name="connsiteX793" fmla="*/ 826748 w 1090712"/>
              <a:gd name="connsiteY793" fmla="*/ 306255 h 895572"/>
              <a:gd name="connsiteX794" fmla="*/ 832213 w 1090712"/>
              <a:gd name="connsiteY794" fmla="*/ 303166 h 895572"/>
              <a:gd name="connsiteX795" fmla="*/ 838390 w 1090712"/>
              <a:gd name="connsiteY795" fmla="*/ 300315 h 895572"/>
              <a:gd name="connsiteX796" fmla="*/ 845518 w 1090712"/>
              <a:gd name="connsiteY796" fmla="*/ 298177 h 895572"/>
              <a:gd name="connsiteX797" fmla="*/ 854071 w 1090712"/>
              <a:gd name="connsiteY797" fmla="*/ 295563 h 895572"/>
              <a:gd name="connsiteX798" fmla="*/ 875217 w 1090712"/>
              <a:gd name="connsiteY798" fmla="*/ 290574 h 895572"/>
              <a:gd name="connsiteX799" fmla="*/ 903253 w 1090712"/>
              <a:gd name="connsiteY799" fmla="*/ 285347 h 895572"/>
              <a:gd name="connsiteX800" fmla="*/ 886384 w 1090712"/>
              <a:gd name="connsiteY800" fmla="*/ 268478 h 895572"/>
              <a:gd name="connsiteX801" fmla="*/ 879731 w 1090712"/>
              <a:gd name="connsiteY801" fmla="*/ 270141 h 895572"/>
              <a:gd name="connsiteX802" fmla="*/ 873079 w 1090712"/>
              <a:gd name="connsiteY802" fmla="*/ 271091 h 895572"/>
              <a:gd name="connsiteX803" fmla="*/ 867376 w 1090712"/>
              <a:gd name="connsiteY803" fmla="*/ 271567 h 895572"/>
              <a:gd name="connsiteX804" fmla="*/ 862387 w 1090712"/>
              <a:gd name="connsiteY804" fmla="*/ 271091 h 895572"/>
              <a:gd name="connsiteX805" fmla="*/ 857398 w 1090712"/>
              <a:gd name="connsiteY805" fmla="*/ 269666 h 895572"/>
              <a:gd name="connsiteX806" fmla="*/ 853596 w 1090712"/>
              <a:gd name="connsiteY806" fmla="*/ 268003 h 895572"/>
              <a:gd name="connsiteX807" fmla="*/ 849557 w 1090712"/>
              <a:gd name="connsiteY807" fmla="*/ 265627 h 895572"/>
              <a:gd name="connsiteX808" fmla="*/ 846468 w 1090712"/>
              <a:gd name="connsiteY808" fmla="*/ 262538 h 895572"/>
              <a:gd name="connsiteX809" fmla="*/ 843380 w 1090712"/>
              <a:gd name="connsiteY809" fmla="*/ 259450 h 895572"/>
              <a:gd name="connsiteX810" fmla="*/ 840529 w 1090712"/>
              <a:gd name="connsiteY810" fmla="*/ 255411 h 895572"/>
              <a:gd name="connsiteX811" fmla="*/ 838390 w 1090712"/>
              <a:gd name="connsiteY811" fmla="*/ 251134 h 895572"/>
              <a:gd name="connsiteX812" fmla="*/ 836490 w 1090712"/>
              <a:gd name="connsiteY812" fmla="*/ 246620 h 895572"/>
              <a:gd name="connsiteX813" fmla="*/ 834827 w 1090712"/>
              <a:gd name="connsiteY813" fmla="*/ 241155 h 895572"/>
              <a:gd name="connsiteX814" fmla="*/ 833401 w 1090712"/>
              <a:gd name="connsiteY814" fmla="*/ 235453 h 895572"/>
              <a:gd name="connsiteX815" fmla="*/ 831263 w 1090712"/>
              <a:gd name="connsiteY815" fmla="*/ 223336 h 895572"/>
              <a:gd name="connsiteX816" fmla="*/ 897551 w 1090712"/>
              <a:gd name="connsiteY816" fmla="*/ 206942 h 895572"/>
              <a:gd name="connsiteX817" fmla="*/ 888997 w 1090712"/>
              <a:gd name="connsiteY817" fmla="*/ 194112 h 895572"/>
              <a:gd name="connsiteX818" fmla="*/ 880682 w 1090712"/>
              <a:gd name="connsiteY818" fmla="*/ 181282 h 895572"/>
              <a:gd name="connsiteX819" fmla="*/ 871416 w 1090712"/>
              <a:gd name="connsiteY819" fmla="*/ 168690 h 895572"/>
              <a:gd name="connsiteX820" fmla="*/ 866901 w 1090712"/>
              <a:gd name="connsiteY820" fmla="*/ 162988 h 895572"/>
              <a:gd name="connsiteX821" fmla="*/ 861437 w 1090712"/>
              <a:gd name="connsiteY821" fmla="*/ 157048 h 895572"/>
              <a:gd name="connsiteX822" fmla="*/ 856210 w 1090712"/>
              <a:gd name="connsiteY822" fmla="*/ 151821 h 895572"/>
              <a:gd name="connsiteX823" fmla="*/ 850745 w 1090712"/>
              <a:gd name="connsiteY823" fmla="*/ 146831 h 895572"/>
              <a:gd name="connsiteX824" fmla="*/ 844568 w 1090712"/>
              <a:gd name="connsiteY824" fmla="*/ 142555 h 895572"/>
              <a:gd name="connsiteX825" fmla="*/ 838390 w 1090712"/>
              <a:gd name="connsiteY825" fmla="*/ 138516 h 895572"/>
              <a:gd name="connsiteX826" fmla="*/ 831738 w 1090712"/>
              <a:gd name="connsiteY826" fmla="*/ 134952 h 895572"/>
              <a:gd name="connsiteX827" fmla="*/ 824610 w 1090712"/>
              <a:gd name="connsiteY827" fmla="*/ 132338 h 895572"/>
              <a:gd name="connsiteX828" fmla="*/ 817007 w 1090712"/>
              <a:gd name="connsiteY828" fmla="*/ 129963 h 895572"/>
              <a:gd name="connsiteX829" fmla="*/ 808929 w 1090712"/>
              <a:gd name="connsiteY829" fmla="*/ 128774 h 895572"/>
              <a:gd name="connsiteX830" fmla="*/ 806791 w 1090712"/>
              <a:gd name="connsiteY830" fmla="*/ 128299 h 895572"/>
              <a:gd name="connsiteX831" fmla="*/ 804652 w 1090712"/>
              <a:gd name="connsiteY831" fmla="*/ 127824 h 895572"/>
              <a:gd name="connsiteX832" fmla="*/ 802752 w 1090712"/>
              <a:gd name="connsiteY832" fmla="*/ 126399 h 895572"/>
              <a:gd name="connsiteX833" fmla="*/ 801089 w 1090712"/>
              <a:gd name="connsiteY833" fmla="*/ 125211 h 895572"/>
              <a:gd name="connsiteX834" fmla="*/ 799663 w 1090712"/>
              <a:gd name="connsiteY834" fmla="*/ 123310 h 895572"/>
              <a:gd name="connsiteX835" fmla="*/ 798713 w 1090712"/>
              <a:gd name="connsiteY835" fmla="*/ 121647 h 895572"/>
              <a:gd name="connsiteX836" fmla="*/ 798000 w 1090712"/>
              <a:gd name="connsiteY836" fmla="*/ 119271 h 895572"/>
              <a:gd name="connsiteX837" fmla="*/ 798000 w 1090712"/>
              <a:gd name="connsiteY837" fmla="*/ 117608 h 895572"/>
              <a:gd name="connsiteX838" fmla="*/ 785408 w 1090712"/>
              <a:gd name="connsiteY838" fmla="*/ 106916 h 895572"/>
              <a:gd name="connsiteX839" fmla="*/ 772578 w 1090712"/>
              <a:gd name="connsiteY839" fmla="*/ 95749 h 895572"/>
              <a:gd name="connsiteX840" fmla="*/ 747155 w 1090712"/>
              <a:gd name="connsiteY840" fmla="*/ 72703 h 895572"/>
              <a:gd name="connsiteX841" fmla="*/ 733850 w 1090712"/>
              <a:gd name="connsiteY841" fmla="*/ 61061 h 895572"/>
              <a:gd name="connsiteX842" fmla="*/ 720545 w 1090712"/>
              <a:gd name="connsiteY842" fmla="*/ 49894 h 895572"/>
              <a:gd name="connsiteX843" fmla="*/ 706765 w 1090712"/>
              <a:gd name="connsiteY843" fmla="*/ 38728 h 895572"/>
              <a:gd name="connsiteX844" fmla="*/ 692510 w 1090712"/>
              <a:gd name="connsiteY844" fmla="*/ 28036 h 895572"/>
              <a:gd name="connsiteX845" fmla="*/ 679442 w 1090712"/>
              <a:gd name="connsiteY845" fmla="*/ 21859 h 895572"/>
              <a:gd name="connsiteX846" fmla="*/ 666137 w 1090712"/>
              <a:gd name="connsiteY846" fmla="*/ 16632 h 895572"/>
              <a:gd name="connsiteX847" fmla="*/ 652832 w 1090712"/>
              <a:gd name="connsiteY847" fmla="*/ 11642 h 895572"/>
              <a:gd name="connsiteX848" fmla="*/ 639527 w 1090712"/>
              <a:gd name="connsiteY848" fmla="*/ 7603 h 895572"/>
              <a:gd name="connsiteX849" fmla="*/ 626222 w 1090712"/>
              <a:gd name="connsiteY849" fmla="*/ 4514 h 895572"/>
              <a:gd name="connsiteX850" fmla="*/ 612917 w 1090712"/>
              <a:gd name="connsiteY850" fmla="*/ 1901 h 895572"/>
              <a:gd name="connsiteX851" fmla="*/ 599374 w 1090712"/>
              <a:gd name="connsiteY851" fmla="*/ 475 h 8955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Lst>
            <a:rect l="l" t="t" r="r" b="b"/>
            <a:pathLst>
              <a:path w="1090712" h="895572">
                <a:moveTo>
                  <a:pt x="603413" y="721327"/>
                </a:moveTo>
                <a:lnTo>
                  <a:pt x="578466" y="770746"/>
                </a:lnTo>
                <a:lnTo>
                  <a:pt x="553519" y="818264"/>
                </a:lnTo>
                <a:lnTo>
                  <a:pt x="528334" y="865069"/>
                </a:lnTo>
                <a:lnTo>
                  <a:pt x="511825" y="895572"/>
                </a:lnTo>
                <a:lnTo>
                  <a:pt x="624528" y="895572"/>
                </a:lnTo>
                <a:lnTo>
                  <a:pt x="624796" y="894768"/>
                </a:lnTo>
                <a:lnTo>
                  <a:pt x="625271" y="891679"/>
                </a:lnTo>
                <a:lnTo>
                  <a:pt x="625747" y="889066"/>
                </a:lnTo>
                <a:lnTo>
                  <a:pt x="625747" y="860555"/>
                </a:lnTo>
                <a:lnTo>
                  <a:pt x="624796" y="833945"/>
                </a:lnTo>
                <a:lnTo>
                  <a:pt x="624321" y="820877"/>
                </a:lnTo>
                <a:lnTo>
                  <a:pt x="623608" y="808047"/>
                </a:lnTo>
                <a:lnTo>
                  <a:pt x="621708" y="795218"/>
                </a:lnTo>
                <a:lnTo>
                  <a:pt x="620044" y="782625"/>
                </a:lnTo>
                <a:lnTo>
                  <a:pt x="616005" y="766707"/>
                </a:lnTo>
                <a:lnTo>
                  <a:pt x="611966" y="751976"/>
                </a:lnTo>
                <a:lnTo>
                  <a:pt x="607452" y="737245"/>
                </a:lnTo>
                <a:close/>
                <a:moveTo>
                  <a:pt x="698212" y="530778"/>
                </a:moveTo>
                <a:lnTo>
                  <a:pt x="693460" y="534818"/>
                </a:lnTo>
                <a:lnTo>
                  <a:pt x="688471" y="538857"/>
                </a:lnTo>
                <a:lnTo>
                  <a:pt x="678254" y="546935"/>
                </a:lnTo>
                <a:lnTo>
                  <a:pt x="669226" y="553587"/>
                </a:lnTo>
                <a:lnTo>
                  <a:pt x="663048" y="558814"/>
                </a:lnTo>
                <a:lnTo>
                  <a:pt x="663048" y="556676"/>
                </a:lnTo>
                <a:lnTo>
                  <a:pt x="663523" y="554538"/>
                </a:lnTo>
                <a:lnTo>
                  <a:pt x="665424" y="550498"/>
                </a:lnTo>
                <a:lnTo>
                  <a:pt x="668038" y="546459"/>
                </a:lnTo>
                <a:lnTo>
                  <a:pt x="671602" y="542420"/>
                </a:lnTo>
                <a:lnTo>
                  <a:pt x="676829" y="538857"/>
                </a:lnTo>
                <a:lnTo>
                  <a:pt x="682768" y="535768"/>
                </a:lnTo>
                <a:lnTo>
                  <a:pt x="689896" y="533154"/>
                </a:lnTo>
                <a:close/>
                <a:moveTo>
                  <a:pt x="654257" y="302216"/>
                </a:moveTo>
                <a:lnTo>
                  <a:pt x="651882" y="302691"/>
                </a:lnTo>
                <a:lnTo>
                  <a:pt x="649268" y="303166"/>
                </a:lnTo>
                <a:lnTo>
                  <a:pt x="647130" y="304354"/>
                </a:lnTo>
                <a:lnTo>
                  <a:pt x="644516" y="306255"/>
                </a:lnTo>
                <a:lnTo>
                  <a:pt x="642140" y="307918"/>
                </a:lnTo>
                <a:lnTo>
                  <a:pt x="640002" y="310294"/>
                </a:lnTo>
                <a:lnTo>
                  <a:pt x="638101" y="312432"/>
                </a:lnTo>
                <a:lnTo>
                  <a:pt x="636913" y="314571"/>
                </a:lnTo>
                <a:lnTo>
                  <a:pt x="635963" y="316946"/>
                </a:lnTo>
                <a:lnTo>
                  <a:pt x="635963" y="319085"/>
                </a:lnTo>
                <a:lnTo>
                  <a:pt x="636913" y="321223"/>
                </a:lnTo>
                <a:lnTo>
                  <a:pt x="637626" y="324074"/>
                </a:lnTo>
                <a:lnTo>
                  <a:pt x="639527" y="326688"/>
                </a:lnTo>
                <a:lnTo>
                  <a:pt x="643091" y="331677"/>
                </a:lnTo>
                <a:lnTo>
                  <a:pt x="647130" y="335954"/>
                </a:lnTo>
                <a:lnTo>
                  <a:pt x="655920" y="330727"/>
                </a:lnTo>
                <a:lnTo>
                  <a:pt x="663999" y="324787"/>
                </a:lnTo>
                <a:lnTo>
                  <a:pt x="679917" y="313383"/>
                </a:lnTo>
                <a:lnTo>
                  <a:pt x="676354" y="311007"/>
                </a:lnTo>
                <a:lnTo>
                  <a:pt x="672790" y="308393"/>
                </a:lnTo>
                <a:lnTo>
                  <a:pt x="668988" y="306730"/>
                </a:lnTo>
                <a:lnTo>
                  <a:pt x="664949" y="304829"/>
                </a:lnTo>
                <a:lnTo>
                  <a:pt x="660910" y="303641"/>
                </a:lnTo>
                <a:lnTo>
                  <a:pt x="657346" y="302691"/>
                </a:lnTo>
                <a:close/>
                <a:moveTo>
                  <a:pt x="696549" y="252322"/>
                </a:moveTo>
                <a:lnTo>
                  <a:pt x="696786" y="259925"/>
                </a:lnTo>
                <a:lnTo>
                  <a:pt x="698212" y="266102"/>
                </a:lnTo>
                <a:lnTo>
                  <a:pt x="700113" y="272042"/>
                </a:lnTo>
                <a:lnTo>
                  <a:pt x="701776" y="276794"/>
                </a:lnTo>
                <a:lnTo>
                  <a:pt x="704389" y="280833"/>
                </a:lnTo>
                <a:lnTo>
                  <a:pt x="707240" y="284397"/>
                </a:lnTo>
                <a:lnTo>
                  <a:pt x="710329" y="287010"/>
                </a:lnTo>
                <a:lnTo>
                  <a:pt x="713418" y="289624"/>
                </a:lnTo>
                <a:lnTo>
                  <a:pt x="716506" y="291524"/>
                </a:lnTo>
                <a:lnTo>
                  <a:pt x="719595" y="293187"/>
                </a:lnTo>
                <a:lnTo>
                  <a:pt x="725772" y="295088"/>
                </a:lnTo>
                <a:lnTo>
                  <a:pt x="731237" y="296514"/>
                </a:lnTo>
                <a:lnTo>
                  <a:pt x="734801" y="296751"/>
                </a:lnTo>
                <a:lnTo>
                  <a:pt x="722209" y="303879"/>
                </a:lnTo>
                <a:lnTo>
                  <a:pt x="710804" y="311007"/>
                </a:lnTo>
                <a:lnTo>
                  <a:pt x="688471" y="324787"/>
                </a:lnTo>
                <a:lnTo>
                  <a:pt x="667563" y="339043"/>
                </a:lnTo>
                <a:lnTo>
                  <a:pt x="646179" y="352823"/>
                </a:lnTo>
                <a:lnTo>
                  <a:pt x="620044" y="313383"/>
                </a:lnTo>
                <a:lnTo>
                  <a:pt x="617668" y="312432"/>
                </a:lnTo>
                <a:lnTo>
                  <a:pt x="615055" y="312432"/>
                </a:lnTo>
                <a:lnTo>
                  <a:pt x="612441" y="313383"/>
                </a:lnTo>
                <a:lnTo>
                  <a:pt x="609353" y="314095"/>
                </a:lnTo>
                <a:lnTo>
                  <a:pt x="602938" y="316946"/>
                </a:lnTo>
                <a:lnTo>
                  <a:pt x="599849" y="317659"/>
                </a:lnTo>
                <a:lnTo>
                  <a:pt x="596760" y="318610"/>
                </a:lnTo>
                <a:lnTo>
                  <a:pt x="607927" y="307205"/>
                </a:lnTo>
                <a:lnTo>
                  <a:pt x="618619" y="295088"/>
                </a:lnTo>
                <a:lnTo>
                  <a:pt x="623846" y="289386"/>
                </a:lnTo>
                <a:lnTo>
                  <a:pt x="629786" y="283921"/>
                </a:lnTo>
                <a:lnTo>
                  <a:pt x="635963" y="278694"/>
                </a:lnTo>
                <a:lnTo>
                  <a:pt x="642140" y="273705"/>
                </a:lnTo>
                <a:lnTo>
                  <a:pt x="648793" y="269191"/>
                </a:lnTo>
                <a:lnTo>
                  <a:pt x="655446" y="265627"/>
                </a:lnTo>
                <a:lnTo>
                  <a:pt x="662098" y="263013"/>
                </a:lnTo>
                <a:lnTo>
                  <a:pt x="668988" y="260400"/>
                </a:lnTo>
                <a:lnTo>
                  <a:pt x="682768" y="256361"/>
                </a:lnTo>
                <a:close/>
                <a:moveTo>
                  <a:pt x="1030602" y="200289"/>
                </a:moveTo>
                <a:lnTo>
                  <a:pt x="1027513" y="207892"/>
                </a:lnTo>
                <a:lnTo>
                  <a:pt x="1023949" y="214545"/>
                </a:lnTo>
                <a:lnTo>
                  <a:pt x="1019910" y="221197"/>
                </a:lnTo>
                <a:lnTo>
                  <a:pt x="1015396" y="226899"/>
                </a:lnTo>
                <a:lnTo>
                  <a:pt x="1011119" y="232839"/>
                </a:lnTo>
                <a:lnTo>
                  <a:pt x="1006130" y="237591"/>
                </a:lnTo>
                <a:lnTo>
                  <a:pt x="1001140" y="242105"/>
                </a:lnTo>
                <a:lnTo>
                  <a:pt x="996388" y="246144"/>
                </a:lnTo>
                <a:lnTo>
                  <a:pt x="990924" y="249708"/>
                </a:lnTo>
                <a:lnTo>
                  <a:pt x="985697" y="252797"/>
                </a:lnTo>
                <a:lnTo>
                  <a:pt x="980232" y="254935"/>
                </a:lnTo>
                <a:lnTo>
                  <a:pt x="975005" y="256836"/>
                </a:lnTo>
                <a:lnTo>
                  <a:pt x="969541" y="258262"/>
                </a:lnTo>
                <a:lnTo>
                  <a:pt x="963839" y="258499"/>
                </a:lnTo>
                <a:lnTo>
                  <a:pt x="958612" y="258499"/>
                </a:lnTo>
                <a:lnTo>
                  <a:pt x="953622" y="257786"/>
                </a:lnTo>
                <a:lnTo>
                  <a:pt x="970966" y="244006"/>
                </a:lnTo>
                <a:lnTo>
                  <a:pt x="990211" y="229275"/>
                </a:lnTo>
                <a:lnTo>
                  <a:pt x="1010169" y="214069"/>
                </a:lnTo>
                <a:lnTo>
                  <a:pt x="1020385" y="206942"/>
                </a:lnTo>
                <a:close/>
                <a:moveTo>
                  <a:pt x="389581" y="176768"/>
                </a:moveTo>
                <a:lnTo>
                  <a:pt x="397422" y="177243"/>
                </a:lnTo>
                <a:lnTo>
                  <a:pt x="414766" y="178906"/>
                </a:lnTo>
                <a:lnTo>
                  <a:pt x="405500" y="179856"/>
                </a:lnTo>
                <a:lnTo>
                  <a:pt x="396946" y="181995"/>
                </a:lnTo>
                <a:lnTo>
                  <a:pt x="389581" y="184371"/>
                </a:lnTo>
                <a:lnTo>
                  <a:pt x="381978" y="186984"/>
                </a:lnTo>
                <a:lnTo>
                  <a:pt x="375326" y="190548"/>
                </a:lnTo>
                <a:lnTo>
                  <a:pt x="368911" y="194112"/>
                </a:lnTo>
                <a:lnTo>
                  <a:pt x="363208" y="198626"/>
                </a:lnTo>
                <a:lnTo>
                  <a:pt x="357981" y="202903"/>
                </a:lnTo>
                <a:lnTo>
                  <a:pt x="352517" y="208367"/>
                </a:lnTo>
                <a:lnTo>
                  <a:pt x="348003" y="214070"/>
                </a:lnTo>
                <a:lnTo>
                  <a:pt x="343726" y="220247"/>
                </a:lnTo>
                <a:lnTo>
                  <a:pt x="339687" y="226662"/>
                </a:lnTo>
                <a:lnTo>
                  <a:pt x="335648" y="233790"/>
                </a:lnTo>
                <a:lnTo>
                  <a:pt x="332559" y="240917"/>
                </a:lnTo>
                <a:lnTo>
                  <a:pt x="328995" y="248758"/>
                </a:lnTo>
                <a:lnTo>
                  <a:pt x="325907" y="256836"/>
                </a:lnTo>
                <a:lnTo>
                  <a:pt x="325432" y="252797"/>
                </a:lnTo>
                <a:lnTo>
                  <a:pt x="324956" y="248283"/>
                </a:lnTo>
                <a:lnTo>
                  <a:pt x="323056" y="239492"/>
                </a:lnTo>
                <a:lnTo>
                  <a:pt x="320917" y="229275"/>
                </a:lnTo>
                <a:lnTo>
                  <a:pt x="320442" y="223811"/>
                </a:lnTo>
                <a:lnTo>
                  <a:pt x="319967" y="217633"/>
                </a:lnTo>
                <a:lnTo>
                  <a:pt x="314740" y="217633"/>
                </a:lnTo>
                <a:lnTo>
                  <a:pt x="302148" y="243056"/>
                </a:lnTo>
                <a:lnTo>
                  <a:pt x="289793" y="267528"/>
                </a:lnTo>
                <a:lnTo>
                  <a:pt x="277438" y="291049"/>
                </a:lnTo>
                <a:lnTo>
                  <a:pt x="264371" y="312907"/>
                </a:lnTo>
                <a:lnTo>
                  <a:pt x="267459" y="295088"/>
                </a:lnTo>
                <a:lnTo>
                  <a:pt x="271023" y="279170"/>
                </a:lnTo>
                <a:lnTo>
                  <a:pt x="274587" y="263964"/>
                </a:lnTo>
                <a:lnTo>
                  <a:pt x="279101" y="250183"/>
                </a:lnTo>
                <a:lnTo>
                  <a:pt x="284091" y="238066"/>
                </a:lnTo>
                <a:lnTo>
                  <a:pt x="289318" y="226900"/>
                </a:lnTo>
                <a:lnTo>
                  <a:pt x="292406" y="221673"/>
                </a:lnTo>
                <a:lnTo>
                  <a:pt x="295495" y="217158"/>
                </a:lnTo>
                <a:lnTo>
                  <a:pt x="298584" y="212406"/>
                </a:lnTo>
                <a:lnTo>
                  <a:pt x="302148" y="208367"/>
                </a:lnTo>
                <a:lnTo>
                  <a:pt x="305711" y="204328"/>
                </a:lnTo>
                <a:lnTo>
                  <a:pt x="309275" y="200765"/>
                </a:lnTo>
                <a:lnTo>
                  <a:pt x="313314" y="197201"/>
                </a:lnTo>
                <a:lnTo>
                  <a:pt x="317354" y="194112"/>
                </a:lnTo>
                <a:lnTo>
                  <a:pt x="321868" y="191498"/>
                </a:lnTo>
                <a:lnTo>
                  <a:pt x="326382" y="188647"/>
                </a:lnTo>
                <a:lnTo>
                  <a:pt x="330659" y="186509"/>
                </a:lnTo>
                <a:lnTo>
                  <a:pt x="335648" y="184371"/>
                </a:lnTo>
                <a:lnTo>
                  <a:pt x="340637" y="182470"/>
                </a:lnTo>
                <a:lnTo>
                  <a:pt x="345864" y="181282"/>
                </a:lnTo>
                <a:lnTo>
                  <a:pt x="351091" y="179856"/>
                </a:lnTo>
                <a:lnTo>
                  <a:pt x="357031" y="178431"/>
                </a:lnTo>
                <a:lnTo>
                  <a:pt x="368911" y="177243"/>
                </a:lnTo>
                <a:lnTo>
                  <a:pt x="381978" y="176768"/>
                </a:lnTo>
                <a:close/>
                <a:moveTo>
                  <a:pt x="609353" y="174629"/>
                </a:moveTo>
                <a:lnTo>
                  <a:pt x="602463" y="180807"/>
                </a:lnTo>
                <a:lnTo>
                  <a:pt x="596285" y="187459"/>
                </a:lnTo>
                <a:lnTo>
                  <a:pt x="583931" y="201715"/>
                </a:lnTo>
                <a:lnTo>
                  <a:pt x="571101" y="215495"/>
                </a:lnTo>
                <a:lnTo>
                  <a:pt x="564686" y="222148"/>
                </a:lnTo>
                <a:lnTo>
                  <a:pt x="558508" y="228325"/>
                </a:lnTo>
                <a:lnTo>
                  <a:pt x="557558" y="223335"/>
                </a:lnTo>
                <a:lnTo>
                  <a:pt x="557083" y="219059"/>
                </a:lnTo>
                <a:lnTo>
                  <a:pt x="557083" y="215020"/>
                </a:lnTo>
                <a:lnTo>
                  <a:pt x="557558" y="210981"/>
                </a:lnTo>
                <a:lnTo>
                  <a:pt x="558508" y="207417"/>
                </a:lnTo>
                <a:lnTo>
                  <a:pt x="560409" y="203853"/>
                </a:lnTo>
                <a:lnTo>
                  <a:pt x="562072" y="200764"/>
                </a:lnTo>
                <a:lnTo>
                  <a:pt x="564686" y="197676"/>
                </a:lnTo>
                <a:lnTo>
                  <a:pt x="567774" y="194587"/>
                </a:lnTo>
                <a:lnTo>
                  <a:pt x="571813" y="191973"/>
                </a:lnTo>
                <a:lnTo>
                  <a:pt x="576328" y="188647"/>
                </a:lnTo>
                <a:lnTo>
                  <a:pt x="581317" y="186034"/>
                </a:lnTo>
                <a:lnTo>
                  <a:pt x="587019" y="183420"/>
                </a:lnTo>
                <a:lnTo>
                  <a:pt x="593672" y="180332"/>
                </a:lnTo>
                <a:close/>
                <a:moveTo>
                  <a:pt x="586544" y="0"/>
                </a:moveTo>
                <a:lnTo>
                  <a:pt x="570150" y="2851"/>
                </a:lnTo>
                <a:lnTo>
                  <a:pt x="553519" y="5940"/>
                </a:lnTo>
                <a:lnTo>
                  <a:pt x="536650" y="10454"/>
                </a:lnTo>
                <a:lnTo>
                  <a:pt x="520256" y="14731"/>
                </a:lnTo>
                <a:lnTo>
                  <a:pt x="486993" y="24472"/>
                </a:lnTo>
                <a:lnTo>
                  <a:pt x="469887" y="28986"/>
                </a:lnTo>
                <a:lnTo>
                  <a:pt x="453493" y="33500"/>
                </a:lnTo>
                <a:lnTo>
                  <a:pt x="438762" y="40153"/>
                </a:lnTo>
                <a:lnTo>
                  <a:pt x="424507" y="47281"/>
                </a:lnTo>
                <a:lnTo>
                  <a:pt x="417379" y="51320"/>
                </a:lnTo>
                <a:lnTo>
                  <a:pt x="410727" y="55834"/>
                </a:lnTo>
                <a:lnTo>
                  <a:pt x="403599" y="60111"/>
                </a:lnTo>
                <a:lnTo>
                  <a:pt x="397422" y="65100"/>
                </a:lnTo>
                <a:lnTo>
                  <a:pt x="390769" y="69852"/>
                </a:lnTo>
                <a:lnTo>
                  <a:pt x="384592" y="75792"/>
                </a:lnTo>
                <a:lnTo>
                  <a:pt x="378889" y="81494"/>
                </a:lnTo>
                <a:lnTo>
                  <a:pt x="372950" y="87671"/>
                </a:lnTo>
                <a:lnTo>
                  <a:pt x="367723" y="94324"/>
                </a:lnTo>
                <a:lnTo>
                  <a:pt x="362733" y="101452"/>
                </a:lnTo>
                <a:lnTo>
                  <a:pt x="357981" y="109055"/>
                </a:lnTo>
                <a:lnTo>
                  <a:pt x="353467" y="117608"/>
                </a:lnTo>
                <a:lnTo>
                  <a:pt x="409064" y="117608"/>
                </a:lnTo>
                <a:lnTo>
                  <a:pt x="406925" y="119271"/>
                </a:lnTo>
                <a:lnTo>
                  <a:pt x="404074" y="121647"/>
                </a:lnTo>
                <a:lnTo>
                  <a:pt x="400510" y="123310"/>
                </a:lnTo>
                <a:lnTo>
                  <a:pt x="397422" y="125211"/>
                </a:lnTo>
                <a:lnTo>
                  <a:pt x="393383" y="126399"/>
                </a:lnTo>
                <a:lnTo>
                  <a:pt x="389581" y="127824"/>
                </a:lnTo>
                <a:lnTo>
                  <a:pt x="385542" y="128299"/>
                </a:lnTo>
                <a:lnTo>
                  <a:pt x="381503" y="128774"/>
                </a:lnTo>
                <a:lnTo>
                  <a:pt x="375326" y="130438"/>
                </a:lnTo>
                <a:lnTo>
                  <a:pt x="368435" y="131863"/>
                </a:lnTo>
                <a:lnTo>
                  <a:pt x="361783" y="133051"/>
                </a:lnTo>
                <a:lnTo>
                  <a:pt x="355606" y="134001"/>
                </a:lnTo>
                <a:lnTo>
                  <a:pt x="342300" y="135427"/>
                </a:lnTo>
                <a:lnTo>
                  <a:pt x="329471" y="137090"/>
                </a:lnTo>
                <a:lnTo>
                  <a:pt x="322818" y="138040"/>
                </a:lnTo>
                <a:lnTo>
                  <a:pt x="316403" y="139704"/>
                </a:lnTo>
                <a:lnTo>
                  <a:pt x="310226" y="141604"/>
                </a:lnTo>
                <a:lnTo>
                  <a:pt x="304048" y="144218"/>
                </a:lnTo>
                <a:lnTo>
                  <a:pt x="298346" y="147307"/>
                </a:lnTo>
                <a:lnTo>
                  <a:pt x="292406" y="151346"/>
                </a:lnTo>
                <a:lnTo>
                  <a:pt x="286704" y="156335"/>
                </a:lnTo>
                <a:lnTo>
                  <a:pt x="281240" y="162037"/>
                </a:lnTo>
                <a:lnTo>
                  <a:pt x="262232" y="182945"/>
                </a:lnTo>
                <a:lnTo>
                  <a:pt x="242987" y="203378"/>
                </a:lnTo>
                <a:lnTo>
                  <a:pt x="203547" y="244006"/>
                </a:lnTo>
                <a:lnTo>
                  <a:pt x="183827" y="264439"/>
                </a:lnTo>
                <a:lnTo>
                  <a:pt x="164345" y="285822"/>
                </a:lnTo>
                <a:lnTo>
                  <a:pt x="144862" y="307443"/>
                </a:lnTo>
                <a:lnTo>
                  <a:pt x="126093" y="329777"/>
                </a:lnTo>
                <a:lnTo>
                  <a:pt x="122054" y="335004"/>
                </a:lnTo>
                <a:lnTo>
                  <a:pt x="118015" y="340468"/>
                </a:lnTo>
                <a:lnTo>
                  <a:pt x="110887" y="352110"/>
                </a:lnTo>
                <a:lnTo>
                  <a:pt x="104709" y="363514"/>
                </a:lnTo>
                <a:lnTo>
                  <a:pt x="99007" y="375156"/>
                </a:lnTo>
                <a:lnTo>
                  <a:pt x="87840" y="400103"/>
                </a:lnTo>
                <a:lnTo>
                  <a:pt x="82138" y="412458"/>
                </a:lnTo>
                <a:lnTo>
                  <a:pt x="75723" y="425050"/>
                </a:lnTo>
                <a:lnTo>
                  <a:pt x="75723" y="429802"/>
                </a:lnTo>
                <a:lnTo>
                  <a:pt x="76674" y="436217"/>
                </a:lnTo>
                <a:lnTo>
                  <a:pt x="77149" y="439306"/>
                </a:lnTo>
                <a:lnTo>
                  <a:pt x="78574" y="442395"/>
                </a:lnTo>
                <a:lnTo>
                  <a:pt x="79762" y="445008"/>
                </a:lnTo>
                <a:lnTo>
                  <a:pt x="81663" y="447147"/>
                </a:lnTo>
                <a:lnTo>
                  <a:pt x="94018" y="468055"/>
                </a:lnTo>
                <a:lnTo>
                  <a:pt x="106848" y="488963"/>
                </a:lnTo>
                <a:lnTo>
                  <a:pt x="113975" y="499654"/>
                </a:lnTo>
                <a:lnTo>
                  <a:pt x="121103" y="510346"/>
                </a:lnTo>
                <a:lnTo>
                  <a:pt x="128706" y="520562"/>
                </a:lnTo>
                <a:lnTo>
                  <a:pt x="137259" y="531254"/>
                </a:lnTo>
                <a:lnTo>
                  <a:pt x="149614" y="514385"/>
                </a:lnTo>
                <a:lnTo>
                  <a:pt x="162206" y="498466"/>
                </a:lnTo>
                <a:lnTo>
                  <a:pt x="174561" y="483260"/>
                </a:lnTo>
                <a:lnTo>
                  <a:pt x="180739" y="476133"/>
                </a:lnTo>
                <a:lnTo>
                  <a:pt x="186916" y="469480"/>
                </a:lnTo>
                <a:lnTo>
                  <a:pt x="182639" y="482310"/>
                </a:lnTo>
                <a:lnTo>
                  <a:pt x="178125" y="495615"/>
                </a:lnTo>
                <a:lnTo>
                  <a:pt x="172423" y="509871"/>
                </a:lnTo>
                <a:lnTo>
                  <a:pt x="164820" y="525552"/>
                </a:lnTo>
                <a:lnTo>
                  <a:pt x="156267" y="538381"/>
                </a:lnTo>
                <a:lnTo>
                  <a:pt x="152703" y="544559"/>
                </a:lnTo>
                <a:lnTo>
                  <a:pt x="148664" y="551449"/>
                </a:lnTo>
                <a:lnTo>
                  <a:pt x="145100" y="558339"/>
                </a:lnTo>
                <a:lnTo>
                  <a:pt x="142011" y="565467"/>
                </a:lnTo>
                <a:lnTo>
                  <a:pt x="139398" y="573070"/>
                </a:lnTo>
                <a:lnTo>
                  <a:pt x="137259" y="581623"/>
                </a:lnTo>
                <a:lnTo>
                  <a:pt x="136309" y="583761"/>
                </a:lnTo>
                <a:lnTo>
                  <a:pt x="135359" y="586137"/>
                </a:lnTo>
                <a:lnTo>
                  <a:pt x="134883" y="590889"/>
                </a:lnTo>
                <a:lnTo>
                  <a:pt x="134883" y="595879"/>
                </a:lnTo>
                <a:lnTo>
                  <a:pt x="135359" y="601106"/>
                </a:lnTo>
                <a:lnTo>
                  <a:pt x="136784" y="606095"/>
                </a:lnTo>
                <a:lnTo>
                  <a:pt x="138447" y="611322"/>
                </a:lnTo>
                <a:lnTo>
                  <a:pt x="140348" y="616311"/>
                </a:lnTo>
                <a:lnTo>
                  <a:pt x="142486" y="620826"/>
                </a:lnTo>
                <a:lnTo>
                  <a:pt x="148664" y="629616"/>
                </a:lnTo>
                <a:lnTo>
                  <a:pt x="155554" y="637219"/>
                </a:lnTo>
                <a:lnTo>
                  <a:pt x="162444" y="643872"/>
                </a:lnTo>
                <a:lnTo>
                  <a:pt x="169572" y="649099"/>
                </a:lnTo>
                <a:lnTo>
                  <a:pt x="177175" y="653613"/>
                </a:lnTo>
                <a:lnTo>
                  <a:pt x="184778" y="657177"/>
                </a:lnTo>
                <a:lnTo>
                  <a:pt x="192856" y="659553"/>
                </a:lnTo>
                <a:lnTo>
                  <a:pt x="200934" y="661216"/>
                </a:lnTo>
                <a:lnTo>
                  <a:pt x="209250" y="661691"/>
                </a:lnTo>
                <a:lnTo>
                  <a:pt x="218278" y="661691"/>
                </a:lnTo>
                <a:lnTo>
                  <a:pt x="227069" y="660266"/>
                </a:lnTo>
                <a:lnTo>
                  <a:pt x="236335" y="658603"/>
                </a:lnTo>
                <a:lnTo>
                  <a:pt x="245838" y="655514"/>
                </a:lnTo>
                <a:lnTo>
                  <a:pt x="255580" y="652425"/>
                </a:lnTo>
                <a:lnTo>
                  <a:pt x="265321" y="647911"/>
                </a:lnTo>
                <a:lnTo>
                  <a:pt x="276013" y="642922"/>
                </a:lnTo>
                <a:lnTo>
                  <a:pt x="288367" y="635081"/>
                </a:lnTo>
                <a:lnTo>
                  <a:pt x="301910" y="627478"/>
                </a:lnTo>
                <a:lnTo>
                  <a:pt x="315215" y="620350"/>
                </a:lnTo>
                <a:lnTo>
                  <a:pt x="329471" y="613698"/>
                </a:lnTo>
                <a:lnTo>
                  <a:pt x="343726" y="607283"/>
                </a:lnTo>
                <a:lnTo>
                  <a:pt x="357981" y="602056"/>
                </a:lnTo>
                <a:lnTo>
                  <a:pt x="371999" y="597066"/>
                </a:lnTo>
                <a:lnTo>
                  <a:pt x="386730" y="592790"/>
                </a:lnTo>
                <a:lnTo>
                  <a:pt x="394808" y="590414"/>
                </a:lnTo>
                <a:lnTo>
                  <a:pt x="402411" y="587325"/>
                </a:lnTo>
                <a:lnTo>
                  <a:pt x="409064" y="583761"/>
                </a:lnTo>
                <a:lnTo>
                  <a:pt x="411677" y="581623"/>
                </a:lnTo>
                <a:lnTo>
                  <a:pt x="414766" y="579247"/>
                </a:lnTo>
                <a:lnTo>
                  <a:pt x="417142" y="577109"/>
                </a:lnTo>
                <a:lnTo>
                  <a:pt x="419280" y="574495"/>
                </a:lnTo>
                <a:lnTo>
                  <a:pt x="420943" y="571407"/>
                </a:lnTo>
                <a:lnTo>
                  <a:pt x="422844" y="568318"/>
                </a:lnTo>
                <a:lnTo>
                  <a:pt x="424269" y="565229"/>
                </a:lnTo>
                <a:lnTo>
                  <a:pt x="424982" y="561665"/>
                </a:lnTo>
                <a:lnTo>
                  <a:pt x="425457" y="557626"/>
                </a:lnTo>
                <a:lnTo>
                  <a:pt x="425932" y="553587"/>
                </a:lnTo>
                <a:lnTo>
                  <a:pt x="425932" y="413884"/>
                </a:lnTo>
                <a:lnTo>
                  <a:pt x="425932" y="285347"/>
                </a:lnTo>
                <a:lnTo>
                  <a:pt x="429496" y="300078"/>
                </a:lnTo>
                <a:lnTo>
                  <a:pt x="433060" y="314096"/>
                </a:lnTo>
                <a:lnTo>
                  <a:pt x="436149" y="328826"/>
                </a:lnTo>
                <a:lnTo>
                  <a:pt x="438762" y="343082"/>
                </a:lnTo>
                <a:lnTo>
                  <a:pt x="443752" y="370642"/>
                </a:lnTo>
                <a:lnTo>
                  <a:pt x="447791" y="397015"/>
                </a:lnTo>
                <a:lnTo>
                  <a:pt x="451830" y="421962"/>
                </a:lnTo>
                <a:lnTo>
                  <a:pt x="454919" y="446434"/>
                </a:lnTo>
                <a:lnTo>
                  <a:pt x="456106" y="458313"/>
                </a:lnTo>
                <a:lnTo>
                  <a:pt x="457057" y="470430"/>
                </a:lnTo>
                <a:lnTo>
                  <a:pt x="457532" y="482310"/>
                </a:lnTo>
                <a:lnTo>
                  <a:pt x="457532" y="493952"/>
                </a:lnTo>
                <a:lnTo>
                  <a:pt x="457532" y="506069"/>
                </a:lnTo>
                <a:lnTo>
                  <a:pt x="456582" y="517473"/>
                </a:lnTo>
                <a:lnTo>
                  <a:pt x="455869" y="529116"/>
                </a:lnTo>
                <a:lnTo>
                  <a:pt x="453968" y="540757"/>
                </a:lnTo>
                <a:lnTo>
                  <a:pt x="452305" y="552162"/>
                </a:lnTo>
                <a:lnTo>
                  <a:pt x="449454" y="563804"/>
                </a:lnTo>
                <a:lnTo>
                  <a:pt x="446365" y="575446"/>
                </a:lnTo>
                <a:lnTo>
                  <a:pt x="442326" y="586850"/>
                </a:lnTo>
                <a:lnTo>
                  <a:pt x="440188" y="591364"/>
                </a:lnTo>
                <a:lnTo>
                  <a:pt x="437574" y="595403"/>
                </a:lnTo>
                <a:lnTo>
                  <a:pt x="434486" y="598967"/>
                </a:lnTo>
                <a:lnTo>
                  <a:pt x="431397" y="602531"/>
                </a:lnTo>
                <a:lnTo>
                  <a:pt x="428071" y="605145"/>
                </a:lnTo>
                <a:lnTo>
                  <a:pt x="424982" y="607283"/>
                </a:lnTo>
                <a:lnTo>
                  <a:pt x="422369" y="608708"/>
                </a:lnTo>
                <a:lnTo>
                  <a:pt x="420230" y="609659"/>
                </a:lnTo>
                <a:lnTo>
                  <a:pt x="410727" y="610847"/>
                </a:lnTo>
                <a:lnTo>
                  <a:pt x="401461" y="612748"/>
                </a:lnTo>
                <a:lnTo>
                  <a:pt x="392670" y="614886"/>
                </a:lnTo>
                <a:lnTo>
                  <a:pt x="383641" y="617262"/>
                </a:lnTo>
                <a:lnTo>
                  <a:pt x="374850" y="620350"/>
                </a:lnTo>
                <a:lnTo>
                  <a:pt x="365822" y="623914"/>
                </a:lnTo>
                <a:lnTo>
                  <a:pt x="348478" y="631042"/>
                </a:lnTo>
                <a:lnTo>
                  <a:pt x="331609" y="639358"/>
                </a:lnTo>
                <a:lnTo>
                  <a:pt x="314740" y="647911"/>
                </a:lnTo>
                <a:lnTo>
                  <a:pt x="281240" y="665255"/>
                </a:lnTo>
                <a:lnTo>
                  <a:pt x="274587" y="669294"/>
                </a:lnTo>
                <a:lnTo>
                  <a:pt x="267935" y="672858"/>
                </a:lnTo>
                <a:lnTo>
                  <a:pt x="261757" y="675947"/>
                </a:lnTo>
                <a:lnTo>
                  <a:pt x="255105" y="679035"/>
                </a:lnTo>
                <a:lnTo>
                  <a:pt x="248927" y="681174"/>
                </a:lnTo>
                <a:lnTo>
                  <a:pt x="242987" y="683075"/>
                </a:lnTo>
                <a:lnTo>
                  <a:pt x="236810" y="684738"/>
                </a:lnTo>
                <a:lnTo>
                  <a:pt x="231108" y="686163"/>
                </a:lnTo>
                <a:lnTo>
                  <a:pt x="225406" y="687114"/>
                </a:lnTo>
                <a:lnTo>
                  <a:pt x="219466" y="687589"/>
                </a:lnTo>
                <a:lnTo>
                  <a:pt x="213764" y="687589"/>
                </a:lnTo>
                <a:lnTo>
                  <a:pt x="208299" y="687589"/>
                </a:lnTo>
                <a:lnTo>
                  <a:pt x="203072" y="687114"/>
                </a:lnTo>
                <a:lnTo>
                  <a:pt x="197607" y="686163"/>
                </a:lnTo>
                <a:lnTo>
                  <a:pt x="192380" y="684738"/>
                </a:lnTo>
                <a:lnTo>
                  <a:pt x="186916" y="683550"/>
                </a:lnTo>
                <a:lnTo>
                  <a:pt x="181689" y="681649"/>
                </a:lnTo>
                <a:lnTo>
                  <a:pt x="176699" y="679986"/>
                </a:lnTo>
                <a:lnTo>
                  <a:pt x="171472" y="677610"/>
                </a:lnTo>
                <a:lnTo>
                  <a:pt x="166483" y="674996"/>
                </a:lnTo>
                <a:lnTo>
                  <a:pt x="156742" y="669294"/>
                </a:lnTo>
                <a:lnTo>
                  <a:pt x="147001" y="662167"/>
                </a:lnTo>
                <a:lnTo>
                  <a:pt x="137735" y="654564"/>
                </a:lnTo>
                <a:lnTo>
                  <a:pt x="127756" y="645535"/>
                </a:lnTo>
                <a:lnTo>
                  <a:pt x="118490" y="636269"/>
                </a:lnTo>
                <a:lnTo>
                  <a:pt x="109224" y="626053"/>
                </a:lnTo>
                <a:lnTo>
                  <a:pt x="107323" y="623914"/>
                </a:lnTo>
                <a:lnTo>
                  <a:pt x="106135" y="620350"/>
                </a:lnTo>
                <a:lnTo>
                  <a:pt x="105185" y="616311"/>
                </a:lnTo>
                <a:lnTo>
                  <a:pt x="105185" y="612272"/>
                </a:lnTo>
                <a:lnTo>
                  <a:pt x="105185" y="608233"/>
                </a:lnTo>
                <a:lnTo>
                  <a:pt x="106135" y="604194"/>
                </a:lnTo>
                <a:lnTo>
                  <a:pt x="107323" y="600630"/>
                </a:lnTo>
                <a:lnTo>
                  <a:pt x="109224" y="598017"/>
                </a:lnTo>
                <a:lnTo>
                  <a:pt x="111837" y="591840"/>
                </a:lnTo>
                <a:lnTo>
                  <a:pt x="113975" y="586137"/>
                </a:lnTo>
                <a:lnTo>
                  <a:pt x="115401" y="579722"/>
                </a:lnTo>
                <a:lnTo>
                  <a:pt x="115876" y="574020"/>
                </a:lnTo>
                <a:lnTo>
                  <a:pt x="115876" y="568318"/>
                </a:lnTo>
                <a:lnTo>
                  <a:pt x="115401" y="562378"/>
                </a:lnTo>
                <a:lnTo>
                  <a:pt x="114451" y="557151"/>
                </a:lnTo>
                <a:lnTo>
                  <a:pt x="112788" y="551449"/>
                </a:lnTo>
                <a:lnTo>
                  <a:pt x="110412" y="545984"/>
                </a:lnTo>
                <a:lnTo>
                  <a:pt x="108273" y="540757"/>
                </a:lnTo>
                <a:lnTo>
                  <a:pt x="105185" y="535293"/>
                </a:lnTo>
                <a:lnTo>
                  <a:pt x="102096" y="530066"/>
                </a:lnTo>
                <a:lnTo>
                  <a:pt x="94968" y="519374"/>
                </a:lnTo>
                <a:lnTo>
                  <a:pt x="86890" y="508683"/>
                </a:lnTo>
                <a:lnTo>
                  <a:pt x="78812" y="497991"/>
                </a:lnTo>
                <a:lnTo>
                  <a:pt x="70972" y="486824"/>
                </a:lnTo>
                <a:lnTo>
                  <a:pt x="67408" y="481122"/>
                </a:lnTo>
                <a:lnTo>
                  <a:pt x="64319" y="474707"/>
                </a:lnTo>
                <a:lnTo>
                  <a:pt x="61230" y="469005"/>
                </a:lnTo>
                <a:lnTo>
                  <a:pt x="58379" y="462828"/>
                </a:lnTo>
                <a:lnTo>
                  <a:pt x="56716" y="456175"/>
                </a:lnTo>
                <a:lnTo>
                  <a:pt x="54815" y="449998"/>
                </a:lnTo>
                <a:lnTo>
                  <a:pt x="54103" y="443345"/>
                </a:lnTo>
                <a:lnTo>
                  <a:pt x="53627" y="436455"/>
                </a:lnTo>
                <a:lnTo>
                  <a:pt x="53627" y="429327"/>
                </a:lnTo>
                <a:lnTo>
                  <a:pt x="54815" y="422675"/>
                </a:lnTo>
                <a:lnTo>
                  <a:pt x="56716" y="415547"/>
                </a:lnTo>
                <a:lnTo>
                  <a:pt x="59330" y="408182"/>
                </a:lnTo>
                <a:lnTo>
                  <a:pt x="60280" y="403192"/>
                </a:lnTo>
                <a:lnTo>
                  <a:pt x="61943" y="397965"/>
                </a:lnTo>
                <a:lnTo>
                  <a:pt x="65507" y="387986"/>
                </a:lnTo>
                <a:lnTo>
                  <a:pt x="69546" y="378720"/>
                </a:lnTo>
                <a:lnTo>
                  <a:pt x="74535" y="369929"/>
                </a:lnTo>
                <a:lnTo>
                  <a:pt x="79762" y="360901"/>
                </a:lnTo>
                <a:lnTo>
                  <a:pt x="85940" y="352585"/>
                </a:lnTo>
                <a:lnTo>
                  <a:pt x="98057" y="335479"/>
                </a:lnTo>
                <a:lnTo>
                  <a:pt x="102571" y="328113"/>
                </a:lnTo>
                <a:lnTo>
                  <a:pt x="106848" y="320986"/>
                </a:lnTo>
                <a:lnTo>
                  <a:pt x="116827" y="307205"/>
                </a:lnTo>
                <a:lnTo>
                  <a:pt x="127043" y="293188"/>
                </a:lnTo>
                <a:lnTo>
                  <a:pt x="137735" y="279407"/>
                </a:lnTo>
                <a:lnTo>
                  <a:pt x="159831" y="251847"/>
                </a:lnTo>
                <a:lnTo>
                  <a:pt x="170522" y="238066"/>
                </a:lnTo>
                <a:lnTo>
                  <a:pt x="181214" y="223336"/>
                </a:lnTo>
                <a:lnTo>
                  <a:pt x="164820" y="223336"/>
                </a:lnTo>
                <a:lnTo>
                  <a:pt x="137972" y="230226"/>
                </a:lnTo>
                <a:lnTo>
                  <a:pt x="125142" y="233790"/>
                </a:lnTo>
                <a:lnTo>
                  <a:pt x="112788" y="237591"/>
                </a:lnTo>
                <a:lnTo>
                  <a:pt x="100195" y="241630"/>
                </a:lnTo>
                <a:lnTo>
                  <a:pt x="87840" y="245669"/>
                </a:lnTo>
                <a:lnTo>
                  <a:pt x="75723" y="250183"/>
                </a:lnTo>
                <a:lnTo>
                  <a:pt x="64319" y="254935"/>
                </a:lnTo>
                <a:lnTo>
                  <a:pt x="52677" y="260400"/>
                </a:lnTo>
                <a:lnTo>
                  <a:pt x="41035" y="265627"/>
                </a:lnTo>
                <a:lnTo>
                  <a:pt x="29868" y="271567"/>
                </a:lnTo>
                <a:lnTo>
                  <a:pt x="18939" y="277744"/>
                </a:lnTo>
                <a:lnTo>
                  <a:pt x="7772" y="284397"/>
                </a:lnTo>
                <a:lnTo>
                  <a:pt x="0" y="289924"/>
                </a:lnTo>
                <a:lnTo>
                  <a:pt x="0" y="895572"/>
                </a:lnTo>
                <a:lnTo>
                  <a:pt x="125653" y="895572"/>
                </a:lnTo>
                <a:lnTo>
                  <a:pt x="127756" y="892155"/>
                </a:lnTo>
                <a:lnTo>
                  <a:pt x="131082" y="885502"/>
                </a:lnTo>
                <a:lnTo>
                  <a:pt x="133696" y="878374"/>
                </a:lnTo>
                <a:lnTo>
                  <a:pt x="135834" y="871722"/>
                </a:lnTo>
                <a:lnTo>
                  <a:pt x="137735" y="864594"/>
                </a:lnTo>
                <a:lnTo>
                  <a:pt x="138923" y="857466"/>
                </a:lnTo>
                <a:lnTo>
                  <a:pt x="140348" y="850339"/>
                </a:lnTo>
                <a:lnTo>
                  <a:pt x="141298" y="843211"/>
                </a:lnTo>
                <a:lnTo>
                  <a:pt x="142011" y="828955"/>
                </a:lnTo>
                <a:lnTo>
                  <a:pt x="142486" y="814225"/>
                </a:lnTo>
                <a:lnTo>
                  <a:pt x="142486" y="799494"/>
                </a:lnTo>
                <a:lnTo>
                  <a:pt x="142486" y="782625"/>
                </a:lnTo>
                <a:lnTo>
                  <a:pt x="142486" y="771458"/>
                </a:lnTo>
                <a:lnTo>
                  <a:pt x="143912" y="778586"/>
                </a:lnTo>
                <a:lnTo>
                  <a:pt x="145100" y="784526"/>
                </a:lnTo>
                <a:lnTo>
                  <a:pt x="147476" y="789753"/>
                </a:lnTo>
                <a:lnTo>
                  <a:pt x="149614" y="794267"/>
                </a:lnTo>
                <a:lnTo>
                  <a:pt x="152228" y="797831"/>
                </a:lnTo>
                <a:lnTo>
                  <a:pt x="155554" y="801395"/>
                </a:lnTo>
                <a:lnTo>
                  <a:pt x="158643" y="803533"/>
                </a:lnTo>
                <a:lnTo>
                  <a:pt x="162206" y="805909"/>
                </a:lnTo>
                <a:lnTo>
                  <a:pt x="165770" y="807572"/>
                </a:lnTo>
                <a:lnTo>
                  <a:pt x="169572" y="808523"/>
                </a:lnTo>
                <a:lnTo>
                  <a:pt x="174086" y="809473"/>
                </a:lnTo>
                <a:lnTo>
                  <a:pt x="178600" y="810186"/>
                </a:lnTo>
                <a:lnTo>
                  <a:pt x="187866" y="810661"/>
                </a:lnTo>
                <a:lnTo>
                  <a:pt x="198083" y="810661"/>
                </a:lnTo>
                <a:lnTo>
                  <a:pt x="236810" y="810661"/>
                </a:lnTo>
                <a:lnTo>
                  <a:pt x="249640" y="811136"/>
                </a:lnTo>
                <a:lnTo>
                  <a:pt x="263183" y="811611"/>
                </a:lnTo>
                <a:lnTo>
                  <a:pt x="270310" y="811611"/>
                </a:lnTo>
                <a:lnTo>
                  <a:pt x="276963" y="811136"/>
                </a:lnTo>
                <a:lnTo>
                  <a:pt x="283140" y="810186"/>
                </a:lnTo>
                <a:lnTo>
                  <a:pt x="289793" y="808523"/>
                </a:lnTo>
                <a:lnTo>
                  <a:pt x="295495" y="806147"/>
                </a:lnTo>
                <a:lnTo>
                  <a:pt x="301435" y="803058"/>
                </a:lnTo>
                <a:lnTo>
                  <a:pt x="304524" y="801395"/>
                </a:lnTo>
                <a:lnTo>
                  <a:pt x="307137" y="799256"/>
                </a:lnTo>
                <a:lnTo>
                  <a:pt x="309275" y="796881"/>
                </a:lnTo>
                <a:lnTo>
                  <a:pt x="312126" y="794267"/>
                </a:lnTo>
                <a:lnTo>
                  <a:pt x="314265" y="791178"/>
                </a:lnTo>
                <a:lnTo>
                  <a:pt x="316403" y="788090"/>
                </a:lnTo>
                <a:lnTo>
                  <a:pt x="318304" y="784051"/>
                </a:lnTo>
                <a:lnTo>
                  <a:pt x="319967" y="780012"/>
                </a:lnTo>
                <a:lnTo>
                  <a:pt x="321868" y="775973"/>
                </a:lnTo>
                <a:lnTo>
                  <a:pt x="323056" y="771221"/>
                </a:lnTo>
                <a:lnTo>
                  <a:pt x="324481" y="765756"/>
                </a:lnTo>
                <a:lnTo>
                  <a:pt x="325907" y="760529"/>
                </a:lnTo>
                <a:lnTo>
                  <a:pt x="325907" y="827530"/>
                </a:lnTo>
                <a:lnTo>
                  <a:pt x="310226" y="835608"/>
                </a:lnTo>
                <a:lnTo>
                  <a:pt x="295970" y="843686"/>
                </a:lnTo>
                <a:lnTo>
                  <a:pt x="282665" y="850339"/>
                </a:lnTo>
                <a:lnTo>
                  <a:pt x="276488" y="852952"/>
                </a:lnTo>
                <a:lnTo>
                  <a:pt x="270310" y="855565"/>
                </a:lnTo>
                <a:lnTo>
                  <a:pt x="266271" y="857942"/>
                </a:lnTo>
                <a:lnTo>
                  <a:pt x="262708" y="860080"/>
                </a:lnTo>
                <a:lnTo>
                  <a:pt x="259619" y="862693"/>
                </a:lnTo>
                <a:lnTo>
                  <a:pt x="256768" y="865544"/>
                </a:lnTo>
                <a:lnTo>
                  <a:pt x="254154" y="868633"/>
                </a:lnTo>
                <a:lnTo>
                  <a:pt x="252491" y="871722"/>
                </a:lnTo>
                <a:lnTo>
                  <a:pt x="250590" y="874810"/>
                </a:lnTo>
                <a:lnTo>
                  <a:pt x="249402" y="877899"/>
                </a:lnTo>
                <a:lnTo>
                  <a:pt x="248452" y="880988"/>
                </a:lnTo>
                <a:lnTo>
                  <a:pt x="247977" y="884076"/>
                </a:lnTo>
                <a:lnTo>
                  <a:pt x="247977" y="887165"/>
                </a:lnTo>
                <a:lnTo>
                  <a:pt x="248452" y="890016"/>
                </a:lnTo>
                <a:lnTo>
                  <a:pt x="249402" y="893105"/>
                </a:lnTo>
                <a:lnTo>
                  <a:pt x="250075" y="895572"/>
                </a:lnTo>
                <a:lnTo>
                  <a:pt x="474750" y="895572"/>
                </a:lnTo>
                <a:lnTo>
                  <a:pt x="475827" y="894768"/>
                </a:lnTo>
                <a:lnTo>
                  <a:pt x="486993" y="882889"/>
                </a:lnTo>
                <a:lnTo>
                  <a:pt x="497210" y="870296"/>
                </a:lnTo>
                <a:lnTo>
                  <a:pt x="506951" y="857942"/>
                </a:lnTo>
                <a:lnTo>
                  <a:pt x="515742" y="844636"/>
                </a:lnTo>
                <a:lnTo>
                  <a:pt x="523820" y="831094"/>
                </a:lnTo>
                <a:lnTo>
                  <a:pt x="531898" y="816838"/>
                </a:lnTo>
                <a:lnTo>
                  <a:pt x="539026" y="802583"/>
                </a:lnTo>
                <a:lnTo>
                  <a:pt x="545678" y="788565"/>
                </a:lnTo>
                <a:lnTo>
                  <a:pt x="552331" y="773359"/>
                </a:lnTo>
                <a:lnTo>
                  <a:pt x="558033" y="758628"/>
                </a:lnTo>
                <a:lnTo>
                  <a:pt x="563498" y="743185"/>
                </a:lnTo>
                <a:lnTo>
                  <a:pt x="568725" y="727979"/>
                </a:lnTo>
                <a:lnTo>
                  <a:pt x="573714" y="712298"/>
                </a:lnTo>
                <a:lnTo>
                  <a:pt x="577991" y="696855"/>
                </a:lnTo>
                <a:lnTo>
                  <a:pt x="586544" y="665255"/>
                </a:lnTo>
                <a:lnTo>
                  <a:pt x="586069" y="663117"/>
                </a:lnTo>
                <a:lnTo>
                  <a:pt x="584881" y="660266"/>
                </a:lnTo>
                <a:lnTo>
                  <a:pt x="582980" y="657177"/>
                </a:lnTo>
                <a:lnTo>
                  <a:pt x="580367" y="654088"/>
                </a:lnTo>
                <a:lnTo>
                  <a:pt x="574902" y="647911"/>
                </a:lnTo>
                <a:lnTo>
                  <a:pt x="570150" y="642922"/>
                </a:lnTo>
                <a:lnTo>
                  <a:pt x="565636" y="636744"/>
                </a:lnTo>
                <a:lnTo>
                  <a:pt x="560647" y="631517"/>
                </a:lnTo>
                <a:lnTo>
                  <a:pt x="555420" y="626053"/>
                </a:lnTo>
                <a:lnTo>
                  <a:pt x="550193" y="621301"/>
                </a:lnTo>
                <a:lnTo>
                  <a:pt x="544253" y="616787"/>
                </a:lnTo>
                <a:lnTo>
                  <a:pt x="538075" y="612272"/>
                </a:lnTo>
                <a:lnTo>
                  <a:pt x="525721" y="603719"/>
                </a:lnTo>
                <a:lnTo>
                  <a:pt x="563023" y="619875"/>
                </a:lnTo>
                <a:lnTo>
                  <a:pt x="581317" y="628191"/>
                </a:lnTo>
                <a:lnTo>
                  <a:pt x="599374" y="636744"/>
                </a:lnTo>
                <a:lnTo>
                  <a:pt x="607927" y="641259"/>
                </a:lnTo>
                <a:lnTo>
                  <a:pt x="616718" y="646010"/>
                </a:lnTo>
                <a:lnTo>
                  <a:pt x="625271" y="651000"/>
                </a:lnTo>
                <a:lnTo>
                  <a:pt x="633349" y="656227"/>
                </a:lnTo>
                <a:lnTo>
                  <a:pt x="641665" y="662167"/>
                </a:lnTo>
                <a:lnTo>
                  <a:pt x="649268" y="668344"/>
                </a:lnTo>
                <a:lnTo>
                  <a:pt x="656871" y="674996"/>
                </a:lnTo>
                <a:lnTo>
                  <a:pt x="664474" y="682124"/>
                </a:lnTo>
                <a:lnTo>
                  <a:pt x="668988" y="686163"/>
                </a:lnTo>
                <a:lnTo>
                  <a:pt x="672790" y="690202"/>
                </a:lnTo>
                <a:lnTo>
                  <a:pt x="677304" y="693291"/>
                </a:lnTo>
                <a:lnTo>
                  <a:pt x="682293" y="696855"/>
                </a:lnTo>
                <a:lnTo>
                  <a:pt x="686570" y="699468"/>
                </a:lnTo>
                <a:lnTo>
                  <a:pt x="691559" y="702082"/>
                </a:lnTo>
                <a:lnTo>
                  <a:pt x="696549" y="703983"/>
                </a:lnTo>
                <a:lnTo>
                  <a:pt x="701300" y="705646"/>
                </a:lnTo>
                <a:lnTo>
                  <a:pt x="706290" y="707071"/>
                </a:lnTo>
                <a:lnTo>
                  <a:pt x="711042" y="708497"/>
                </a:lnTo>
                <a:lnTo>
                  <a:pt x="716506" y="708734"/>
                </a:lnTo>
                <a:lnTo>
                  <a:pt x="721258" y="708734"/>
                </a:lnTo>
                <a:lnTo>
                  <a:pt x="726723" y="708497"/>
                </a:lnTo>
                <a:lnTo>
                  <a:pt x="731712" y="707546"/>
                </a:lnTo>
                <a:lnTo>
                  <a:pt x="736939" y="706121"/>
                </a:lnTo>
                <a:lnTo>
                  <a:pt x="742166" y="704458"/>
                </a:lnTo>
                <a:lnTo>
                  <a:pt x="749294" y="702082"/>
                </a:lnTo>
                <a:lnTo>
                  <a:pt x="756184" y="699468"/>
                </a:lnTo>
                <a:lnTo>
                  <a:pt x="762361" y="696380"/>
                </a:lnTo>
                <a:lnTo>
                  <a:pt x="768063" y="692816"/>
                </a:lnTo>
                <a:lnTo>
                  <a:pt x="773528" y="689252"/>
                </a:lnTo>
                <a:lnTo>
                  <a:pt x="778755" y="684738"/>
                </a:lnTo>
                <a:lnTo>
                  <a:pt x="783269" y="680461"/>
                </a:lnTo>
                <a:lnTo>
                  <a:pt x="787308" y="674996"/>
                </a:lnTo>
                <a:lnTo>
                  <a:pt x="791110" y="669769"/>
                </a:lnTo>
                <a:lnTo>
                  <a:pt x="794436" y="663830"/>
                </a:lnTo>
                <a:lnTo>
                  <a:pt x="797050" y="657652"/>
                </a:lnTo>
                <a:lnTo>
                  <a:pt x="799188" y="651000"/>
                </a:lnTo>
                <a:lnTo>
                  <a:pt x="801089" y="643872"/>
                </a:lnTo>
                <a:lnTo>
                  <a:pt x="802277" y="636744"/>
                </a:lnTo>
                <a:lnTo>
                  <a:pt x="803227" y="628666"/>
                </a:lnTo>
                <a:lnTo>
                  <a:pt x="803227" y="620826"/>
                </a:lnTo>
                <a:lnTo>
                  <a:pt x="801089" y="622489"/>
                </a:lnTo>
                <a:lnTo>
                  <a:pt x="798238" y="623914"/>
                </a:lnTo>
                <a:lnTo>
                  <a:pt x="793011" y="626053"/>
                </a:lnTo>
                <a:lnTo>
                  <a:pt x="790397" y="627478"/>
                </a:lnTo>
                <a:lnTo>
                  <a:pt x="788496" y="628191"/>
                </a:lnTo>
                <a:lnTo>
                  <a:pt x="787308" y="630092"/>
                </a:lnTo>
                <a:lnTo>
                  <a:pt x="786833" y="631755"/>
                </a:lnTo>
                <a:lnTo>
                  <a:pt x="785408" y="635794"/>
                </a:lnTo>
                <a:lnTo>
                  <a:pt x="784220" y="639833"/>
                </a:lnTo>
                <a:lnTo>
                  <a:pt x="780656" y="646485"/>
                </a:lnTo>
                <a:lnTo>
                  <a:pt x="776617" y="653138"/>
                </a:lnTo>
                <a:lnTo>
                  <a:pt x="772103" y="659078"/>
                </a:lnTo>
                <a:lnTo>
                  <a:pt x="762361" y="670007"/>
                </a:lnTo>
                <a:lnTo>
                  <a:pt x="757847" y="675947"/>
                </a:lnTo>
                <a:lnTo>
                  <a:pt x="753333" y="682124"/>
                </a:lnTo>
                <a:lnTo>
                  <a:pt x="750244" y="684738"/>
                </a:lnTo>
                <a:lnTo>
                  <a:pt x="747155" y="687589"/>
                </a:lnTo>
                <a:lnTo>
                  <a:pt x="744067" y="689252"/>
                </a:lnTo>
                <a:lnTo>
                  <a:pt x="740978" y="690915"/>
                </a:lnTo>
                <a:lnTo>
                  <a:pt x="737890" y="691865"/>
                </a:lnTo>
                <a:lnTo>
                  <a:pt x="734801" y="692816"/>
                </a:lnTo>
                <a:lnTo>
                  <a:pt x="731950" y="693291"/>
                </a:lnTo>
                <a:lnTo>
                  <a:pt x="728861" y="693291"/>
                </a:lnTo>
                <a:lnTo>
                  <a:pt x="723634" y="692816"/>
                </a:lnTo>
                <a:lnTo>
                  <a:pt x="718169" y="691390"/>
                </a:lnTo>
                <a:lnTo>
                  <a:pt x="713418" y="689727"/>
                </a:lnTo>
                <a:lnTo>
                  <a:pt x="708903" y="687826"/>
                </a:lnTo>
                <a:lnTo>
                  <a:pt x="706765" y="687589"/>
                </a:lnTo>
                <a:lnTo>
                  <a:pt x="704864" y="687114"/>
                </a:lnTo>
                <a:lnTo>
                  <a:pt x="703201" y="686163"/>
                </a:lnTo>
                <a:lnTo>
                  <a:pt x="701776" y="684738"/>
                </a:lnTo>
                <a:lnTo>
                  <a:pt x="698687" y="681649"/>
                </a:lnTo>
                <a:lnTo>
                  <a:pt x="696549" y="678085"/>
                </a:lnTo>
                <a:lnTo>
                  <a:pt x="694648" y="673571"/>
                </a:lnTo>
                <a:lnTo>
                  <a:pt x="693460" y="668819"/>
                </a:lnTo>
                <a:lnTo>
                  <a:pt x="692510" y="664305"/>
                </a:lnTo>
                <a:lnTo>
                  <a:pt x="692510" y="659790"/>
                </a:lnTo>
                <a:lnTo>
                  <a:pt x="692510" y="647436"/>
                </a:lnTo>
                <a:lnTo>
                  <a:pt x="693460" y="635319"/>
                </a:lnTo>
                <a:lnTo>
                  <a:pt x="694173" y="624389"/>
                </a:lnTo>
                <a:lnTo>
                  <a:pt x="695598" y="612748"/>
                </a:lnTo>
                <a:lnTo>
                  <a:pt x="699162" y="591364"/>
                </a:lnTo>
                <a:lnTo>
                  <a:pt x="703676" y="570456"/>
                </a:lnTo>
                <a:lnTo>
                  <a:pt x="720070" y="574971"/>
                </a:lnTo>
                <a:lnTo>
                  <a:pt x="736939" y="579247"/>
                </a:lnTo>
                <a:lnTo>
                  <a:pt x="770677" y="589226"/>
                </a:lnTo>
                <a:lnTo>
                  <a:pt x="788021" y="593503"/>
                </a:lnTo>
                <a:lnTo>
                  <a:pt x="805365" y="597542"/>
                </a:lnTo>
                <a:lnTo>
                  <a:pt x="823660" y="601106"/>
                </a:lnTo>
                <a:lnTo>
                  <a:pt x="841954" y="603719"/>
                </a:lnTo>
                <a:lnTo>
                  <a:pt x="861437" y="606570"/>
                </a:lnTo>
                <a:lnTo>
                  <a:pt x="880682" y="608233"/>
                </a:lnTo>
                <a:lnTo>
                  <a:pt x="889948" y="608708"/>
                </a:lnTo>
                <a:lnTo>
                  <a:pt x="898976" y="608708"/>
                </a:lnTo>
                <a:lnTo>
                  <a:pt x="908242" y="608708"/>
                </a:lnTo>
                <a:lnTo>
                  <a:pt x="916795" y="608233"/>
                </a:lnTo>
                <a:lnTo>
                  <a:pt x="925586" y="607283"/>
                </a:lnTo>
                <a:lnTo>
                  <a:pt x="934140" y="606095"/>
                </a:lnTo>
                <a:lnTo>
                  <a:pt x="942455" y="604669"/>
                </a:lnTo>
                <a:lnTo>
                  <a:pt x="950533" y="603006"/>
                </a:lnTo>
                <a:lnTo>
                  <a:pt x="958611" y="600630"/>
                </a:lnTo>
                <a:lnTo>
                  <a:pt x="966452" y="598017"/>
                </a:lnTo>
                <a:lnTo>
                  <a:pt x="974055" y="595403"/>
                </a:lnTo>
                <a:lnTo>
                  <a:pt x="981658" y="591840"/>
                </a:lnTo>
                <a:lnTo>
                  <a:pt x="989261" y="588276"/>
                </a:lnTo>
                <a:lnTo>
                  <a:pt x="996388" y="584237"/>
                </a:lnTo>
                <a:lnTo>
                  <a:pt x="1003041" y="579247"/>
                </a:lnTo>
                <a:lnTo>
                  <a:pt x="1009694" y="574495"/>
                </a:lnTo>
                <a:lnTo>
                  <a:pt x="1016346" y="569031"/>
                </a:lnTo>
                <a:lnTo>
                  <a:pt x="1022998" y="562853"/>
                </a:lnTo>
                <a:lnTo>
                  <a:pt x="1029176" y="556676"/>
                </a:lnTo>
                <a:lnTo>
                  <a:pt x="1035116" y="549548"/>
                </a:lnTo>
                <a:lnTo>
                  <a:pt x="1040818" y="541945"/>
                </a:lnTo>
                <a:lnTo>
                  <a:pt x="1046520" y="534342"/>
                </a:lnTo>
                <a:lnTo>
                  <a:pt x="1051985" y="526027"/>
                </a:lnTo>
                <a:lnTo>
                  <a:pt x="1056737" y="516523"/>
                </a:lnTo>
                <a:lnTo>
                  <a:pt x="1061726" y="507257"/>
                </a:lnTo>
                <a:lnTo>
                  <a:pt x="1066715" y="497041"/>
                </a:lnTo>
                <a:lnTo>
                  <a:pt x="1070992" y="486349"/>
                </a:lnTo>
                <a:lnTo>
                  <a:pt x="1075506" y="475182"/>
                </a:lnTo>
                <a:lnTo>
                  <a:pt x="1079070" y="462828"/>
                </a:lnTo>
                <a:lnTo>
                  <a:pt x="1082634" y="449998"/>
                </a:lnTo>
                <a:lnTo>
                  <a:pt x="1084772" y="437405"/>
                </a:lnTo>
                <a:lnTo>
                  <a:pt x="1087148" y="425050"/>
                </a:lnTo>
                <a:lnTo>
                  <a:pt x="1088811" y="411983"/>
                </a:lnTo>
                <a:lnTo>
                  <a:pt x="1089762" y="399628"/>
                </a:lnTo>
                <a:lnTo>
                  <a:pt x="1090712" y="386798"/>
                </a:lnTo>
                <a:lnTo>
                  <a:pt x="1090712" y="373731"/>
                </a:lnTo>
                <a:lnTo>
                  <a:pt x="1090712" y="360901"/>
                </a:lnTo>
                <a:lnTo>
                  <a:pt x="1089762" y="348071"/>
                </a:lnTo>
                <a:lnTo>
                  <a:pt x="1088811" y="335004"/>
                </a:lnTo>
                <a:lnTo>
                  <a:pt x="1088099" y="321698"/>
                </a:lnTo>
                <a:lnTo>
                  <a:pt x="1084772" y="295563"/>
                </a:lnTo>
                <a:lnTo>
                  <a:pt x="1080971" y="268478"/>
                </a:lnTo>
                <a:lnTo>
                  <a:pt x="1078595" y="258262"/>
                </a:lnTo>
                <a:lnTo>
                  <a:pt x="1075981" y="248283"/>
                </a:lnTo>
                <a:lnTo>
                  <a:pt x="1072417" y="238542"/>
                </a:lnTo>
                <a:lnTo>
                  <a:pt x="1069329" y="229275"/>
                </a:lnTo>
                <a:lnTo>
                  <a:pt x="1061251" y="210031"/>
                </a:lnTo>
                <a:lnTo>
                  <a:pt x="1053173" y="190073"/>
                </a:lnTo>
                <a:lnTo>
                  <a:pt x="1051034" y="186034"/>
                </a:lnTo>
                <a:lnTo>
                  <a:pt x="1048896" y="182470"/>
                </a:lnTo>
                <a:lnTo>
                  <a:pt x="1046045" y="179381"/>
                </a:lnTo>
                <a:lnTo>
                  <a:pt x="1043906" y="176768"/>
                </a:lnTo>
                <a:lnTo>
                  <a:pt x="1041293" y="174630"/>
                </a:lnTo>
                <a:lnTo>
                  <a:pt x="1038680" y="172729"/>
                </a:lnTo>
                <a:lnTo>
                  <a:pt x="1035828" y="171303"/>
                </a:lnTo>
                <a:lnTo>
                  <a:pt x="1032740" y="170591"/>
                </a:lnTo>
                <a:lnTo>
                  <a:pt x="1030126" y="170591"/>
                </a:lnTo>
                <a:lnTo>
                  <a:pt x="1027038" y="170591"/>
                </a:lnTo>
                <a:lnTo>
                  <a:pt x="1024424" y="171303"/>
                </a:lnTo>
                <a:lnTo>
                  <a:pt x="1021335" y="172729"/>
                </a:lnTo>
                <a:lnTo>
                  <a:pt x="1018247" y="174867"/>
                </a:lnTo>
                <a:lnTo>
                  <a:pt x="1014920" y="177718"/>
                </a:lnTo>
                <a:lnTo>
                  <a:pt x="1011832" y="180807"/>
                </a:lnTo>
                <a:lnTo>
                  <a:pt x="1008743" y="184846"/>
                </a:lnTo>
                <a:lnTo>
                  <a:pt x="991874" y="201240"/>
                </a:lnTo>
                <a:lnTo>
                  <a:pt x="983321" y="209318"/>
                </a:lnTo>
                <a:lnTo>
                  <a:pt x="974530" y="216683"/>
                </a:lnTo>
                <a:lnTo>
                  <a:pt x="965739" y="223811"/>
                </a:lnTo>
                <a:lnTo>
                  <a:pt x="956236" y="230226"/>
                </a:lnTo>
                <a:lnTo>
                  <a:pt x="946494" y="235928"/>
                </a:lnTo>
                <a:lnTo>
                  <a:pt x="941505" y="238066"/>
                </a:lnTo>
                <a:lnTo>
                  <a:pt x="936753" y="240442"/>
                </a:lnTo>
                <a:lnTo>
                  <a:pt x="932239" y="242581"/>
                </a:lnTo>
                <a:lnTo>
                  <a:pt x="928675" y="245669"/>
                </a:lnTo>
                <a:lnTo>
                  <a:pt x="925111" y="249233"/>
                </a:lnTo>
                <a:lnTo>
                  <a:pt x="922022" y="252797"/>
                </a:lnTo>
                <a:lnTo>
                  <a:pt x="919884" y="257311"/>
                </a:lnTo>
                <a:lnTo>
                  <a:pt x="918934" y="259925"/>
                </a:lnTo>
                <a:lnTo>
                  <a:pt x="918459" y="262538"/>
                </a:lnTo>
                <a:lnTo>
                  <a:pt x="918459" y="265389"/>
                </a:lnTo>
                <a:lnTo>
                  <a:pt x="918459" y="268003"/>
                </a:lnTo>
                <a:lnTo>
                  <a:pt x="918934" y="271091"/>
                </a:lnTo>
                <a:lnTo>
                  <a:pt x="919884" y="274180"/>
                </a:lnTo>
                <a:lnTo>
                  <a:pt x="921547" y="282258"/>
                </a:lnTo>
                <a:lnTo>
                  <a:pt x="922973" y="290574"/>
                </a:lnTo>
                <a:lnTo>
                  <a:pt x="923923" y="299127"/>
                </a:lnTo>
                <a:lnTo>
                  <a:pt x="924161" y="307443"/>
                </a:lnTo>
                <a:lnTo>
                  <a:pt x="924161" y="315996"/>
                </a:lnTo>
                <a:lnTo>
                  <a:pt x="923923" y="324550"/>
                </a:lnTo>
                <a:lnTo>
                  <a:pt x="922973" y="332865"/>
                </a:lnTo>
                <a:lnTo>
                  <a:pt x="922022" y="340943"/>
                </a:lnTo>
                <a:lnTo>
                  <a:pt x="920597" y="349259"/>
                </a:lnTo>
                <a:lnTo>
                  <a:pt x="918934" y="357812"/>
                </a:lnTo>
                <a:lnTo>
                  <a:pt x="914420" y="374681"/>
                </a:lnTo>
                <a:lnTo>
                  <a:pt x="909192" y="391075"/>
                </a:lnTo>
                <a:lnTo>
                  <a:pt x="903253" y="408182"/>
                </a:lnTo>
                <a:lnTo>
                  <a:pt x="903253" y="397965"/>
                </a:lnTo>
                <a:lnTo>
                  <a:pt x="904203" y="387274"/>
                </a:lnTo>
                <a:lnTo>
                  <a:pt x="906104" y="367078"/>
                </a:lnTo>
                <a:lnTo>
                  <a:pt x="907767" y="347596"/>
                </a:lnTo>
                <a:lnTo>
                  <a:pt x="908717" y="338567"/>
                </a:lnTo>
                <a:lnTo>
                  <a:pt x="908717" y="329777"/>
                </a:lnTo>
                <a:lnTo>
                  <a:pt x="908717" y="325738"/>
                </a:lnTo>
                <a:lnTo>
                  <a:pt x="907767" y="322649"/>
                </a:lnTo>
                <a:lnTo>
                  <a:pt x="906817" y="319560"/>
                </a:lnTo>
                <a:lnTo>
                  <a:pt x="905154" y="316471"/>
                </a:lnTo>
                <a:lnTo>
                  <a:pt x="903728" y="314096"/>
                </a:lnTo>
                <a:lnTo>
                  <a:pt x="901590" y="311957"/>
                </a:lnTo>
                <a:lnTo>
                  <a:pt x="897551" y="307443"/>
                </a:lnTo>
                <a:lnTo>
                  <a:pt x="895412" y="309344"/>
                </a:lnTo>
                <a:lnTo>
                  <a:pt x="892561" y="310769"/>
                </a:lnTo>
                <a:lnTo>
                  <a:pt x="887334" y="313383"/>
                </a:lnTo>
                <a:lnTo>
                  <a:pt x="884721" y="314096"/>
                </a:lnTo>
                <a:lnTo>
                  <a:pt x="882820" y="315521"/>
                </a:lnTo>
                <a:lnTo>
                  <a:pt x="881632" y="316947"/>
                </a:lnTo>
                <a:lnTo>
                  <a:pt x="881157" y="318610"/>
                </a:lnTo>
                <a:lnTo>
                  <a:pt x="872604" y="331915"/>
                </a:lnTo>
                <a:lnTo>
                  <a:pt x="864288" y="346646"/>
                </a:lnTo>
                <a:lnTo>
                  <a:pt x="856210" y="361376"/>
                </a:lnTo>
                <a:lnTo>
                  <a:pt x="847656" y="374681"/>
                </a:lnTo>
                <a:lnTo>
                  <a:pt x="841954" y="374681"/>
                </a:lnTo>
                <a:lnTo>
                  <a:pt x="846468" y="357812"/>
                </a:lnTo>
                <a:lnTo>
                  <a:pt x="850508" y="339518"/>
                </a:lnTo>
                <a:lnTo>
                  <a:pt x="854784" y="319560"/>
                </a:lnTo>
                <a:lnTo>
                  <a:pt x="858823" y="296514"/>
                </a:lnTo>
                <a:lnTo>
                  <a:pt x="848132" y="303879"/>
                </a:lnTo>
                <a:lnTo>
                  <a:pt x="840054" y="310294"/>
                </a:lnTo>
                <a:lnTo>
                  <a:pt x="833163" y="316947"/>
                </a:lnTo>
                <a:lnTo>
                  <a:pt x="825560" y="324550"/>
                </a:lnTo>
                <a:lnTo>
                  <a:pt x="823185" y="326688"/>
                </a:lnTo>
                <a:lnTo>
                  <a:pt x="821522" y="329301"/>
                </a:lnTo>
                <a:lnTo>
                  <a:pt x="817007" y="335954"/>
                </a:lnTo>
                <a:lnTo>
                  <a:pt x="812968" y="344032"/>
                </a:lnTo>
                <a:lnTo>
                  <a:pt x="808929" y="352585"/>
                </a:lnTo>
                <a:lnTo>
                  <a:pt x="809880" y="343557"/>
                </a:lnTo>
                <a:lnTo>
                  <a:pt x="811305" y="335479"/>
                </a:lnTo>
                <a:lnTo>
                  <a:pt x="812493" y="328826"/>
                </a:lnTo>
                <a:lnTo>
                  <a:pt x="814394" y="323124"/>
                </a:lnTo>
                <a:lnTo>
                  <a:pt x="816532" y="317659"/>
                </a:lnTo>
                <a:lnTo>
                  <a:pt x="819146" y="313383"/>
                </a:lnTo>
                <a:lnTo>
                  <a:pt x="822709" y="309344"/>
                </a:lnTo>
                <a:lnTo>
                  <a:pt x="826748" y="306255"/>
                </a:lnTo>
                <a:lnTo>
                  <a:pt x="832213" y="303166"/>
                </a:lnTo>
                <a:lnTo>
                  <a:pt x="838390" y="300315"/>
                </a:lnTo>
                <a:lnTo>
                  <a:pt x="845518" y="298177"/>
                </a:lnTo>
                <a:lnTo>
                  <a:pt x="854071" y="295563"/>
                </a:lnTo>
                <a:lnTo>
                  <a:pt x="875217" y="290574"/>
                </a:lnTo>
                <a:lnTo>
                  <a:pt x="903253" y="285347"/>
                </a:lnTo>
                <a:lnTo>
                  <a:pt x="886384" y="268478"/>
                </a:lnTo>
                <a:lnTo>
                  <a:pt x="879731" y="270141"/>
                </a:lnTo>
                <a:lnTo>
                  <a:pt x="873079" y="271091"/>
                </a:lnTo>
                <a:lnTo>
                  <a:pt x="867376" y="271567"/>
                </a:lnTo>
                <a:lnTo>
                  <a:pt x="862387" y="271091"/>
                </a:lnTo>
                <a:lnTo>
                  <a:pt x="857398" y="269666"/>
                </a:lnTo>
                <a:lnTo>
                  <a:pt x="853596" y="268003"/>
                </a:lnTo>
                <a:lnTo>
                  <a:pt x="849557" y="265627"/>
                </a:lnTo>
                <a:lnTo>
                  <a:pt x="846468" y="262538"/>
                </a:lnTo>
                <a:lnTo>
                  <a:pt x="843380" y="259450"/>
                </a:lnTo>
                <a:lnTo>
                  <a:pt x="840529" y="255411"/>
                </a:lnTo>
                <a:lnTo>
                  <a:pt x="838390" y="251134"/>
                </a:lnTo>
                <a:lnTo>
                  <a:pt x="836490" y="246620"/>
                </a:lnTo>
                <a:lnTo>
                  <a:pt x="834827" y="241155"/>
                </a:lnTo>
                <a:lnTo>
                  <a:pt x="833401" y="235453"/>
                </a:lnTo>
                <a:lnTo>
                  <a:pt x="831263" y="223336"/>
                </a:lnTo>
                <a:lnTo>
                  <a:pt x="897551" y="206942"/>
                </a:lnTo>
                <a:lnTo>
                  <a:pt x="888997" y="194112"/>
                </a:lnTo>
                <a:lnTo>
                  <a:pt x="880682" y="181282"/>
                </a:lnTo>
                <a:lnTo>
                  <a:pt x="871416" y="168690"/>
                </a:lnTo>
                <a:lnTo>
                  <a:pt x="866901" y="162988"/>
                </a:lnTo>
                <a:lnTo>
                  <a:pt x="861437" y="157048"/>
                </a:lnTo>
                <a:lnTo>
                  <a:pt x="856210" y="151821"/>
                </a:lnTo>
                <a:lnTo>
                  <a:pt x="850745" y="146831"/>
                </a:lnTo>
                <a:lnTo>
                  <a:pt x="844568" y="142555"/>
                </a:lnTo>
                <a:lnTo>
                  <a:pt x="838390" y="138516"/>
                </a:lnTo>
                <a:lnTo>
                  <a:pt x="831738" y="134952"/>
                </a:lnTo>
                <a:lnTo>
                  <a:pt x="824610" y="132338"/>
                </a:lnTo>
                <a:lnTo>
                  <a:pt x="817007" y="129963"/>
                </a:lnTo>
                <a:lnTo>
                  <a:pt x="808929" y="128774"/>
                </a:lnTo>
                <a:lnTo>
                  <a:pt x="806791" y="128299"/>
                </a:lnTo>
                <a:lnTo>
                  <a:pt x="804652" y="127824"/>
                </a:lnTo>
                <a:lnTo>
                  <a:pt x="802752" y="126399"/>
                </a:lnTo>
                <a:lnTo>
                  <a:pt x="801089" y="125211"/>
                </a:lnTo>
                <a:lnTo>
                  <a:pt x="799663" y="123310"/>
                </a:lnTo>
                <a:lnTo>
                  <a:pt x="798713" y="121647"/>
                </a:lnTo>
                <a:lnTo>
                  <a:pt x="798000" y="119271"/>
                </a:lnTo>
                <a:lnTo>
                  <a:pt x="798000" y="117608"/>
                </a:lnTo>
                <a:lnTo>
                  <a:pt x="785408" y="106916"/>
                </a:lnTo>
                <a:lnTo>
                  <a:pt x="772578" y="95749"/>
                </a:lnTo>
                <a:lnTo>
                  <a:pt x="747155" y="72703"/>
                </a:lnTo>
                <a:lnTo>
                  <a:pt x="733850" y="61061"/>
                </a:lnTo>
                <a:lnTo>
                  <a:pt x="720545" y="49894"/>
                </a:lnTo>
                <a:lnTo>
                  <a:pt x="706765" y="38728"/>
                </a:lnTo>
                <a:lnTo>
                  <a:pt x="692510" y="28036"/>
                </a:lnTo>
                <a:lnTo>
                  <a:pt x="679442" y="21859"/>
                </a:lnTo>
                <a:lnTo>
                  <a:pt x="666137" y="16632"/>
                </a:lnTo>
                <a:lnTo>
                  <a:pt x="652832" y="11642"/>
                </a:lnTo>
                <a:lnTo>
                  <a:pt x="639527" y="7603"/>
                </a:lnTo>
                <a:lnTo>
                  <a:pt x="626222" y="4514"/>
                </a:lnTo>
                <a:lnTo>
                  <a:pt x="612917" y="1901"/>
                </a:lnTo>
                <a:lnTo>
                  <a:pt x="599374" y="475"/>
                </a:lnTo>
                <a:close/>
              </a:path>
            </a:pathLst>
          </a:custGeom>
          <a:solidFill>
            <a:schemeClr val="bg1">
              <a:alpha val="25000"/>
            </a:schemeClr>
          </a:solidFill>
          <a:ln>
            <a:noFill/>
          </a:ln>
        </p:spPr>
        <p:txBody>
          <a:bodyPr vert="horz" wrap="square" lIns="89642" tIns="44821" rIns="89642" bIns="44821" numCol="1" anchor="t" anchorCtr="0" compatLnSpc="1">
            <a:prstTxWarp prst="textNoShape">
              <a:avLst/>
            </a:prstTxWarp>
            <a:noAutofit/>
          </a:bodyPr>
          <a:lstStyle/>
          <a:p>
            <a:pPr defTabSz="914367"/>
            <a:endParaRPr lang="en-IN" sz="1765" dirty="0">
              <a:solidFill>
                <a:srgbClr val="000000"/>
              </a:solidFill>
            </a:endParaRPr>
          </a:p>
        </p:txBody>
      </p:sp>
      <p:sp>
        <p:nvSpPr>
          <p:cNvPr id="7" name="Rectangle 6"/>
          <p:cNvSpPr/>
          <p:nvPr/>
        </p:nvSpPr>
        <p:spPr>
          <a:xfrm>
            <a:off x="8929" y="1213304"/>
            <a:ext cx="5220355" cy="2291974"/>
          </a:xfrm>
          <a:prstGeom prst="rect">
            <a:avLst/>
          </a:prstGeom>
        </p:spPr>
        <p:txBody>
          <a:bodyPr wrap="square" lIns="268927">
            <a:spAutoFit/>
          </a:bodyPr>
          <a:lstStyle/>
          <a:p>
            <a:pPr defTabSz="914102" fontAlgn="base">
              <a:lnSpc>
                <a:spcPct val="90000"/>
              </a:lnSpc>
              <a:spcBef>
                <a:spcPct val="0"/>
              </a:spcBef>
              <a:spcAft>
                <a:spcPct val="0"/>
              </a:spcAft>
            </a:pPr>
            <a:r>
              <a:rPr lang="en-US" sz="5294" dirty="0" smtClean="0">
                <a:solidFill>
                  <a:srgbClr val="FFFFFF"/>
                </a:solidFill>
                <a:latin typeface="Segoe UI Light"/>
                <a:ea typeface="Segoe UI" pitchFamily="34" charset="0"/>
                <a:cs typeface="Segoe UI" pitchFamily="34" charset="0"/>
              </a:rPr>
              <a:t>Machine Learning with Spark MLlib</a:t>
            </a:r>
            <a:endParaRPr lang="en-US" sz="5294" dirty="0">
              <a:solidFill>
                <a:srgbClr val="FFFFFF"/>
              </a:solidFill>
              <a:latin typeface="Segoe UI Light"/>
              <a:ea typeface="Segoe UI" pitchFamily="34" charset="0"/>
              <a:cs typeface="Segoe UI" pitchFamily="34" charset="0"/>
            </a:endParaRPr>
          </a:p>
        </p:txBody>
      </p:sp>
      <p:sp>
        <p:nvSpPr>
          <p:cNvPr id="2" name="Slide Number Placeholder 1"/>
          <p:cNvSpPr>
            <a:spLocks noGrp="1"/>
          </p:cNvSpPr>
          <p:nvPr>
            <p:ph type="sldNum" sz="quarter" idx="11"/>
          </p:nvPr>
        </p:nvSpPr>
        <p:spPr/>
        <p:txBody>
          <a:bodyPr/>
          <a:lstStyle/>
          <a:p>
            <a:pPr>
              <a:defRPr/>
            </a:pPr>
            <a:fld id="{F8A0AC42-AA1D-4944-8D96-660DE70C7E1B}" type="slidenum">
              <a:rPr lang="en-IN"/>
              <a:pPr>
                <a:defRPr/>
              </a:pPr>
              <a:t>49</a:t>
            </a:fld>
            <a:endParaRPr lang="en-IN" dirty="0"/>
          </a:p>
        </p:txBody>
      </p:sp>
      <p:sp>
        <p:nvSpPr>
          <p:cNvPr id="8" name="TextBox 7"/>
          <p:cNvSpPr txBox="1"/>
          <p:nvPr/>
        </p:nvSpPr>
        <p:spPr>
          <a:xfrm>
            <a:off x="5220356" y="2234114"/>
            <a:ext cx="6553002" cy="1852405"/>
          </a:xfrm>
          <a:prstGeom prst="rect">
            <a:avLst/>
          </a:prstGeom>
          <a:noFill/>
        </p:spPr>
        <p:txBody>
          <a:bodyPr wrap="square" lIns="268927" tIns="143428" rIns="179285" bIns="143428" rtlCol="0">
            <a:noAutofit/>
          </a:bodyPr>
          <a:lstStyle/>
          <a:p>
            <a:pPr marL="52912" lvl="1" defTabSz="913770" fontAlgn="base">
              <a:spcBef>
                <a:spcPts val="1176"/>
              </a:spcBef>
              <a:buClr>
                <a:srgbClr val="68217A">
                  <a:lumMod val="50000"/>
                </a:srgbClr>
              </a:buClr>
            </a:pPr>
            <a:r>
              <a:rPr lang="en-US" sz="3137" dirty="0" smtClean="0">
                <a:ln>
                  <a:solidFill>
                    <a:srgbClr val="FFFFFF">
                      <a:alpha val="0"/>
                    </a:srgbClr>
                  </a:solidFill>
                </a:ln>
                <a:solidFill>
                  <a:srgbClr val="68217A"/>
                </a:solidFill>
                <a:latin typeface="Segoe UI Light"/>
                <a:ea typeface="Segoe UI" pitchFamily="34" charset="0"/>
                <a:cs typeface="Segoe UI" pitchFamily="34" charset="0"/>
              </a:rPr>
              <a:t>Agenda</a:t>
            </a:r>
            <a:endParaRPr lang="en-US" sz="3137" dirty="0">
              <a:ln>
                <a:solidFill>
                  <a:srgbClr val="FFFFFF">
                    <a:alpha val="0"/>
                  </a:srgbClr>
                </a:solidFill>
              </a:ln>
              <a:solidFill>
                <a:srgbClr val="68217A"/>
              </a:solidFill>
              <a:latin typeface="Segoe UI Light"/>
              <a:ea typeface="Segoe UI" pitchFamily="34" charset="0"/>
              <a:cs typeface="Segoe UI" pitchFamily="34" charset="0"/>
            </a:endParaRPr>
          </a:p>
          <a:p>
            <a:pPr marL="558686" lvl="1" indent="-448193" defTabSz="913770" fontAlgn="base">
              <a:buClr>
                <a:srgbClr val="68217A">
                  <a:lumMod val="50000"/>
                </a:srgbClr>
              </a:buClr>
              <a:buBlip>
                <a:blip r:embed="rId2"/>
              </a:buBlip>
            </a:pPr>
            <a:r>
              <a:rPr lang="en-US" sz="2353" dirty="0" smtClean="0">
                <a:ln>
                  <a:solidFill>
                    <a:srgbClr val="FFFFFF">
                      <a:alpha val="0"/>
                    </a:srgbClr>
                  </a:solidFill>
                </a:ln>
                <a:gradFill>
                  <a:gsLst>
                    <a:gs pos="85321">
                      <a:srgbClr val="505050"/>
                    </a:gs>
                    <a:gs pos="57000">
                      <a:srgbClr val="505050"/>
                    </a:gs>
                  </a:gsLst>
                </a:gradFill>
                <a:ea typeface="Segoe UI" pitchFamily="34" charset="0"/>
                <a:cs typeface="Segoe UI" pitchFamily="34" charset="0"/>
              </a:rPr>
              <a:t>Overview</a:t>
            </a:r>
          </a:p>
          <a:p>
            <a:pPr marL="558686" lvl="1" indent="-448193" defTabSz="913770" fontAlgn="base">
              <a:buClr>
                <a:srgbClr val="68217A">
                  <a:lumMod val="50000"/>
                </a:srgbClr>
              </a:buClr>
              <a:buBlip>
                <a:blip r:embed="rId2"/>
              </a:buBlip>
            </a:pPr>
            <a:r>
              <a:rPr lang="en-US" sz="2353" dirty="0" smtClean="0">
                <a:ln>
                  <a:solidFill>
                    <a:srgbClr val="FFFFFF">
                      <a:alpha val="0"/>
                    </a:srgbClr>
                  </a:solidFill>
                </a:ln>
                <a:gradFill>
                  <a:gsLst>
                    <a:gs pos="85321">
                      <a:srgbClr val="505050"/>
                    </a:gs>
                    <a:gs pos="57000">
                      <a:srgbClr val="505050"/>
                    </a:gs>
                  </a:gsLst>
                </a:gradFill>
                <a:ea typeface="Segoe UI" pitchFamily="34" charset="0"/>
                <a:cs typeface="Segoe UI" pitchFamily="34" charset="0"/>
              </a:rPr>
              <a:t>Movie Recommendation Model</a:t>
            </a:r>
          </a:p>
        </p:txBody>
      </p:sp>
    </p:spTree>
    <p:extLst>
      <p:ext uri="{BB962C8B-B14F-4D97-AF65-F5344CB8AC3E}">
        <p14:creationId xmlns:p14="http://schemas.microsoft.com/office/powerpoint/2010/main" val="2782751162"/>
      </p:ext>
    </p:extLst>
  </p:cSld>
  <p:clrMapOvr>
    <a:masterClrMapping/>
  </p:clrMapOvr>
  <p:transition spd="med">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park - Benefits</a:t>
            </a:r>
            <a:endParaRPr lang="en-US" dirty="0"/>
          </a:p>
        </p:txBody>
      </p:sp>
      <p:sp>
        <p:nvSpPr>
          <p:cNvPr id="3" name="Slide Number Placeholder 2"/>
          <p:cNvSpPr>
            <a:spLocks noGrp="1"/>
          </p:cNvSpPr>
          <p:nvPr>
            <p:ph type="sldNum" sz="quarter" idx="11"/>
          </p:nvPr>
        </p:nvSpPr>
        <p:spPr/>
        <p:txBody>
          <a:bodyPr/>
          <a:lstStyle/>
          <a:p>
            <a:pPr>
              <a:defRPr/>
            </a:pPr>
            <a:fld id="{F8A0AC42-AA1D-4944-8D96-660DE70C7E1B}" type="slidenum">
              <a:rPr lang="en-US" smtClean="0"/>
              <a:pPr>
                <a:defRPr/>
              </a:pPr>
              <a:t>5</a:t>
            </a:fld>
            <a:endParaRPr lang="en-US" dirty="0"/>
          </a:p>
        </p:txBody>
      </p:sp>
      <p:sp>
        <p:nvSpPr>
          <p:cNvPr id="5" name="Rectangle 4"/>
          <p:cNvSpPr/>
          <p:nvPr/>
        </p:nvSpPr>
        <p:spPr bwMode="auto">
          <a:xfrm>
            <a:off x="1555845" y="1309824"/>
            <a:ext cx="4367283" cy="251039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1714" tIns="26893" rIns="71714" bIns="26893"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IN" sz="2000" dirty="0" smtClean="0">
                <a:solidFill>
                  <a:srgbClr val="FFFFFF"/>
                </a:solidFill>
                <a:ea typeface="Segoe UI" pitchFamily="34" charset="0"/>
                <a:cs typeface="Segoe UI" pitchFamily="34" charset="0"/>
              </a:rPr>
              <a:t>Performance</a:t>
            </a:r>
          </a:p>
          <a:p>
            <a:pPr algn="ctr" defTabSz="914102" fontAlgn="base">
              <a:lnSpc>
                <a:spcPct val="90000"/>
              </a:lnSpc>
              <a:spcBef>
                <a:spcPct val="0"/>
              </a:spcBef>
              <a:spcAft>
                <a:spcPct val="0"/>
              </a:spcAft>
            </a:pPr>
            <a:endParaRPr lang="en-IN" sz="1568" dirty="0" smtClean="0">
              <a:solidFill>
                <a:srgbClr val="FFFFFF"/>
              </a:solidFill>
              <a:ea typeface="Segoe UI" pitchFamily="34" charset="0"/>
              <a:cs typeface="Segoe UI" pitchFamily="34" charset="0"/>
            </a:endParaRPr>
          </a:p>
          <a:p>
            <a:pPr defTabSz="914102" fontAlgn="base">
              <a:lnSpc>
                <a:spcPct val="90000"/>
              </a:lnSpc>
              <a:spcBef>
                <a:spcPct val="0"/>
              </a:spcBef>
              <a:spcAft>
                <a:spcPct val="0"/>
              </a:spcAft>
            </a:pPr>
            <a:r>
              <a:rPr lang="en-IN" dirty="0" smtClean="0">
                <a:solidFill>
                  <a:srgbClr val="FFFFFF"/>
                </a:solidFill>
                <a:ea typeface="Segoe UI" pitchFamily="34" charset="0"/>
                <a:cs typeface="Segoe UI" pitchFamily="34" charset="0"/>
              </a:rPr>
              <a:t>Using in-memory computing, Spark is considerably faster than Hadoop (100x in some tests). </a:t>
            </a:r>
          </a:p>
          <a:p>
            <a:pPr defTabSz="914102" fontAlgn="base">
              <a:lnSpc>
                <a:spcPct val="90000"/>
              </a:lnSpc>
              <a:spcBef>
                <a:spcPct val="0"/>
              </a:spcBef>
              <a:spcAft>
                <a:spcPct val="0"/>
              </a:spcAft>
            </a:pPr>
            <a:r>
              <a:rPr lang="en-IN" dirty="0" smtClean="0">
                <a:solidFill>
                  <a:srgbClr val="FFFFFF"/>
                </a:solidFill>
                <a:ea typeface="Segoe UI" pitchFamily="34" charset="0"/>
                <a:cs typeface="Segoe UI" pitchFamily="34" charset="0"/>
              </a:rPr>
              <a:t>Can be used for batch and real-time data processing.  </a:t>
            </a:r>
            <a:endParaRPr lang="en-IN" dirty="0">
              <a:solidFill>
                <a:srgbClr val="FFFFFF"/>
              </a:solidFill>
              <a:ea typeface="Segoe UI" pitchFamily="34" charset="0"/>
              <a:cs typeface="Segoe UI" pitchFamily="34" charset="0"/>
            </a:endParaRPr>
          </a:p>
        </p:txBody>
      </p:sp>
      <p:sp>
        <p:nvSpPr>
          <p:cNvPr id="6" name="Rectangle 5"/>
          <p:cNvSpPr/>
          <p:nvPr/>
        </p:nvSpPr>
        <p:spPr bwMode="auto">
          <a:xfrm>
            <a:off x="5923128" y="1309824"/>
            <a:ext cx="4148920" cy="251039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1714" tIns="26893" rIns="71714" bIns="26893"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IN" sz="2000" dirty="0" smtClean="0">
                <a:solidFill>
                  <a:srgbClr val="FFFFFF"/>
                </a:solidFill>
                <a:ea typeface="Segoe UI" pitchFamily="34" charset="0"/>
                <a:cs typeface="Segoe UI" pitchFamily="34" charset="0"/>
              </a:rPr>
              <a:t>Developer Productivity</a:t>
            </a:r>
          </a:p>
          <a:p>
            <a:pPr algn="ctr" defTabSz="914102" fontAlgn="base">
              <a:lnSpc>
                <a:spcPct val="90000"/>
              </a:lnSpc>
              <a:spcBef>
                <a:spcPct val="0"/>
              </a:spcBef>
              <a:spcAft>
                <a:spcPct val="0"/>
              </a:spcAft>
            </a:pPr>
            <a:endParaRPr lang="en-IN" dirty="0">
              <a:solidFill>
                <a:srgbClr val="FFFFFF"/>
              </a:solidFill>
              <a:ea typeface="Segoe UI" pitchFamily="34" charset="0"/>
              <a:cs typeface="Segoe UI" pitchFamily="34" charset="0"/>
            </a:endParaRPr>
          </a:p>
          <a:p>
            <a:pPr defTabSz="914102" fontAlgn="base">
              <a:lnSpc>
                <a:spcPct val="90000"/>
              </a:lnSpc>
              <a:spcBef>
                <a:spcPct val="0"/>
              </a:spcBef>
              <a:spcAft>
                <a:spcPct val="0"/>
              </a:spcAft>
            </a:pPr>
            <a:r>
              <a:rPr lang="en-IN" dirty="0" smtClean="0">
                <a:solidFill>
                  <a:srgbClr val="FFFFFF"/>
                </a:solidFill>
                <a:ea typeface="Segoe UI" pitchFamily="34" charset="0"/>
                <a:cs typeface="Segoe UI" pitchFamily="34" charset="0"/>
              </a:rPr>
              <a:t>Easy-to-use APIs for processing large datasets.</a:t>
            </a:r>
          </a:p>
          <a:p>
            <a:pPr defTabSz="914102" fontAlgn="base">
              <a:lnSpc>
                <a:spcPct val="90000"/>
              </a:lnSpc>
              <a:spcBef>
                <a:spcPct val="0"/>
              </a:spcBef>
              <a:spcAft>
                <a:spcPct val="0"/>
              </a:spcAft>
            </a:pPr>
            <a:r>
              <a:rPr lang="en-IN" dirty="0" smtClean="0">
                <a:solidFill>
                  <a:srgbClr val="FFFFFF"/>
                </a:solidFill>
                <a:ea typeface="Segoe UI" pitchFamily="34" charset="0"/>
                <a:cs typeface="Segoe UI" pitchFamily="34" charset="0"/>
              </a:rPr>
              <a:t>Includes 100+ operators for transforming.</a:t>
            </a:r>
          </a:p>
          <a:p>
            <a:pPr algn="ctr" defTabSz="914102" fontAlgn="base">
              <a:lnSpc>
                <a:spcPct val="90000"/>
              </a:lnSpc>
              <a:spcBef>
                <a:spcPct val="0"/>
              </a:spcBef>
              <a:spcAft>
                <a:spcPct val="0"/>
              </a:spcAft>
            </a:pPr>
            <a:r>
              <a:rPr lang="en-IN" dirty="0" smtClean="0">
                <a:solidFill>
                  <a:srgbClr val="FFFFFF"/>
                </a:solidFill>
                <a:ea typeface="Segoe UI" pitchFamily="34" charset="0"/>
                <a:cs typeface="Segoe UI" pitchFamily="34" charset="0"/>
              </a:rPr>
              <a:t> </a:t>
            </a:r>
            <a:endParaRPr lang="en-IN" dirty="0">
              <a:solidFill>
                <a:srgbClr val="FFFFFF"/>
              </a:solidFill>
              <a:ea typeface="Segoe UI" pitchFamily="34" charset="0"/>
              <a:cs typeface="Segoe UI" pitchFamily="34" charset="0"/>
            </a:endParaRPr>
          </a:p>
        </p:txBody>
      </p:sp>
      <p:sp>
        <p:nvSpPr>
          <p:cNvPr id="7" name="Rectangle 6"/>
          <p:cNvSpPr/>
          <p:nvPr/>
        </p:nvSpPr>
        <p:spPr bwMode="auto">
          <a:xfrm>
            <a:off x="5923128" y="3769619"/>
            <a:ext cx="4148920" cy="257991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1714" tIns="26893" rIns="71714" bIns="26893"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IN" sz="2000" dirty="0" smtClean="0">
                <a:solidFill>
                  <a:schemeClr val="tx1">
                    <a:lumMod val="75000"/>
                    <a:lumOff val="25000"/>
                  </a:schemeClr>
                </a:solidFill>
                <a:ea typeface="Segoe UI" pitchFamily="34" charset="0"/>
                <a:cs typeface="Segoe UI" pitchFamily="34" charset="0"/>
              </a:rPr>
              <a:t>Ecosystem</a:t>
            </a:r>
          </a:p>
          <a:p>
            <a:pPr defTabSz="914102" fontAlgn="base">
              <a:lnSpc>
                <a:spcPct val="90000"/>
              </a:lnSpc>
              <a:spcBef>
                <a:spcPct val="0"/>
              </a:spcBef>
              <a:spcAft>
                <a:spcPct val="0"/>
              </a:spcAft>
            </a:pPr>
            <a:endParaRPr lang="en-IN" sz="1372" dirty="0" smtClean="0">
              <a:solidFill>
                <a:schemeClr val="tx1">
                  <a:lumMod val="75000"/>
                  <a:lumOff val="25000"/>
                </a:schemeClr>
              </a:solidFill>
              <a:ea typeface="Segoe UI" pitchFamily="34" charset="0"/>
              <a:cs typeface="Segoe UI" pitchFamily="34" charset="0"/>
            </a:endParaRPr>
          </a:p>
          <a:p>
            <a:pPr defTabSz="914102" fontAlgn="base">
              <a:lnSpc>
                <a:spcPct val="90000"/>
              </a:lnSpc>
              <a:spcBef>
                <a:spcPct val="0"/>
              </a:spcBef>
              <a:spcAft>
                <a:spcPct val="0"/>
              </a:spcAft>
            </a:pPr>
            <a:r>
              <a:rPr lang="en-IN" dirty="0" smtClean="0">
                <a:solidFill>
                  <a:schemeClr val="tx1">
                    <a:lumMod val="75000"/>
                    <a:lumOff val="25000"/>
                  </a:schemeClr>
                </a:solidFill>
                <a:ea typeface="Segoe UI" pitchFamily="34" charset="0"/>
                <a:cs typeface="Segoe UI" pitchFamily="34" charset="0"/>
              </a:rPr>
              <a:t>Spark has built-in support for many data sources such as HDFS, RDBMS, S3, Apache Hive, Cassandra and MongoDB. </a:t>
            </a:r>
          </a:p>
          <a:p>
            <a:pPr defTabSz="914102" fontAlgn="base">
              <a:lnSpc>
                <a:spcPct val="90000"/>
              </a:lnSpc>
              <a:spcBef>
                <a:spcPct val="0"/>
              </a:spcBef>
              <a:spcAft>
                <a:spcPct val="0"/>
              </a:spcAft>
            </a:pPr>
            <a:endParaRPr lang="en-IN" dirty="0">
              <a:solidFill>
                <a:schemeClr val="tx1">
                  <a:lumMod val="75000"/>
                  <a:lumOff val="25000"/>
                </a:schemeClr>
              </a:solidFill>
              <a:ea typeface="Segoe UI" pitchFamily="34" charset="0"/>
              <a:cs typeface="Segoe UI" pitchFamily="34" charset="0"/>
            </a:endParaRPr>
          </a:p>
          <a:p>
            <a:pPr defTabSz="914102" fontAlgn="base">
              <a:lnSpc>
                <a:spcPct val="90000"/>
              </a:lnSpc>
              <a:spcBef>
                <a:spcPct val="0"/>
              </a:spcBef>
              <a:spcAft>
                <a:spcPct val="0"/>
              </a:spcAft>
            </a:pPr>
            <a:r>
              <a:rPr lang="en-IN" dirty="0" smtClean="0">
                <a:solidFill>
                  <a:schemeClr val="tx1">
                    <a:lumMod val="75000"/>
                    <a:lumOff val="25000"/>
                  </a:schemeClr>
                </a:solidFill>
                <a:ea typeface="Segoe UI" pitchFamily="34" charset="0"/>
                <a:cs typeface="Segoe UI" pitchFamily="34" charset="0"/>
              </a:rPr>
              <a:t>Runs on top the Apache YARN resource manager.</a:t>
            </a:r>
          </a:p>
          <a:p>
            <a:pPr algn="ctr" defTabSz="914102" fontAlgn="base">
              <a:lnSpc>
                <a:spcPct val="90000"/>
              </a:lnSpc>
              <a:spcBef>
                <a:spcPct val="0"/>
              </a:spcBef>
              <a:spcAft>
                <a:spcPct val="0"/>
              </a:spcAft>
            </a:pPr>
            <a:endParaRPr lang="en-IN" dirty="0">
              <a:solidFill>
                <a:srgbClr val="FFFFFF"/>
              </a:solidFill>
              <a:ea typeface="Segoe UI" pitchFamily="34" charset="0"/>
              <a:cs typeface="Segoe UI" pitchFamily="34" charset="0"/>
            </a:endParaRPr>
          </a:p>
          <a:p>
            <a:pPr algn="ctr" defTabSz="914102" fontAlgn="base">
              <a:lnSpc>
                <a:spcPct val="90000"/>
              </a:lnSpc>
              <a:spcBef>
                <a:spcPct val="0"/>
              </a:spcBef>
              <a:spcAft>
                <a:spcPct val="0"/>
              </a:spcAft>
            </a:pPr>
            <a:endParaRPr lang="en-IN" dirty="0">
              <a:solidFill>
                <a:srgbClr val="FFFFFF"/>
              </a:solidFill>
              <a:ea typeface="Segoe UI" pitchFamily="34" charset="0"/>
              <a:cs typeface="Segoe UI" pitchFamily="34" charset="0"/>
            </a:endParaRPr>
          </a:p>
        </p:txBody>
      </p:sp>
      <p:sp>
        <p:nvSpPr>
          <p:cNvPr id="8" name="Rectangle 7"/>
          <p:cNvSpPr/>
          <p:nvPr/>
        </p:nvSpPr>
        <p:spPr bwMode="auto">
          <a:xfrm>
            <a:off x="1555845" y="3769619"/>
            <a:ext cx="4367283" cy="2579910"/>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1714" tIns="26893" rIns="71714" bIns="26893"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IN" dirty="0" smtClean="0">
                <a:solidFill>
                  <a:schemeClr val="tx1">
                    <a:lumMod val="75000"/>
                    <a:lumOff val="25000"/>
                  </a:schemeClr>
                </a:solidFill>
                <a:ea typeface="Segoe UI" pitchFamily="34" charset="0"/>
                <a:cs typeface="Segoe UI" pitchFamily="34" charset="0"/>
              </a:rPr>
              <a:t>Unified Engine</a:t>
            </a:r>
          </a:p>
          <a:p>
            <a:pPr algn="ctr" defTabSz="914102" fontAlgn="base">
              <a:lnSpc>
                <a:spcPct val="90000"/>
              </a:lnSpc>
              <a:spcBef>
                <a:spcPct val="0"/>
              </a:spcBef>
              <a:spcAft>
                <a:spcPct val="0"/>
              </a:spcAft>
            </a:pPr>
            <a:endParaRPr lang="en-IN" sz="1372" dirty="0">
              <a:solidFill>
                <a:srgbClr val="FFFFFF"/>
              </a:solidFill>
              <a:ea typeface="Segoe UI" pitchFamily="34" charset="0"/>
              <a:cs typeface="Segoe UI" pitchFamily="34" charset="0"/>
            </a:endParaRPr>
          </a:p>
          <a:p>
            <a:pPr defTabSz="914102" fontAlgn="base">
              <a:lnSpc>
                <a:spcPct val="90000"/>
              </a:lnSpc>
              <a:spcBef>
                <a:spcPct val="0"/>
              </a:spcBef>
              <a:spcAft>
                <a:spcPct val="0"/>
              </a:spcAft>
            </a:pPr>
            <a:r>
              <a:rPr lang="en-IN" sz="1600" dirty="0" smtClean="0">
                <a:solidFill>
                  <a:schemeClr val="tx1">
                    <a:lumMod val="75000"/>
                    <a:lumOff val="25000"/>
                  </a:schemeClr>
                </a:solidFill>
                <a:ea typeface="Segoe UI" pitchFamily="34" charset="0"/>
                <a:cs typeface="Segoe UI" pitchFamily="34" charset="0"/>
              </a:rPr>
              <a:t>Integrated framework </a:t>
            </a:r>
            <a:r>
              <a:rPr lang="en-IN" dirty="0">
                <a:solidFill>
                  <a:schemeClr val="tx1">
                    <a:lumMod val="75000"/>
                    <a:lumOff val="25000"/>
                  </a:schemeClr>
                </a:solidFill>
                <a:ea typeface="Segoe UI" pitchFamily="34" charset="0"/>
                <a:cs typeface="Segoe UI" pitchFamily="34" charset="0"/>
              </a:rPr>
              <a:t>i</a:t>
            </a:r>
            <a:r>
              <a:rPr lang="en-IN" dirty="0" smtClean="0">
                <a:solidFill>
                  <a:schemeClr val="tx1">
                    <a:lumMod val="75000"/>
                    <a:lumOff val="25000"/>
                  </a:schemeClr>
                </a:solidFill>
                <a:ea typeface="Segoe UI" pitchFamily="34" charset="0"/>
                <a:cs typeface="Segoe UI" pitchFamily="34" charset="0"/>
              </a:rPr>
              <a:t>ncludes higher-level libraries for interactive SQL queries, processing streaming data, machine learning and graph processing.</a:t>
            </a:r>
          </a:p>
          <a:p>
            <a:pPr defTabSz="914102" fontAlgn="base">
              <a:lnSpc>
                <a:spcPct val="90000"/>
              </a:lnSpc>
              <a:spcBef>
                <a:spcPct val="0"/>
              </a:spcBef>
              <a:spcAft>
                <a:spcPct val="0"/>
              </a:spcAft>
            </a:pPr>
            <a:r>
              <a:rPr lang="en-IN" dirty="0" smtClean="0">
                <a:solidFill>
                  <a:schemeClr val="tx1">
                    <a:lumMod val="75000"/>
                    <a:lumOff val="25000"/>
                  </a:schemeClr>
                </a:solidFill>
                <a:ea typeface="Segoe UI" pitchFamily="34" charset="0"/>
                <a:cs typeface="Segoe UI" pitchFamily="34" charset="0"/>
              </a:rPr>
              <a:t>A single application can combine all types of processing  </a:t>
            </a:r>
          </a:p>
          <a:p>
            <a:pPr algn="ctr" defTabSz="914102" fontAlgn="base">
              <a:lnSpc>
                <a:spcPct val="90000"/>
              </a:lnSpc>
              <a:spcBef>
                <a:spcPct val="0"/>
              </a:spcBef>
              <a:spcAft>
                <a:spcPct val="0"/>
              </a:spcAft>
            </a:pPr>
            <a:endParaRPr lang="en-IN" sz="1372" dirty="0">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2031992404"/>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left)">
                                      <p:cBhvr>
                                        <p:cTn id="7" dur="500"/>
                                        <p:tgtEl>
                                          <p:spTgt spid="5"/>
                                        </p:tgtEl>
                                      </p:cBhvr>
                                    </p:animEffect>
                                  </p:childTnLst>
                                </p:cTn>
                              </p:par>
                            </p:childTnLst>
                          </p:cTn>
                        </p:par>
                        <p:par>
                          <p:cTn id="8" fill="hold">
                            <p:stCondLst>
                              <p:cond delay="500"/>
                            </p:stCondLst>
                            <p:childTnLst>
                              <p:par>
                                <p:cTn id="9" presetID="22" presetClass="entr" presetSubtype="2" fill="hold" grpId="0" nodeType="afterEffect">
                                  <p:stCondLst>
                                    <p:cond delay="0"/>
                                  </p:stCondLst>
                                  <p:childTnLst>
                                    <p:set>
                                      <p:cBhvr>
                                        <p:cTn id="10" dur="1" fill="hold">
                                          <p:stCondLst>
                                            <p:cond delay="0"/>
                                          </p:stCondLst>
                                        </p:cTn>
                                        <p:tgtEl>
                                          <p:spTgt spid="6"/>
                                        </p:tgtEl>
                                        <p:attrNameLst>
                                          <p:attrName>style.visibility</p:attrName>
                                        </p:attrNameLst>
                                      </p:cBhvr>
                                      <p:to>
                                        <p:strVal val="visible"/>
                                      </p:to>
                                    </p:set>
                                    <p:animEffect transition="in" filter="wipe(right)">
                                      <p:cBhvr>
                                        <p:cTn id="11" dur="500"/>
                                        <p:tgtEl>
                                          <p:spTgt spid="6"/>
                                        </p:tgtEl>
                                      </p:cBhvr>
                                    </p:animEffect>
                                  </p:childTnLst>
                                </p:cTn>
                              </p:par>
                            </p:childTnLst>
                          </p:cTn>
                        </p:par>
                        <p:par>
                          <p:cTn id="12" fill="hold">
                            <p:stCondLst>
                              <p:cond delay="1000"/>
                            </p:stCondLst>
                            <p:childTnLst>
                              <p:par>
                                <p:cTn id="13" presetID="22" presetClass="entr" presetSubtype="2" fill="hold" grpId="0" nodeType="afterEffect">
                                  <p:stCondLst>
                                    <p:cond delay="0"/>
                                  </p:stCondLst>
                                  <p:childTnLst>
                                    <p:set>
                                      <p:cBhvr>
                                        <p:cTn id="14" dur="1" fill="hold">
                                          <p:stCondLst>
                                            <p:cond delay="0"/>
                                          </p:stCondLst>
                                        </p:cTn>
                                        <p:tgtEl>
                                          <p:spTgt spid="7"/>
                                        </p:tgtEl>
                                        <p:attrNameLst>
                                          <p:attrName>style.visibility</p:attrName>
                                        </p:attrNameLst>
                                      </p:cBhvr>
                                      <p:to>
                                        <p:strVal val="visible"/>
                                      </p:to>
                                    </p:set>
                                    <p:animEffect transition="in" filter="wipe(right)">
                                      <p:cBhvr>
                                        <p:cTn id="15" dur="500"/>
                                        <p:tgtEl>
                                          <p:spTgt spid="7"/>
                                        </p:tgtEl>
                                      </p:cBhvr>
                                    </p:animEffect>
                                  </p:childTnLst>
                                </p:cTn>
                              </p:par>
                            </p:childTnLst>
                          </p:cTn>
                        </p:par>
                        <p:par>
                          <p:cTn id="16" fill="hold">
                            <p:stCondLst>
                              <p:cond delay="1500"/>
                            </p:stCondLst>
                            <p:childTnLst>
                              <p:par>
                                <p:cTn id="17" presetID="22" presetClass="entr" presetSubtype="2" fill="hold" grpId="0" nodeType="afterEffect">
                                  <p:stCondLst>
                                    <p:cond delay="0"/>
                                  </p:stCondLst>
                                  <p:childTnLst>
                                    <p:set>
                                      <p:cBhvr>
                                        <p:cTn id="18" dur="1" fill="hold">
                                          <p:stCondLst>
                                            <p:cond delay="0"/>
                                          </p:stCondLst>
                                        </p:cTn>
                                        <p:tgtEl>
                                          <p:spTgt spid="8"/>
                                        </p:tgtEl>
                                        <p:attrNameLst>
                                          <p:attrName>style.visibility</p:attrName>
                                        </p:attrNameLst>
                                      </p:cBhvr>
                                      <p:to>
                                        <p:strVal val="visible"/>
                                      </p:to>
                                    </p:set>
                                    <p:animEffect transition="in" filter="wipe(right)">
                                      <p:cBhvr>
                                        <p:cTn id="19"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7" grpId="0" animBg="1"/>
      <p:bldP spid="8" grpId="0" animBg="1"/>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at is MLlib?</a:t>
            </a:r>
            <a:endParaRPr lang="en-US" dirty="0"/>
          </a:p>
        </p:txBody>
      </p:sp>
      <p:sp>
        <p:nvSpPr>
          <p:cNvPr id="3" name="Slide Number Placeholder 2"/>
          <p:cNvSpPr>
            <a:spLocks noGrp="1"/>
          </p:cNvSpPr>
          <p:nvPr>
            <p:ph type="sldNum" sz="quarter" idx="11"/>
          </p:nvPr>
        </p:nvSpPr>
        <p:spPr/>
        <p:txBody>
          <a:bodyPr/>
          <a:lstStyle/>
          <a:p>
            <a:pPr>
              <a:defRPr/>
            </a:pPr>
            <a:fld id="{F8A0AC42-AA1D-4944-8D96-660DE70C7E1B}" type="slidenum">
              <a:rPr lang="en-US" smtClean="0"/>
              <a:pPr>
                <a:defRPr/>
              </a:pPr>
              <a:t>50</a:t>
            </a:fld>
            <a:endParaRPr lang="en-US" dirty="0"/>
          </a:p>
        </p:txBody>
      </p:sp>
      <p:sp>
        <p:nvSpPr>
          <p:cNvPr id="4" name="TextBox 3"/>
          <p:cNvSpPr txBox="1"/>
          <p:nvPr/>
        </p:nvSpPr>
        <p:spPr>
          <a:xfrm>
            <a:off x="1094230" y="1334403"/>
            <a:ext cx="9728099" cy="1508105"/>
          </a:xfrm>
          <a:prstGeom prst="rect">
            <a:avLst/>
          </a:prstGeom>
          <a:noFill/>
          <a:ln>
            <a:noFill/>
          </a:ln>
        </p:spPr>
        <p:txBody>
          <a:bodyPr wrap="square">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2"/>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lvl="1">
              <a:spcBef>
                <a:spcPts val="600"/>
              </a:spcBef>
            </a:pPr>
            <a:r>
              <a:rPr lang="en-US" sz="2000" dirty="0" smtClean="0">
                <a:ln>
                  <a:solidFill>
                    <a:srgbClr val="FFFFFF">
                      <a:alpha val="0"/>
                    </a:srgbClr>
                  </a:solidFill>
                </a:ln>
                <a:gradFill>
                  <a:gsLst>
                    <a:gs pos="85321">
                      <a:srgbClr val="505050"/>
                    </a:gs>
                    <a:gs pos="57000">
                      <a:srgbClr val="505050"/>
                    </a:gs>
                  </a:gsLst>
                </a:gradFill>
                <a:ea typeface="Segoe UI" pitchFamily="34" charset="0"/>
                <a:cs typeface="Segoe UI" pitchFamily="34" charset="0"/>
              </a:rPr>
              <a:t>A collection of machine learning algorithms optimized to run in a parallel, distributed manner on Spark clusters for better performance </a:t>
            </a:r>
            <a:r>
              <a:rPr lang="en-US" sz="2000" dirty="0" smtClean="0"/>
              <a:t>on large datasets</a:t>
            </a:r>
            <a:endParaRPr lang="en-US" sz="2000" dirty="0" smtClean="0">
              <a:ln>
                <a:solidFill>
                  <a:srgbClr val="FFFFFF">
                    <a:alpha val="0"/>
                  </a:srgbClr>
                </a:solidFill>
              </a:ln>
              <a:gradFill>
                <a:gsLst>
                  <a:gs pos="85321">
                    <a:srgbClr val="505050"/>
                  </a:gs>
                  <a:gs pos="57000">
                    <a:srgbClr val="505050"/>
                  </a:gs>
                </a:gsLst>
              </a:gradFill>
              <a:ea typeface="Segoe UI" pitchFamily="34" charset="0"/>
              <a:cs typeface="Segoe UI" pitchFamily="34" charset="0"/>
            </a:endParaRPr>
          </a:p>
          <a:p>
            <a:pPr lvl="1">
              <a:spcBef>
                <a:spcPts val="600"/>
              </a:spcBef>
            </a:pPr>
            <a:r>
              <a:rPr lang="en-US" sz="2000" dirty="0" smtClean="0"/>
              <a:t>Seamlessly integrates with other Spark components</a:t>
            </a:r>
            <a:endParaRPr lang="en-US" sz="2000" dirty="0" smtClean="0">
              <a:ln>
                <a:solidFill>
                  <a:srgbClr val="FFFFFF">
                    <a:alpha val="0"/>
                  </a:srgbClr>
                </a:solidFill>
              </a:ln>
              <a:gradFill>
                <a:gsLst>
                  <a:gs pos="85321">
                    <a:srgbClr val="505050"/>
                  </a:gs>
                  <a:gs pos="57000">
                    <a:srgbClr val="505050"/>
                  </a:gs>
                </a:gsLst>
              </a:gradFill>
              <a:ea typeface="Segoe UI" pitchFamily="34" charset="0"/>
              <a:cs typeface="Segoe UI" pitchFamily="34" charset="0"/>
            </a:endParaRPr>
          </a:p>
          <a:p>
            <a:pPr lvl="1">
              <a:spcBef>
                <a:spcPts val="600"/>
              </a:spcBef>
            </a:pPr>
            <a:r>
              <a:rPr lang="en-US" sz="2000" dirty="0" smtClean="0"/>
              <a:t>MLlib applications can be developed in Java, Scala or Python</a:t>
            </a:r>
            <a:endParaRPr lang="en-US" sz="2000" dirty="0">
              <a:ln>
                <a:solidFill>
                  <a:srgbClr val="FFFFFF">
                    <a:alpha val="0"/>
                  </a:srgbClr>
                </a:solidFill>
              </a:ln>
              <a:gradFill>
                <a:gsLst>
                  <a:gs pos="85321">
                    <a:srgbClr val="505050"/>
                  </a:gs>
                  <a:gs pos="57000">
                    <a:srgbClr val="505050"/>
                  </a:gs>
                </a:gsLst>
              </a:gradFill>
              <a:ea typeface="Segoe UI" pitchFamily="34" charset="0"/>
              <a:cs typeface="Segoe UI" pitchFamily="34" charset="0"/>
            </a:endParaRPr>
          </a:p>
        </p:txBody>
      </p:sp>
      <p:graphicFrame>
        <p:nvGraphicFramePr>
          <p:cNvPr id="5" name="Table 4"/>
          <p:cNvGraphicFramePr>
            <a:graphicFrameLocks noGrp="1"/>
          </p:cNvGraphicFramePr>
          <p:nvPr>
            <p:extLst>
              <p:ext uri="{D42A27DB-BD31-4B8C-83A1-F6EECF244321}">
                <p14:modId xmlns:p14="http://schemas.microsoft.com/office/powerpoint/2010/main" val="691518722"/>
              </p:ext>
            </p:extLst>
          </p:nvPr>
        </p:nvGraphicFramePr>
        <p:xfrm>
          <a:off x="1342664" y="2842508"/>
          <a:ext cx="9491239" cy="3418840"/>
        </p:xfrm>
        <a:graphic>
          <a:graphicData uri="http://schemas.openxmlformats.org/drawingml/2006/table">
            <a:tbl>
              <a:tblPr firstRow="1" bandRow="1">
                <a:tableStyleId>{5C22544A-7EE6-4342-B048-85BDC9FD1C3A}</a:tableStyleId>
              </a:tblPr>
              <a:tblGrid>
                <a:gridCol w="2480321"/>
                <a:gridCol w="7010918"/>
              </a:tblGrid>
              <a:tr h="370840">
                <a:tc>
                  <a:txBody>
                    <a:bodyPr/>
                    <a:lstStyle/>
                    <a:p>
                      <a:pPr algn="ctr"/>
                      <a:r>
                        <a:rPr lang="en-US" sz="1400" dirty="0" smtClean="0"/>
                        <a:t>Type</a:t>
                      </a:r>
                      <a:endParaRPr lang="en-US" sz="1400" dirty="0"/>
                    </a:p>
                  </a:txBody>
                  <a:tcPr/>
                </a:tc>
                <a:tc>
                  <a:txBody>
                    <a:bodyPr/>
                    <a:lstStyle/>
                    <a:p>
                      <a:pPr algn="ctr"/>
                      <a:r>
                        <a:rPr lang="en-US" sz="1400" dirty="0" smtClean="0"/>
                        <a:t>Algorithms</a:t>
                      </a:r>
                      <a:endParaRPr lang="en-US" sz="1400" dirty="0"/>
                    </a:p>
                  </a:txBody>
                  <a:tcPr/>
                </a:tc>
              </a:tr>
              <a:tr h="370840">
                <a:tc>
                  <a:txBody>
                    <a:bodyPr/>
                    <a:lstStyle/>
                    <a:p>
                      <a:pPr marL="0" indent="0">
                        <a:buFont typeface="Arial" panose="020B0604020202020204" pitchFamily="34" charset="0"/>
                        <a:buNone/>
                      </a:pPr>
                      <a:r>
                        <a:rPr lang="en-US" sz="1400" kern="1200" dirty="0" smtClean="0">
                          <a:ln>
                            <a:solidFill>
                              <a:srgbClr val="FFFFFF">
                                <a:alpha val="0"/>
                              </a:srgbClr>
                            </a:solidFill>
                          </a:ln>
                          <a:gradFill>
                            <a:gsLst>
                              <a:gs pos="85321">
                                <a:srgbClr val="505050"/>
                              </a:gs>
                              <a:gs pos="57000">
                                <a:srgbClr val="505050"/>
                              </a:gs>
                            </a:gsLst>
                          </a:gradFill>
                          <a:latin typeface="+mn-lt"/>
                          <a:ea typeface="Segoe UI" pitchFamily="34" charset="0"/>
                          <a:cs typeface="Segoe UI" pitchFamily="34" charset="0"/>
                        </a:rPr>
                        <a:t>Supervised</a:t>
                      </a:r>
                      <a:endParaRPr lang="en-US" sz="1400" kern="1200" dirty="0">
                        <a:ln>
                          <a:solidFill>
                            <a:srgbClr val="FFFFFF">
                              <a:alpha val="0"/>
                            </a:srgbClr>
                          </a:solidFill>
                        </a:ln>
                        <a:gradFill>
                          <a:gsLst>
                            <a:gs pos="85321">
                              <a:srgbClr val="505050"/>
                            </a:gs>
                            <a:gs pos="57000">
                              <a:srgbClr val="505050"/>
                            </a:gs>
                          </a:gsLst>
                        </a:gradFill>
                        <a:latin typeface="+mn-lt"/>
                        <a:ea typeface="Segoe UI" pitchFamily="34" charset="0"/>
                        <a:cs typeface="Segoe UI" pitchFamily="34" charset="0"/>
                      </a:endParaRPr>
                    </a:p>
                  </a:txBody>
                  <a:tcPr anchor="ctr"/>
                </a:tc>
                <a:tc>
                  <a:txBody>
                    <a:bodyPr/>
                    <a:lstStyle/>
                    <a:p>
                      <a:pPr marL="0" indent="0">
                        <a:buFont typeface="Arial" panose="020B0604020202020204" pitchFamily="34" charset="0"/>
                        <a:buNone/>
                      </a:pPr>
                      <a:r>
                        <a:rPr lang="en-US" sz="1400" kern="1200" dirty="0" smtClean="0">
                          <a:ln>
                            <a:solidFill>
                              <a:srgbClr val="FFFFFF">
                                <a:alpha val="0"/>
                              </a:srgbClr>
                            </a:solidFill>
                          </a:ln>
                          <a:gradFill>
                            <a:gsLst>
                              <a:gs pos="85321">
                                <a:srgbClr val="505050"/>
                              </a:gs>
                              <a:gs pos="57000">
                                <a:srgbClr val="505050"/>
                              </a:gs>
                            </a:gsLst>
                          </a:gradFill>
                          <a:latin typeface="+mn-lt"/>
                          <a:ea typeface="Segoe UI" pitchFamily="34" charset="0"/>
                          <a:cs typeface="Segoe UI" pitchFamily="34" charset="0"/>
                        </a:rPr>
                        <a:t>Classification and Regression:</a:t>
                      </a:r>
                    </a:p>
                    <a:p>
                      <a:pPr marL="285750" indent="-285750">
                        <a:buFont typeface="Arial" panose="020B0604020202020204" pitchFamily="34" charset="0"/>
                        <a:buChar char="•"/>
                      </a:pPr>
                      <a:r>
                        <a:rPr lang="en-US" sz="1400" kern="1200" dirty="0" smtClean="0">
                          <a:ln>
                            <a:solidFill>
                              <a:srgbClr val="FFFFFF">
                                <a:alpha val="0"/>
                              </a:srgbClr>
                            </a:solidFill>
                          </a:ln>
                          <a:gradFill>
                            <a:gsLst>
                              <a:gs pos="85321">
                                <a:srgbClr val="505050"/>
                              </a:gs>
                              <a:gs pos="57000">
                                <a:srgbClr val="505050"/>
                              </a:gs>
                            </a:gsLst>
                          </a:gradFill>
                          <a:latin typeface="+mn-lt"/>
                          <a:ea typeface="Segoe UI" pitchFamily="34" charset="0"/>
                          <a:cs typeface="Segoe UI" pitchFamily="34" charset="0"/>
                        </a:rPr>
                        <a:t>Linear Models (SVMs) logistic regression, linear regression)</a:t>
                      </a:r>
                    </a:p>
                    <a:p>
                      <a:pPr marL="285750" indent="-285750">
                        <a:buFont typeface="Arial" panose="020B0604020202020204" pitchFamily="34" charset="0"/>
                        <a:buChar char="•"/>
                      </a:pPr>
                      <a:r>
                        <a:rPr lang="en-US" sz="1400" kern="1200" dirty="0" smtClean="0">
                          <a:ln>
                            <a:solidFill>
                              <a:srgbClr val="FFFFFF">
                                <a:alpha val="0"/>
                              </a:srgbClr>
                            </a:solidFill>
                          </a:ln>
                          <a:gradFill>
                            <a:gsLst>
                              <a:gs pos="85321">
                                <a:srgbClr val="505050"/>
                              </a:gs>
                              <a:gs pos="57000">
                                <a:srgbClr val="505050"/>
                              </a:gs>
                            </a:gsLst>
                          </a:gradFill>
                          <a:latin typeface="+mn-lt"/>
                          <a:ea typeface="Segoe UI" pitchFamily="34" charset="0"/>
                          <a:cs typeface="Segoe UI" pitchFamily="34" charset="0"/>
                        </a:rPr>
                        <a:t>Naïve Bayes</a:t>
                      </a:r>
                    </a:p>
                    <a:p>
                      <a:pPr marL="285750" indent="-285750">
                        <a:buFont typeface="Arial" panose="020B0604020202020204" pitchFamily="34" charset="0"/>
                        <a:buChar char="•"/>
                      </a:pPr>
                      <a:r>
                        <a:rPr lang="en-US" sz="1400" kern="1200" dirty="0" smtClean="0">
                          <a:ln>
                            <a:solidFill>
                              <a:srgbClr val="FFFFFF">
                                <a:alpha val="0"/>
                              </a:srgbClr>
                            </a:solidFill>
                          </a:ln>
                          <a:gradFill>
                            <a:gsLst>
                              <a:gs pos="85321">
                                <a:srgbClr val="505050"/>
                              </a:gs>
                              <a:gs pos="57000">
                                <a:srgbClr val="505050"/>
                              </a:gs>
                            </a:gsLst>
                          </a:gradFill>
                          <a:latin typeface="+mn-lt"/>
                          <a:ea typeface="Segoe UI" pitchFamily="34" charset="0"/>
                          <a:cs typeface="Segoe UI" pitchFamily="34" charset="0"/>
                        </a:rPr>
                        <a:t>Decision Trees</a:t>
                      </a:r>
                    </a:p>
                    <a:p>
                      <a:pPr marL="285750" indent="-285750">
                        <a:buFont typeface="Arial" panose="020B0604020202020204" pitchFamily="34" charset="0"/>
                        <a:buChar char="•"/>
                      </a:pPr>
                      <a:r>
                        <a:rPr lang="en-US" sz="1400" kern="1200" dirty="0" smtClean="0">
                          <a:ln>
                            <a:solidFill>
                              <a:srgbClr val="FFFFFF">
                                <a:alpha val="0"/>
                              </a:srgbClr>
                            </a:solidFill>
                          </a:ln>
                          <a:gradFill>
                            <a:gsLst>
                              <a:gs pos="85321">
                                <a:srgbClr val="505050"/>
                              </a:gs>
                              <a:gs pos="57000">
                                <a:srgbClr val="505050"/>
                              </a:gs>
                            </a:gsLst>
                          </a:gradFill>
                          <a:latin typeface="+mn-lt"/>
                          <a:ea typeface="Segoe UI" pitchFamily="34" charset="0"/>
                          <a:cs typeface="Segoe UI" pitchFamily="34" charset="0"/>
                        </a:rPr>
                        <a:t>Ensembles of trees (Random Forest, Gradient-Boosted Trees)</a:t>
                      </a:r>
                    </a:p>
                    <a:p>
                      <a:pPr marL="285750" indent="-285750">
                        <a:buFont typeface="Arial" panose="020B0604020202020204" pitchFamily="34" charset="0"/>
                        <a:buChar char="•"/>
                      </a:pPr>
                      <a:r>
                        <a:rPr lang="en-US" sz="1400" kern="1200" dirty="0" smtClean="0">
                          <a:ln>
                            <a:solidFill>
                              <a:srgbClr val="FFFFFF">
                                <a:alpha val="0"/>
                              </a:srgbClr>
                            </a:solidFill>
                          </a:ln>
                          <a:gradFill>
                            <a:gsLst>
                              <a:gs pos="85321">
                                <a:srgbClr val="505050"/>
                              </a:gs>
                              <a:gs pos="57000">
                                <a:srgbClr val="505050"/>
                              </a:gs>
                            </a:gsLst>
                          </a:gradFill>
                          <a:latin typeface="+mn-lt"/>
                          <a:ea typeface="Segoe UI" pitchFamily="34" charset="0"/>
                          <a:cs typeface="Segoe UI" pitchFamily="34" charset="0"/>
                        </a:rPr>
                        <a:t>Isotonic regression</a:t>
                      </a:r>
                    </a:p>
                  </a:txBody>
                  <a:tcPr anchor="ctr"/>
                </a:tc>
              </a:tr>
              <a:tr h="370840">
                <a:tc>
                  <a:txBody>
                    <a:bodyPr/>
                    <a:lstStyle/>
                    <a:p>
                      <a:pPr marL="0" indent="0">
                        <a:buFont typeface="Arial" panose="020B0604020202020204" pitchFamily="34" charset="0"/>
                        <a:buNone/>
                      </a:pPr>
                      <a:r>
                        <a:rPr lang="en-US" sz="1400" kern="1200" dirty="0" smtClean="0">
                          <a:ln>
                            <a:solidFill>
                              <a:srgbClr val="FFFFFF">
                                <a:alpha val="0"/>
                              </a:srgbClr>
                            </a:solidFill>
                          </a:ln>
                          <a:gradFill>
                            <a:gsLst>
                              <a:gs pos="85321">
                                <a:srgbClr val="505050"/>
                              </a:gs>
                              <a:gs pos="57000">
                                <a:srgbClr val="505050"/>
                              </a:gs>
                            </a:gsLst>
                          </a:gradFill>
                          <a:latin typeface="+mn-lt"/>
                          <a:ea typeface="Segoe UI" pitchFamily="34" charset="0"/>
                          <a:cs typeface="Segoe UI" pitchFamily="34" charset="0"/>
                        </a:rPr>
                        <a:t>Unsupervised</a:t>
                      </a:r>
                      <a:endParaRPr lang="en-US" sz="1400" kern="1200" dirty="0">
                        <a:ln>
                          <a:solidFill>
                            <a:srgbClr val="FFFFFF">
                              <a:alpha val="0"/>
                            </a:srgbClr>
                          </a:solidFill>
                        </a:ln>
                        <a:gradFill>
                          <a:gsLst>
                            <a:gs pos="85321">
                              <a:srgbClr val="505050"/>
                            </a:gs>
                            <a:gs pos="57000">
                              <a:srgbClr val="505050"/>
                            </a:gs>
                          </a:gsLst>
                        </a:gradFill>
                        <a:latin typeface="+mn-lt"/>
                        <a:ea typeface="Segoe UI" pitchFamily="34" charset="0"/>
                        <a:cs typeface="Segoe UI" pitchFamily="34" charset="0"/>
                      </a:endParaRPr>
                    </a:p>
                  </a:txBody>
                  <a:tcPr anchor="ctr"/>
                </a:tc>
                <a:tc>
                  <a:txBody>
                    <a:bodyPr/>
                    <a:lstStyle/>
                    <a:p>
                      <a:pPr marL="0" indent="0">
                        <a:buFont typeface="Arial" panose="020B0604020202020204" pitchFamily="34" charset="0"/>
                        <a:buNone/>
                      </a:pPr>
                      <a:r>
                        <a:rPr lang="en-US" sz="1400" kern="1200" dirty="0" smtClean="0">
                          <a:ln>
                            <a:solidFill>
                              <a:srgbClr val="FFFFFF">
                                <a:alpha val="0"/>
                              </a:srgbClr>
                            </a:solidFill>
                          </a:ln>
                          <a:gradFill>
                            <a:gsLst>
                              <a:gs pos="85321">
                                <a:srgbClr val="505050"/>
                              </a:gs>
                              <a:gs pos="57000">
                                <a:srgbClr val="505050"/>
                              </a:gs>
                            </a:gsLst>
                          </a:gradFill>
                          <a:latin typeface="+mn-lt"/>
                          <a:ea typeface="Segoe UI" pitchFamily="34" charset="0"/>
                          <a:cs typeface="Segoe UI" pitchFamily="34" charset="0"/>
                        </a:rPr>
                        <a:t>Clustering:</a:t>
                      </a:r>
                    </a:p>
                    <a:p>
                      <a:pPr marL="285750" indent="-285750">
                        <a:buFont typeface="Arial" panose="020B0604020202020204" pitchFamily="34" charset="0"/>
                        <a:buChar char="•"/>
                      </a:pPr>
                      <a:r>
                        <a:rPr lang="en-US" sz="1400" kern="1200" dirty="0" smtClean="0">
                          <a:ln>
                            <a:solidFill>
                              <a:srgbClr val="FFFFFF">
                                <a:alpha val="0"/>
                              </a:srgbClr>
                            </a:solidFill>
                          </a:ln>
                          <a:gradFill>
                            <a:gsLst>
                              <a:gs pos="85321">
                                <a:srgbClr val="505050"/>
                              </a:gs>
                              <a:gs pos="57000">
                                <a:srgbClr val="505050"/>
                              </a:gs>
                            </a:gsLst>
                          </a:gradFill>
                          <a:latin typeface="+mn-lt"/>
                          <a:ea typeface="Segoe UI" pitchFamily="34" charset="0"/>
                          <a:cs typeface="Segoe UI" pitchFamily="34" charset="0"/>
                        </a:rPr>
                        <a:t>k-means and streaming k-means</a:t>
                      </a:r>
                    </a:p>
                    <a:p>
                      <a:pPr marL="285750" indent="-285750">
                        <a:buFont typeface="Arial" panose="020B0604020202020204" pitchFamily="34" charset="0"/>
                        <a:buChar char="•"/>
                      </a:pPr>
                      <a:r>
                        <a:rPr lang="en-US" sz="1400" kern="1200" dirty="0" smtClean="0">
                          <a:ln>
                            <a:solidFill>
                              <a:srgbClr val="FFFFFF">
                                <a:alpha val="0"/>
                              </a:srgbClr>
                            </a:solidFill>
                          </a:ln>
                          <a:gradFill>
                            <a:gsLst>
                              <a:gs pos="85321">
                                <a:srgbClr val="505050"/>
                              </a:gs>
                              <a:gs pos="57000">
                                <a:srgbClr val="505050"/>
                              </a:gs>
                            </a:gsLst>
                          </a:gradFill>
                          <a:latin typeface="+mn-lt"/>
                          <a:ea typeface="Segoe UI" pitchFamily="34" charset="0"/>
                          <a:cs typeface="Segoe UI" pitchFamily="34" charset="0"/>
                        </a:rPr>
                        <a:t>Gaussian mixture</a:t>
                      </a:r>
                    </a:p>
                    <a:p>
                      <a:pPr marL="285750" indent="-285750">
                        <a:buFont typeface="Arial" panose="020B0604020202020204" pitchFamily="34" charset="0"/>
                        <a:buChar char="•"/>
                      </a:pPr>
                      <a:r>
                        <a:rPr lang="en-US" sz="1400" kern="1200" dirty="0" smtClean="0">
                          <a:ln>
                            <a:solidFill>
                              <a:srgbClr val="FFFFFF">
                                <a:alpha val="0"/>
                              </a:srgbClr>
                            </a:solidFill>
                          </a:ln>
                          <a:gradFill>
                            <a:gsLst>
                              <a:gs pos="85321">
                                <a:srgbClr val="505050"/>
                              </a:gs>
                              <a:gs pos="57000">
                                <a:srgbClr val="505050"/>
                              </a:gs>
                            </a:gsLst>
                          </a:gradFill>
                          <a:latin typeface="+mn-lt"/>
                          <a:ea typeface="Segoe UI" pitchFamily="34" charset="0"/>
                          <a:cs typeface="Segoe UI" pitchFamily="34" charset="0"/>
                        </a:rPr>
                        <a:t>Power iteration clustering (PIC)</a:t>
                      </a:r>
                    </a:p>
                    <a:p>
                      <a:pPr marL="285750" indent="-285750">
                        <a:buFont typeface="Arial" panose="020B0604020202020204" pitchFamily="34" charset="0"/>
                        <a:buChar char="•"/>
                      </a:pPr>
                      <a:r>
                        <a:rPr lang="en-US" sz="1400" kern="1200" dirty="0" smtClean="0">
                          <a:ln>
                            <a:solidFill>
                              <a:srgbClr val="FFFFFF">
                                <a:alpha val="0"/>
                              </a:srgbClr>
                            </a:solidFill>
                          </a:ln>
                          <a:gradFill>
                            <a:gsLst>
                              <a:gs pos="85321">
                                <a:srgbClr val="505050"/>
                              </a:gs>
                              <a:gs pos="57000">
                                <a:srgbClr val="505050"/>
                              </a:gs>
                            </a:gsLst>
                          </a:gradFill>
                          <a:latin typeface="+mn-lt"/>
                          <a:ea typeface="Segoe UI" pitchFamily="34" charset="0"/>
                          <a:cs typeface="Segoe UI" pitchFamily="34" charset="0"/>
                        </a:rPr>
                        <a:t>Latent Dirichlet allocation (LDA)</a:t>
                      </a:r>
                    </a:p>
                  </a:txBody>
                  <a:tcPr anchor="ctr"/>
                </a:tc>
              </a:tr>
              <a:tr h="370840">
                <a:tc>
                  <a:txBody>
                    <a:bodyPr/>
                    <a:lstStyle/>
                    <a:p>
                      <a:pPr marL="0" indent="0">
                        <a:buFont typeface="Arial" panose="020B0604020202020204" pitchFamily="34" charset="0"/>
                        <a:buNone/>
                      </a:pPr>
                      <a:r>
                        <a:rPr lang="en-US" sz="1400" kern="1200" dirty="0" smtClean="0">
                          <a:ln>
                            <a:solidFill>
                              <a:srgbClr val="FFFFFF">
                                <a:alpha val="0"/>
                              </a:srgbClr>
                            </a:solidFill>
                          </a:ln>
                          <a:gradFill>
                            <a:gsLst>
                              <a:gs pos="85321">
                                <a:srgbClr val="505050"/>
                              </a:gs>
                              <a:gs pos="57000">
                                <a:srgbClr val="505050"/>
                              </a:gs>
                            </a:gsLst>
                          </a:gradFill>
                          <a:latin typeface="+mn-lt"/>
                          <a:ea typeface="Segoe UI" pitchFamily="34" charset="0"/>
                          <a:cs typeface="Segoe UI" pitchFamily="34" charset="0"/>
                        </a:rPr>
                        <a:t>Recommendation</a:t>
                      </a:r>
                      <a:endParaRPr lang="en-US" sz="1400" kern="1200" dirty="0">
                        <a:ln>
                          <a:solidFill>
                            <a:srgbClr val="FFFFFF">
                              <a:alpha val="0"/>
                            </a:srgbClr>
                          </a:solidFill>
                        </a:ln>
                        <a:gradFill>
                          <a:gsLst>
                            <a:gs pos="85321">
                              <a:srgbClr val="505050"/>
                            </a:gs>
                            <a:gs pos="57000">
                              <a:srgbClr val="505050"/>
                            </a:gs>
                          </a:gsLst>
                        </a:gradFill>
                        <a:latin typeface="+mn-lt"/>
                        <a:ea typeface="Segoe UI" pitchFamily="34" charset="0"/>
                        <a:cs typeface="Segoe UI" pitchFamily="34" charset="0"/>
                      </a:endParaRPr>
                    </a:p>
                  </a:txBody>
                  <a:tcPr anchor="ctr"/>
                </a:tc>
                <a:tc>
                  <a:txBody>
                    <a:bodyPr/>
                    <a:lstStyle/>
                    <a:p>
                      <a:pPr marL="0" indent="0">
                        <a:buFont typeface="Arial" panose="020B0604020202020204" pitchFamily="34" charset="0"/>
                        <a:buNone/>
                      </a:pPr>
                      <a:r>
                        <a:rPr lang="en-US" sz="1400" kern="1200" dirty="0" smtClean="0">
                          <a:ln>
                            <a:solidFill>
                              <a:srgbClr val="FFFFFF">
                                <a:alpha val="0"/>
                              </a:srgbClr>
                            </a:solidFill>
                          </a:ln>
                          <a:gradFill>
                            <a:gsLst>
                              <a:gs pos="85321">
                                <a:srgbClr val="505050"/>
                              </a:gs>
                              <a:gs pos="57000">
                                <a:srgbClr val="505050"/>
                              </a:gs>
                            </a:gsLst>
                          </a:gradFill>
                          <a:latin typeface="+mn-lt"/>
                          <a:ea typeface="Segoe UI" pitchFamily="34" charset="0"/>
                          <a:cs typeface="Segoe UI" pitchFamily="34" charset="0"/>
                        </a:rPr>
                        <a:t>Collaborative Filtering</a:t>
                      </a:r>
                    </a:p>
                    <a:p>
                      <a:pPr marL="285750" indent="-285750">
                        <a:buFont typeface="Arial" panose="020B0604020202020204" pitchFamily="34" charset="0"/>
                        <a:buChar char="•"/>
                      </a:pPr>
                      <a:r>
                        <a:rPr lang="en-US" sz="1400" kern="1200" dirty="0" smtClean="0">
                          <a:ln>
                            <a:solidFill>
                              <a:srgbClr val="FFFFFF">
                                <a:alpha val="0"/>
                              </a:srgbClr>
                            </a:solidFill>
                          </a:ln>
                          <a:gradFill>
                            <a:gsLst>
                              <a:gs pos="85321">
                                <a:srgbClr val="505050"/>
                              </a:gs>
                              <a:gs pos="57000">
                                <a:srgbClr val="505050"/>
                              </a:gs>
                            </a:gsLst>
                          </a:gradFill>
                          <a:latin typeface="+mn-lt"/>
                          <a:ea typeface="Segoe UI" pitchFamily="34" charset="0"/>
                          <a:cs typeface="Segoe UI" pitchFamily="34" charset="0"/>
                        </a:rPr>
                        <a:t> Alternating least squares (ALS)</a:t>
                      </a:r>
                      <a:endParaRPr lang="en-US" sz="1400" kern="1200" dirty="0">
                        <a:ln>
                          <a:solidFill>
                            <a:srgbClr val="FFFFFF">
                              <a:alpha val="0"/>
                            </a:srgbClr>
                          </a:solidFill>
                        </a:ln>
                        <a:gradFill>
                          <a:gsLst>
                            <a:gs pos="85321">
                              <a:srgbClr val="505050"/>
                            </a:gs>
                            <a:gs pos="57000">
                              <a:srgbClr val="505050"/>
                            </a:gs>
                          </a:gsLst>
                        </a:gradFill>
                        <a:latin typeface="+mn-lt"/>
                        <a:ea typeface="Segoe UI" pitchFamily="34" charset="0"/>
                        <a:cs typeface="Segoe UI" pitchFamily="34" charset="0"/>
                      </a:endParaRPr>
                    </a:p>
                  </a:txBody>
                  <a:tcPr anchor="ctr"/>
                </a:tc>
              </a:tr>
            </a:tbl>
          </a:graphicData>
        </a:graphic>
      </p:graphicFrame>
    </p:spTree>
    <p:extLst>
      <p:ext uri="{BB962C8B-B14F-4D97-AF65-F5344CB8AC3E}">
        <p14:creationId xmlns:p14="http://schemas.microsoft.com/office/powerpoint/2010/main" val="2622956955"/>
      </p:ext>
    </p:extLst>
  </p:cSld>
  <p:clrMapOvr>
    <a:masterClrMapping/>
  </p:clrMapOvr>
  <p:transition spd="med">
    <p:fade/>
  </p:transition>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ovie Recommendation – Dataset</a:t>
            </a:r>
            <a:endParaRPr lang="en-US" dirty="0"/>
          </a:p>
        </p:txBody>
      </p:sp>
      <p:sp>
        <p:nvSpPr>
          <p:cNvPr id="3" name="Slide Number Placeholder 2"/>
          <p:cNvSpPr>
            <a:spLocks noGrp="1"/>
          </p:cNvSpPr>
          <p:nvPr>
            <p:ph type="sldNum" sz="quarter" idx="11"/>
          </p:nvPr>
        </p:nvSpPr>
        <p:spPr/>
        <p:txBody>
          <a:bodyPr/>
          <a:lstStyle/>
          <a:p>
            <a:pPr>
              <a:defRPr/>
            </a:pPr>
            <a:fld id="{F8A0AC42-AA1D-4944-8D96-660DE70C7E1B}" type="slidenum">
              <a:rPr lang="en-US" smtClean="0"/>
              <a:pPr>
                <a:defRPr/>
              </a:pPr>
              <a:t>51</a:t>
            </a:fld>
            <a:endParaRPr lang="en-US" dirty="0"/>
          </a:p>
        </p:txBody>
      </p:sp>
      <p:sp>
        <p:nvSpPr>
          <p:cNvPr id="4" name="TextBox 3"/>
          <p:cNvSpPr txBox="1"/>
          <p:nvPr/>
        </p:nvSpPr>
        <p:spPr>
          <a:xfrm>
            <a:off x="480771" y="1214321"/>
            <a:ext cx="9728099" cy="1394228"/>
          </a:xfrm>
          <a:prstGeom prst="rect">
            <a:avLst/>
          </a:prstGeom>
          <a:noFill/>
          <a:ln>
            <a:noFill/>
          </a:ln>
        </p:spPr>
        <p:txBody>
          <a:bodyPr wrap="square">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2"/>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lvl="1">
              <a:spcBef>
                <a:spcPts val="600"/>
              </a:spcBef>
            </a:pPr>
            <a:r>
              <a:rPr lang="en-US" sz="1800" dirty="0" smtClean="0"/>
              <a:t>Will use the publicly available “</a:t>
            </a:r>
            <a:r>
              <a:rPr lang="en-US" sz="1800" i="1" dirty="0" smtClean="0"/>
              <a:t>MovieLens 10</a:t>
            </a:r>
            <a:r>
              <a:rPr lang="en-US" sz="1800" dirty="0" smtClean="0"/>
              <a:t>0k” dataset.</a:t>
            </a:r>
          </a:p>
          <a:p>
            <a:pPr lvl="1">
              <a:spcBef>
                <a:spcPts val="600"/>
              </a:spcBef>
              <a:spcAft>
                <a:spcPts val="0"/>
              </a:spcAft>
            </a:pPr>
            <a:r>
              <a:rPr lang="en-US" sz="1800" dirty="0" smtClean="0"/>
              <a:t>It is a set of 100,000 data points related to ratings given by users to a set of movies</a:t>
            </a:r>
          </a:p>
          <a:p>
            <a:pPr marL="1085850" lvl="2" indent="-171450">
              <a:spcBef>
                <a:spcPts val="600"/>
              </a:spcBef>
              <a:buFont typeface="Arial" panose="020B0604020202020204" pitchFamily="34" charset="0"/>
              <a:buChar char="•"/>
            </a:pPr>
            <a:r>
              <a:rPr lang="en-US" sz="1600" dirty="0" smtClean="0">
                <a:solidFill>
                  <a:schemeClr val="tx1">
                    <a:lumMod val="65000"/>
                    <a:lumOff val="35000"/>
                  </a:schemeClr>
                </a:solidFill>
              </a:rPr>
              <a:t>It also includes movie metadata and user profiles. (not needed for recommendation)</a:t>
            </a:r>
          </a:p>
          <a:p>
            <a:pPr lvl="1">
              <a:spcBef>
                <a:spcPts val="600"/>
              </a:spcBef>
            </a:pPr>
            <a:r>
              <a:rPr lang="en-US" sz="1800" dirty="0"/>
              <a:t>The dataset can be downloaded from </a:t>
            </a:r>
            <a:r>
              <a:rPr lang="en-US" sz="1800" dirty="0">
                <a:hlinkClick r:id="rId3"/>
              </a:rPr>
              <a:t>http://</a:t>
            </a:r>
            <a:r>
              <a:rPr lang="en-US" sz="1800" dirty="0" smtClean="0">
                <a:hlinkClick r:id="rId3"/>
              </a:rPr>
              <a:t>files.grouplens.org/dataset</a:t>
            </a:r>
            <a:r>
              <a:rPr lang="en-US" sz="1800" dirty="0" smtClean="0"/>
              <a:t>   </a:t>
            </a:r>
            <a:endParaRPr lang="en-US" sz="1800" dirty="0"/>
          </a:p>
        </p:txBody>
      </p:sp>
      <p:graphicFrame>
        <p:nvGraphicFramePr>
          <p:cNvPr id="5" name="Table 4"/>
          <p:cNvGraphicFramePr>
            <a:graphicFrameLocks noGrp="1"/>
          </p:cNvGraphicFramePr>
          <p:nvPr>
            <p:extLst>
              <p:ext uri="{D42A27DB-BD31-4B8C-83A1-F6EECF244321}">
                <p14:modId xmlns:p14="http://schemas.microsoft.com/office/powerpoint/2010/main" val="2824820633"/>
              </p:ext>
            </p:extLst>
          </p:nvPr>
        </p:nvGraphicFramePr>
        <p:xfrm>
          <a:off x="1678318" y="3368234"/>
          <a:ext cx="5382232" cy="2225040"/>
        </p:xfrm>
        <a:graphic>
          <a:graphicData uri="http://schemas.openxmlformats.org/drawingml/2006/table">
            <a:tbl>
              <a:tblPr firstRow="1" bandRow="1">
                <a:tableStyleId>{5C22544A-7EE6-4342-B048-85BDC9FD1C3A}</a:tableStyleId>
              </a:tblPr>
              <a:tblGrid>
                <a:gridCol w="1345558"/>
                <a:gridCol w="1345558"/>
                <a:gridCol w="1345558"/>
                <a:gridCol w="1345558"/>
              </a:tblGrid>
              <a:tr h="370840">
                <a:tc>
                  <a:txBody>
                    <a:bodyPr/>
                    <a:lstStyle/>
                    <a:p>
                      <a:pPr algn="ctr"/>
                      <a:r>
                        <a:rPr lang="en-US" sz="1800" b="0" dirty="0" smtClean="0">
                          <a:solidFill>
                            <a:schemeClr val="tx1">
                              <a:lumMod val="65000"/>
                              <a:lumOff val="35000"/>
                            </a:schemeClr>
                          </a:solidFill>
                        </a:rPr>
                        <a:t>196</a:t>
                      </a:r>
                      <a:endParaRPr lang="en-US" sz="1800" b="0" dirty="0">
                        <a:solidFill>
                          <a:schemeClr val="tx1">
                            <a:lumMod val="65000"/>
                            <a:lumOff val="35000"/>
                          </a:schemeClr>
                        </a:solidFill>
                      </a:endParaRPr>
                    </a:p>
                  </a:txBody>
                  <a:tcPr>
                    <a:lnB w="12700" cap="flat" cmpd="sng" algn="ctr">
                      <a:solidFill>
                        <a:schemeClr val="bg1"/>
                      </a:solidFill>
                      <a:prstDash val="solid"/>
                      <a:round/>
                      <a:headEnd type="none" w="med" len="med"/>
                      <a:tailEnd type="none" w="med" len="med"/>
                    </a:lnB>
                    <a:solidFill>
                      <a:schemeClr val="bg2"/>
                    </a:solidFill>
                  </a:tcPr>
                </a:tc>
                <a:tc>
                  <a:txBody>
                    <a:bodyPr/>
                    <a:lstStyle/>
                    <a:p>
                      <a:pPr algn="ctr"/>
                      <a:r>
                        <a:rPr lang="en-US" sz="1800" b="0" dirty="0" smtClean="0">
                          <a:solidFill>
                            <a:schemeClr val="tx1">
                              <a:lumMod val="65000"/>
                              <a:lumOff val="35000"/>
                            </a:schemeClr>
                          </a:solidFill>
                        </a:rPr>
                        <a:t>242</a:t>
                      </a:r>
                      <a:endParaRPr lang="en-US" sz="1800" b="0" dirty="0">
                        <a:solidFill>
                          <a:schemeClr val="tx1">
                            <a:lumMod val="65000"/>
                            <a:lumOff val="35000"/>
                          </a:schemeClr>
                        </a:solidFill>
                      </a:endParaRPr>
                    </a:p>
                  </a:txBody>
                  <a:tcPr>
                    <a:lnB w="12700" cap="flat" cmpd="sng" algn="ctr">
                      <a:solidFill>
                        <a:schemeClr val="bg1"/>
                      </a:solidFill>
                      <a:prstDash val="solid"/>
                      <a:round/>
                      <a:headEnd type="none" w="med" len="med"/>
                      <a:tailEnd type="none" w="med" len="med"/>
                    </a:lnB>
                    <a:solidFill>
                      <a:schemeClr val="bg2"/>
                    </a:solidFill>
                  </a:tcPr>
                </a:tc>
                <a:tc>
                  <a:txBody>
                    <a:bodyPr/>
                    <a:lstStyle/>
                    <a:p>
                      <a:pPr algn="ctr"/>
                      <a:r>
                        <a:rPr lang="en-US" sz="1800" b="0" dirty="0" smtClean="0">
                          <a:solidFill>
                            <a:schemeClr val="tx1">
                              <a:lumMod val="65000"/>
                              <a:lumOff val="35000"/>
                            </a:schemeClr>
                          </a:solidFill>
                        </a:rPr>
                        <a:t>3</a:t>
                      </a:r>
                      <a:endParaRPr lang="en-US" sz="1800" b="0" dirty="0">
                        <a:solidFill>
                          <a:schemeClr val="tx1">
                            <a:lumMod val="65000"/>
                            <a:lumOff val="35000"/>
                          </a:schemeClr>
                        </a:solidFill>
                      </a:endParaRPr>
                    </a:p>
                  </a:txBody>
                  <a:tcPr>
                    <a:lnB w="12700" cap="flat" cmpd="sng" algn="ctr">
                      <a:solidFill>
                        <a:schemeClr val="bg1"/>
                      </a:solidFill>
                      <a:prstDash val="solid"/>
                      <a:round/>
                      <a:headEnd type="none" w="med" len="med"/>
                      <a:tailEnd type="none" w="med" len="med"/>
                    </a:lnB>
                    <a:solidFill>
                      <a:schemeClr val="bg2"/>
                    </a:solidFill>
                  </a:tcPr>
                </a:tc>
                <a:tc>
                  <a:txBody>
                    <a:bodyPr/>
                    <a:lstStyle/>
                    <a:p>
                      <a:r>
                        <a:rPr lang="en-US" sz="1800" b="0" dirty="0" smtClean="0">
                          <a:solidFill>
                            <a:schemeClr val="tx1">
                              <a:lumMod val="65000"/>
                              <a:lumOff val="35000"/>
                            </a:schemeClr>
                          </a:solidFill>
                        </a:rPr>
                        <a:t>881732314</a:t>
                      </a:r>
                      <a:endParaRPr lang="en-US" sz="1800" b="0" dirty="0">
                        <a:solidFill>
                          <a:schemeClr val="tx1">
                            <a:lumMod val="65000"/>
                            <a:lumOff val="35000"/>
                          </a:schemeClr>
                        </a:solidFill>
                      </a:endParaRPr>
                    </a:p>
                  </a:txBody>
                  <a:tcPr>
                    <a:lnB w="12700" cap="flat" cmpd="sng" algn="ctr">
                      <a:solidFill>
                        <a:schemeClr val="bg1"/>
                      </a:solidFill>
                      <a:prstDash val="solid"/>
                      <a:round/>
                      <a:headEnd type="none" w="med" len="med"/>
                      <a:tailEnd type="none" w="med" len="med"/>
                    </a:lnB>
                    <a:solidFill>
                      <a:schemeClr val="bg2"/>
                    </a:solidFill>
                  </a:tcPr>
                </a:tc>
              </a:tr>
              <a:tr h="370840">
                <a:tc>
                  <a:txBody>
                    <a:bodyPr/>
                    <a:lstStyle/>
                    <a:p>
                      <a:pPr algn="ctr"/>
                      <a:r>
                        <a:rPr lang="en-US" sz="1800" dirty="0" smtClean="0">
                          <a:solidFill>
                            <a:schemeClr val="tx1">
                              <a:lumMod val="65000"/>
                              <a:lumOff val="35000"/>
                            </a:schemeClr>
                          </a:solidFill>
                        </a:rPr>
                        <a:t>198</a:t>
                      </a:r>
                      <a:endParaRPr lang="en-US" sz="1800" dirty="0">
                        <a:solidFill>
                          <a:schemeClr val="tx1">
                            <a:lumMod val="65000"/>
                            <a:lumOff val="35000"/>
                          </a:schemeClr>
                        </a:solidFill>
                      </a:endParaRPr>
                    </a:p>
                  </a:txBody>
                  <a:tcPr>
                    <a:lnT w="12700" cap="flat" cmpd="sng" algn="ctr">
                      <a:solidFill>
                        <a:schemeClr val="bg1"/>
                      </a:solidFill>
                      <a:prstDash val="solid"/>
                      <a:round/>
                      <a:headEnd type="none" w="med" len="med"/>
                      <a:tailEnd type="none" w="med" len="med"/>
                    </a:lnT>
                  </a:tcPr>
                </a:tc>
                <a:tc>
                  <a:txBody>
                    <a:bodyPr/>
                    <a:lstStyle/>
                    <a:p>
                      <a:pPr algn="ctr"/>
                      <a:r>
                        <a:rPr lang="en-US" sz="1800" dirty="0" smtClean="0">
                          <a:solidFill>
                            <a:schemeClr val="tx1">
                              <a:lumMod val="65000"/>
                              <a:lumOff val="35000"/>
                            </a:schemeClr>
                          </a:solidFill>
                        </a:rPr>
                        <a:t>302</a:t>
                      </a:r>
                      <a:endParaRPr lang="en-US" sz="1800" dirty="0">
                        <a:solidFill>
                          <a:schemeClr val="tx1">
                            <a:lumMod val="65000"/>
                            <a:lumOff val="35000"/>
                          </a:schemeClr>
                        </a:solidFill>
                      </a:endParaRPr>
                    </a:p>
                  </a:txBody>
                  <a:tcPr>
                    <a:lnT w="12700" cap="flat" cmpd="sng" algn="ctr">
                      <a:solidFill>
                        <a:schemeClr val="bg1"/>
                      </a:solidFill>
                      <a:prstDash val="solid"/>
                      <a:round/>
                      <a:headEnd type="none" w="med" len="med"/>
                      <a:tailEnd type="none" w="med" len="med"/>
                    </a:lnT>
                  </a:tcPr>
                </a:tc>
                <a:tc>
                  <a:txBody>
                    <a:bodyPr/>
                    <a:lstStyle/>
                    <a:p>
                      <a:pPr algn="ctr"/>
                      <a:r>
                        <a:rPr lang="en-US" sz="1800" dirty="0" smtClean="0">
                          <a:solidFill>
                            <a:schemeClr val="tx1">
                              <a:lumMod val="65000"/>
                              <a:lumOff val="35000"/>
                            </a:schemeClr>
                          </a:solidFill>
                        </a:rPr>
                        <a:t>3</a:t>
                      </a:r>
                      <a:endParaRPr lang="en-US" sz="1800" dirty="0">
                        <a:solidFill>
                          <a:schemeClr val="tx1">
                            <a:lumMod val="65000"/>
                            <a:lumOff val="35000"/>
                          </a:schemeClr>
                        </a:solidFill>
                      </a:endParaRPr>
                    </a:p>
                  </a:txBody>
                  <a:tcPr>
                    <a:lnT w="12700" cap="flat" cmpd="sng" algn="ctr">
                      <a:solidFill>
                        <a:schemeClr val="bg1"/>
                      </a:solidFill>
                      <a:prstDash val="solid"/>
                      <a:round/>
                      <a:headEnd type="none" w="med" len="med"/>
                      <a:tailEnd type="none" w="med" len="med"/>
                    </a:lnT>
                  </a:tcPr>
                </a:tc>
                <a:tc>
                  <a:txBody>
                    <a:bodyPr/>
                    <a:lstStyle/>
                    <a:p>
                      <a:pPr marL="0" marR="0" indent="0" algn="l" defTabSz="914367" rtl="0" eaLnBrk="1" fontAlgn="auto" latinLnBrk="0" hangingPunct="1">
                        <a:lnSpc>
                          <a:spcPct val="100000"/>
                        </a:lnSpc>
                        <a:spcBef>
                          <a:spcPts val="0"/>
                        </a:spcBef>
                        <a:spcAft>
                          <a:spcPts val="0"/>
                        </a:spcAft>
                        <a:buClrTx/>
                        <a:buSzTx/>
                        <a:buFontTx/>
                        <a:buNone/>
                        <a:tabLst/>
                        <a:defRPr/>
                      </a:pPr>
                      <a:r>
                        <a:rPr lang="en-US" sz="1800" b="0" dirty="0" smtClean="0">
                          <a:solidFill>
                            <a:schemeClr val="tx1">
                              <a:lumMod val="65000"/>
                              <a:lumOff val="35000"/>
                            </a:schemeClr>
                          </a:solidFill>
                        </a:rPr>
                        <a:t>883894932</a:t>
                      </a:r>
                    </a:p>
                  </a:txBody>
                  <a:tcPr>
                    <a:lnT w="12700" cap="flat" cmpd="sng" algn="ctr">
                      <a:solidFill>
                        <a:schemeClr val="bg1"/>
                      </a:solidFill>
                      <a:prstDash val="solid"/>
                      <a:round/>
                      <a:headEnd type="none" w="med" len="med"/>
                      <a:tailEnd type="none" w="med" len="med"/>
                    </a:lnT>
                  </a:tcPr>
                </a:tc>
              </a:tr>
              <a:tr h="370840">
                <a:tc>
                  <a:txBody>
                    <a:bodyPr/>
                    <a:lstStyle/>
                    <a:p>
                      <a:pPr algn="ctr"/>
                      <a:r>
                        <a:rPr lang="en-US" sz="1800" dirty="0" smtClean="0">
                          <a:solidFill>
                            <a:schemeClr val="tx1">
                              <a:lumMod val="65000"/>
                              <a:lumOff val="35000"/>
                            </a:schemeClr>
                          </a:solidFill>
                        </a:rPr>
                        <a:t>22</a:t>
                      </a:r>
                      <a:endParaRPr lang="en-US" sz="1800" dirty="0">
                        <a:solidFill>
                          <a:schemeClr val="tx1">
                            <a:lumMod val="65000"/>
                            <a:lumOff val="35000"/>
                          </a:schemeClr>
                        </a:solidFill>
                      </a:endParaRPr>
                    </a:p>
                  </a:txBody>
                  <a:tcPr>
                    <a:solidFill>
                      <a:schemeClr val="bg2"/>
                    </a:solidFill>
                  </a:tcPr>
                </a:tc>
                <a:tc>
                  <a:txBody>
                    <a:bodyPr/>
                    <a:lstStyle/>
                    <a:p>
                      <a:pPr algn="ctr"/>
                      <a:r>
                        <a:rPr lang="en-US" sz="1800" dirty="0" smtClean="0">
                          <a:solidFill>
                            <a:schemeClr val="tx1">
                              <a:lumMod val="65000"/>
                              <a:lumOff val="35000"/>
                            </a:schemeClr>
                          </a:solidFill>
                        </a:rPr>
                        <a:t>377</a:t>
                      </a:r>
                      <a:endParaRPr lang="en-US" sz="1800" dirty="0">
                        <a:solidFill>
                          <a:schemeClr val="tx1">
                            <a:lumMod val="65000"/>
                            <a:lumOff val="35000"/>
                          </a:schemeClr>
                        </a:solidFill>
                      </a:endParaRPr>
                    </a:p>
                  </a:txBody>
                  <a:tcPr>
                    <a:solidFill>
                      <a:schemeClr val="bg2"/>
                    </a:solidFill>
                  </a:tcPr>
                </a:tc>
                <a:tc>
                  <a:txBody>
                    <a:bodyPr/>
                    <a:lstStyle/>
                    <a:p>
                      <a:pPr algn="ctr"/>
                      <a:r>
                        <a:rPr lang="en-US" sz="1800" dirty="0" smtClean="0">
                          <a:solidFill>
                            <a:schemeClr val="tx1">
                              <a:lumMod val="65000"/>
                              <a:lumOff val="35000"/>
                            </a:schemeClr>
                          </a:solidFill>
                        </a:rPr>
                        <a:t>1</a:t>
                      </a:r>
                      <a:endParaRPr lang="en-US" sz="1800" dirty="0">
                        <a:solidFill>
                          <a:schemeClr val="tx1">
                            <a:lumMod val="65000"/>
                            <a:lumOff val="35000"/>
                          </a:schemeClr>
                        </a:solidFill>
                      </a:endParaRPr>
                    </a:p>
                  </a:txBody>
                  <a:tcPr>
                    <a:solidFill>
                      <a:schemeClr val="bg2"/>
                    </a:solidFill>
                  </a:tcPr>
                </a:tc>
                <a:tc>
                  <a:txBody>
                    <a:bodyPr/>
                    <a:lstStyle/>
                    <a:p>
                      <a:pPr marL="0" marR="0" indent="0" algn="l" defTabSz="914367" rtl="0" eaLnBrk="1" fontAlgn="auto" latinLnBrk="0" hangingPunct="1">
                        <a:lnSpc>
                          <a:spcPct val="100000"/>
                        </a:lnSpc>
                        <a:spcBef>
                          <a:spcPts val="0"/>
                        </a:spcBef>
                        <a:spcAft>
                          <a:spcPts val="0"/>
                        </a:spcAft>
                        <a:buClrTx/>
                        <a:buSzTx/>
                        <a:buFontTx/>
                        <a:buNone/>
                        <a:tabLst/>
                        <a:defRPr/>
                      </a:pPr>
                      <a:r>
                        <a:rPr lang="en-US" sz="1800" b="0" dirty="0" smtClean="0">
                          <a:solidFill>
                            <a:schemeClr val="tx1">
                              <a:lumMod val="65000"/>
                              <a:lumOff val="35000"/>
                            </a:schemeClr>
                          </a:solidFill>
                        </a:rPr>
                        <a:t>883443433</a:t>
                      </a:r>
                    </a:p>
                  </a:txBody>
                  <a:tcPr>
                    <a:solidFill>
                      <a:schemeClr val="bg2"/>
                    </a:solidFill>
                  </a:tcPr>
                </a:tc>
              </a:tr>
              <a:tr h="370840">
                <a:tc>
                  <a:txBody>
                    <a:bodyPr/>
                    <a:lstStyle/>
                    <a:p>
                      <a:pPr algn="ctr"/>
                      <a:r>
                        <a:rPr lang="en-US" sz="1800" dirty="0" smtClean="0">
                          <a:solidFill>
                            <a:schemeClr val="tx1">
                              <a:lumMod val="65000"/>
                              <a:lumOff val="35000"/>
                            </a:schemeClr>
                          </a:solidFill>
                        </a:rPr>
                        <a:t>145</a:t>
                      </a:r>
                      <a:endParaRPr lang="en-US" sz="1800" dirty="0">
                        <a:solidFill>
                          <a:schemeClr val="tx1">
                            <a:lumMod val="65000"/>
                            <a:lumOff val="35000"/>
                          </a:schemeClr>
                        </a:solidFill>
                      </a:endParaRPr>
                    </a:p>
                  </a:txBody>
                  <a:tcPr/>
                </a:tc>
                <a:tc>
                  <a:txBody>
                    <a:bodyPr/>
                    <a:lstStyle/>
                    <a:p>
                      <a:pPr algn="ctr"/>
                      <a:r>
                        <a:rPr lang="en-US" sz="1800" dirty="0" smtClean="0">
                          <a:solidFill>
                            <a:schemeClr val="tx1">
                              <a:lumMod val="65000"/>
                              <a:lumOff val="35000"/>
                            </a:schemeClr>
                          </a:solidFill>
                        </a:rPr>
                        <a:t>51</a:t>
                      </a:r>
                      <a:endParaRPr lang="en-US" sz="1800" dirty="0">
                        <a:solidFill>
                          <a:schemeClr val="tx1">
                            <a:lumMod val="65000"/>
                            <a:lumOff val="35000"/>
                          </a:schemeClr>
                        </a:solidFill>
                      </a:endParaRPr>
                    </a:p>
                  </a:txBody>
                  <a:tcPr/>
                </a:tc>
                <a:tc>
                  <a:txBody>
                    <a:bodyPr/>
                    <a:lstStyle/>
                    <a:p>
                      <a:pPr algn="ctr"/>
                      <a:r>
                        <a:rPr lang="en-US" sz="1800" dirty="0" smtClean="0">
                          <a:solidFill>
                            <a:schemeClr val="tx1">
                              <a:lumMod val="65000"/>
                              <a:lumOff val="35000"/>
                            </a:schemeClr>
                          </a:solidFill>
                        </a:rPr>
                        <a:t>2</a:t>
                      </a:r>
                      <a:endParaRPr lang="en-US" sz="1800" dirty="0">
                        <a:solidFill>
                          <a:schemeClr val="tx1">
                            <a:lumMod val="65000"/>
                            <a:lumOff val="35000"/>
                          </a:schemeClr>
                        </a:solidFill>
                      </a:endParaRPr>
                    </a:p>
                  </a:txBody>
                  <a:tcPr/>
                </a:tc>
                <a:tc>
                  <a:txBody>
                    <a:bodyPr/>
                    <a:lstStyle/>
                    <a:p>
                      <a:pPr marL="0" marR="0" indent="0" algn="l" defTabSz="914367" rtl="0" eaLnBrk="1" fontAlgn="auto" latinLnBrk="0" hangingPunct="1">
                        <a:lnSpc>
                          <a:spcPct val="100000"/>
                        </a:lnSpc>
                        <a:spcBef>
                          <a:spcPts val="0"/>
                        </a:spcBef>
                        <a:spcAft>
                          <a:spcPts val="0"/>
                        </a:spcAft>
                        <a:buClrTx/>
                        <a:buSzTx/>
                        <a:buFontTx/>
                        <a:buNone/>
                        <a:tabLst/>
                        <a:defRPr/>
                      </a:pPr>
                      <a:r>
                        <a:rPr lang="en-US" sz="1800" b="0" dirty="0" smtClean="0">
                          <a:solidFill>
                            <a:schemeClr val="tx1">
                              <a:lumMod val="65000"/>
                              <a:lumOff val="35000"/>
                            </a:schemeClr>
                          </a:solidFill>
                        </a:rPr>
                        <a:t>886570342</a:t>
                      </a:r>
                    </a:p>
                  </a:txBody>
                  <a:tcPr/>
                </a:tc>
              </a:tr>
              <a:tr h="370840">
                <a:tc>
                  <a:txBody>
                    <a:bodyPr/>
                    <a:lstStyle/>
                    <a:p>
                      <a:pPr algn="ctr"/>
                      <a:r>
                        <a:rPr lang="en-US" sz="1800" dirty="0" smtClean="0">
                          <a:solidFill>
                            <a:schemeClr val="tx1">
                              <a:lumMod val="65000"/>
                              <a:lumOff val="35000"/>
                            </a:schemeClr>
                          </a:solidFill>
                        </a:rPr>
                        <a:t>187</a:t>
                      </a:r>
                      <a:endParaRPr lang="en-US" sz="1800" dirty="0">
                        <a:solidFill>
                          <a:schemeClr val="tx1">
                            <a:lumMod val="65000"/>
                            <a:lumOff val="35000"/>
                          </a:schemeClr>
                        </a:solidFill>
                      </a:endParaRPr>
                    </a:p>
                  </a:txBody>
                  <a:tcPr>
                    <a:solidFill>
                      <a:schemeClr val="bg2"/>
                    </a:solidFill>
                  </a:tcPr>
                </a:tc>
                <a:tc>
                  <a:txBody>
                    <a:bodyPr/>
                    <a:lstStyle/>
                    <a:p>
                      <a:pPr algn="ctr"/>
                      <a:r>
                        <a:rPr lang="en-US" sz="1800" dirty="0" smtClean="0">
                          <a:solidFill>
                            <a:schemeClr val="tx1">
                              <a:lumMod val="65000"/>
                              <a:lumOff val="35000"/>
                            </a:schemeClr>
                          </a:solidFill>
                        </a:rPr>
                        <a:t>356</a:t>
                      </a:r>
                      <a:endParaRPr lang="en-US" sz="1800" dirty="0">
                        <a:solidFill>
                          <a:schemeClr val="tx1">
                            <a:lumMod val="65000"/>
                            <a:lumOff val="35000"/>
                          </a:schemeClr>
                        </a:solidFill>
                      </a:endParaRPr>
                    </a:p>
                  </a:txBody>
                  <a:tcPr>
                    <a:solidFill>
                      <a:schemeClr val="bg2"/>
                    </a:solidFill>
                  </a:tcPr>
                </a:tc>
                <a:tc>
                  <a:txBody>
                    <a:bodyPr/>
                    <a:lstStyle/>
                    <a:p>
                      <a:pPr algn="ctr"/>
                      <a:r>
                        <a:rPr lang="en-US" sz="1800" dirty="0" smtClean="0">
                          <a:solidFill>
                            <a:schemeClr val="tx1">
                              <a:lumMod val="65000"/>
                              <a:lumOff val="35000"/>
                            </a:schemeClr>
                          </a:solidFill>
                        </a:rPr>
                        <a:t>4</a:t>
                      </a:r>
                      <a:endParaRPr lang="en-US" sz="1800" dirty="0">
                        <a:solidFill>
                          <a:schemeClr val="tx1">
                            <a:lumMod val="65000"/>
                            <a:lumOff val="35000"/>
                          </a:schemeClr>
                        </a:solidFill>
                      </a:endParaRPr>
                    </a:p>
                  </a:txBody>
                  <a:tcPr>
                    <a:solidFill>
                      <a:schemeClr val="bg2"/>
                    </a:solidFill>
                  </a:tcPr>
                </a:tc>
                <a:tc>
                  <a:txBody>
                    <a:bodyPr/>
                    <a:lstStyle/>
                    <a:p>
                      <a:pPr marL="0" marR="0" indent="0" algn="l" defTabSz="914367" rtl="0" eaLnBrk="1" fontAlgn="auto" latinLnBrk="0" hangingPunct="1">
                        <a:lnSpc>
                          <a:spcPct val="100000"/>
                        </a:lnSpc>
                        <a:spcBef>
                          <a:spcPts val="0"/>
                        </a:spcBef>
                        <a:spcAft>
                          <a:spcPts val="0"/>
                        </a:spcAft>
                        <a:buClrTx/>
                        <a:buSzTx/>
                        <a:buFontTx/>
                        <a:buNone/>
                        <a:tabLst/>
                        <a:defRPr/>
                      </a:pPr>
                      <a:r>
                        <a:rPr lang="en-US" sz="1800" b="0" dirty="0" smtClean="0">
                          <a:solidFill>
                            <a:schemeClr val="tx1">
                              <a:lumMod val="65000"/>
                              <a:lumOff val="35000"/>
                            </a:schemeClr>
                          </a:solidFill>
                        </a:rPr>
                        <a:t>885634452</a:t>
                      </a:r>
                    </a:p>
                  </a:txBody>
                  <a:tcPr>
                    <a:solidFill>
                      <a:schemeClr val="bg2"/>
                    </a:solidFill>
                  </a:tcPr>
                </a:tc>
              </a:tr>
              <a:tr h="370840">
                <a:tc>
                  <a:txBody>
                    <a:bodyPr/>
                    <a:lstStyle/>
                    <a:p>
                      <a:pPr algn="ctr"/>
                      <a:r>
                        <a:rPr lang="en-US" sz="1800" dirty="0" smtClean="0">
                          <a:solidFill>
                            <a:schemeClr val="tx1">
                              <a:lumMod val="65000"/>
                              <a:lumOff val="35000"/>
                            </a:schemeClr>
                          </a:solidFill>
                        </a:rPr>
                        <a:t>166</a:t>
                      </a:r>
                      <a:endParaRPr lang="en-US" sz="1800" dirty="0">
                        <a:solidFill>
                          <a:schemeClr val="tx1">
                            <a:lumMod val="65000"/>
                            <a:lumOff val="35000"/>
                          </a:schemeClr>
                        </a:solidFill>
                      </a:endParaRPr>
                    </a:p>
                  </a:txBody>
                  <a:tcPr/>
                </a:tc>
                <a:tc>
                  <a:txBody>
                    <a:bodyPr/>
                    <a:lstStyle/>
                    <a:p>
                      <a:pPr algn="ctr"/>
                      <a:r>
                        <a:rPr lang="en-US" sz="1800" dirty="0" smtClean="0">
                          <a:solidFill>
                            <a:schemeClr val="tx1">
                              <a:lumMod val="65000"/>
                              <a:lumOff val="35000"/>
                            </a:schemeClr>
                          </a:solidFill>
                        </a:rPr>
                        <a:t>63</a:t>
                      </a:r>
                      <a:endParaRPr lang="en-US" sz="1800" dirty="0">
                        <a:solidFill>
                          <a:schemeClr val="tx1">
                            <a:lumMod val="65000"/>
                            <a:lumOff val="35000"/>
                          </a:schemeClr>
                        </a:solidFill>
                      </a:endParaRPr>
                    </a:p>
                  </a:txBody>
                  <a:tcPr/>
                </a:tc>
                <a:tc>
                  <a:txBody>
                    <a:bodyPr/>
                    <a:lstStyle/>
                    <a:p>
                      <a:pPr algn="ctr"/>
                      <a:r>
                        <a:rPr lang="en-US" sz="1800" dirty="0" smtClean="0">
                          <a:solidFill>
                            <a:schemeClr val="tx1">
                              <a:lumMod val="65000"/>
                              <a:lumOff val="35000"/>
                            </a:schemeClr>
                          </a:solidFill>
                        </a:rPr>
                        <a:t>5</a:t>
                      </a:r>
                      <a:endParaRPr lang="en-US" sz="1800" dirty="0">
                        <a:solidFill>
                          <a:schemeClr val="tx1">
                            <a:lumMod val="65000"/>
                            <a:lumOff val="35000"/>
                          </a:schemeClr>
                        </a:solidFill>
                      </a:endParaRPr>
                    </a:p>
                  </a:txBody>
                  <a:tcPr/>
                </a:tc>
                <a:tc>
                  <a:txBody>
                    <a:bodyPr/>
                    <a:lstStyle/>
                    <a:p>
                      <a:pPr marL="0" marR="0" indent="0" algn="l" defTabSz="914367" rtl="0" eaLnBrk="1" fontAlgn="auto" latinLnBrk="0" hangingPunct="1">
                        <a:lnSpc>
                          <a:spcPct val="100000"/>
                        </a:lnSpc>
                        <a:spcBef>
                          <a:spcPts val="0"/>
                        </a:spcBef>
                        <a:spcAft>
                          <a:spcPts val="0"/>
                        </a:spcAft>
                        <a:buClrTx/>
                        <a:buSzTx/>
                        <a:buFontTx/>
                        <a:buNone/>
                        <a:tabLst/>
                        <a:defRPr/>
                      </a:pPr>
                      <a:r>
                        <a:rPr lang="en-US" sz="1800" b="0" dirty="0" smtClean="0">
                          <a:solidFill>
                            <a:schemeClr val="tx1">
                              <a:lumMod val="65000"/>
                              <a:lumOff val="35000"/>
                            </a:schemeClr>
                          </a:solidFill>
                        </a:rPr>
                        <a:t>886554545</a:t>
                      </a:r>
                    </a:p>
                  </a:txBody>
                  <a:tcPr/>
                </a:tc>
              </a:tr>
            </a:tbl>
          </a:graphicData>
        </a:graphic>
      </p:graphicFrame>
      <p:sp>
        <p:nvSpPr>
          <p:cNvPr id="6" name="TextBox 5"/>
          <p:cNvSpPr txBox="1"/>
          <p:nvPr/>
        </p:nvSpPr>
        <p:spPr>
          <a:xfrm>
            <a:off x="2608150" y="2919118"/>
            <a:ext cx="3765637" cy="437102"/>
          </a:xfrm>
          <a:prstGeom prst="rect">
            <a:avLst/>
          </a:prstGeom>
          <a:solidFill>
            <a:schemeClr val="bg1">
              <a:lumMod val="95000"/>
            </a:schemeClr>
          </a:solidFill>
        </p:spPr>
        <p:txBody>
          <a:bodyPr wrap="none" lIns="182880" tIns="146304" rIns="182880" bIns="146304" rtlCol="0" anchor="ctr">
            <a:noAutofit/>
          </a:bodyPr>
          <a:lstStyle/>
          <a:p>
            <a:pPr>
              <a:lnSpc>
                <a:spcPct val="90000"/>
              </a:lnSpc>
              <a:spcAft>
                <a:spcPts val="600"/>
              </a:spcAft>
            </a:pPr>
            <a:r>
              <a:rPr lang="en-US" sz="2400" dirty="0" smtClean="0">
                <a:solidFill>
                  <a:schemeClr val="tx1">
                    <a:lumMod val="65000"/>
                    <a:lumOff val="35000"/>
                  </a:schemeClr>
                </a:solidFill>
              </a:rPr>
              <a:t>User Ratings Data (u.data)</a:t>
            </a:r>
          </a:p>
        </p:txBody>
      </p:sp>
      <p:sp>
        <p:nvSpPr>
          <p:cNvPr id="7" name="TextBox 6"/>
          <p:cNvSpPr txBox="1"/>
          <p:nvPr/>
        </p:nvSpPr>
        <p:spPr>
          <a:xfrm>
            <a:off x="1755487" y="6009765"/>
            <a:ext cx="1354238" cy="368172"/>
          </a:xfrm>
          <a:prstGeom prst="rect">
            <a:avLst/>
          </a:prstGeom>
          <a:noFill/>
        </p:spPr>
        <p:txBody>
          <a:bodyPr wrap="none" lIns="182880" tIns="146304" rIns="182880" bIns="146304" rtlCol="0" anchor="ctr">
            <a:noAutofit/>
          </a:bodyPr>
          <a:lstStyle/>
          <a:p>
            <a:pPr>
              <a:lnSpc>
                <a:spcPct val="90000"/>
              </a:lnSpc>
              <a:spcAft>
                <a:spcPts val="600"/>
              </a:spcAft>
            </a:pPr>
            <a:r>
              <a:rPr lang="en-US" sz="2000" dirty="0" smtClean="0">
                <a:solidFill>
                  <a:schemeClr val="tx1">
                    <a:lumMod val="65000"/>
                    <a:lumOff val="35000"/>
                  </a:schemeClr>
                </a:solidFill>
              </a:rPr>
              <a:t>User Id</a:t>
            </a:r>
          </a:p>
        </p:txBody>
      </p:sp>
      <p:sp>
        <p:nvSpPr>
          <p:cNvPr id="8" name="TextBox 7"/>
          <p:cNvSpPr txBox="1"/>
          <p:nvPr/>
        </p:nvSpPr>
        <p:spPr>
          <a:xfrm>
            <a:off x="3007482" y="6009765"/>
            <a:ext cx="1354238" cy="368172"/>
          </a:xfrm>
          <a:prstGeom prst="rect">
            <a:avLst/>
          </a:prstGeom>
          <a:noFill/>
        </p:spPr>
        <p:txBody>
          <a:bodyPr wrap="none" lIns="182880" tIns="146304" rIns="182880" bIns="146304" rtlCol="0" anchor="ctr">
            <a:noAutofit/>
          </a:bodyPr>
          <a:lstStyle/>
          <a:p>
            <a:pPr>
              <a:lnSpc>
                <a:spcPct val="90000"/>
              </a:lnSpc>
              <a:spcAft>
                <a:spcPts val="600"/>
              </a:spcAft>
            </a:pPr>
            <a:r>
              <a:rPr lang="en-US" sz="2000" dirty="0" smtClean="0">
                <a:solidFill>
                  <a:schemeClr val="tx1">
                    <a:lumMod val="65000"/>
                    <a:lumOff val="35000"/>
                  </a:schemeClr>
                </a:solidFill>
              </a:rPr>
              <a:t>Movie Id</a:t>
            </a:r>
          </a:p>
        </p:txBody>
      </p:sp>
      <p:sp>
        <p:nvSpPr>
          <p:cNvPr id="9" name="TextBox 8"/>
          <p:cNvSpPr txBox="1"/>
          <p:nvPr/>
        </p:nvSpPr>
        <p:spPr>
          <a:xfrm>
            <a:off x="4361720" y="6009765"/>
            <a:ext cx="1354238" cy="514791"/>
          </a:xfrm>
          <a:prstGeom prst="rect">
            <a:avLst/>
          </a:prstGeom>
          <a:noFill/>
        </p:spPr>
        <p:txBody>
          <a:bodyPr wrap="none" lIns="182880" tIns="146304" rIns="182880" bIns="146304" rtlCol="0" anchor="ctr">
            <a:noAutofit/>
          </a:bodyPr>
          <a:lstStyle/>
          <a:p>
            <a:pPr algn="ctr">
              <a:lnSpc>
                <a:spcPct val="90000"/>
              </a:lnSpc>
              <a:spcAft>
                <a:spcPts val="600"/>
              </a:spcAft>
            </a:pPr>
            <a:r>
              <a:rPr lang="en-US" sz="2000" dirty="0" smtClean="0">
                <a:solidFill>
                  <a:schemeClr val="tx1">
                    <a:lumMod val="65000"/>
                    <a:lumOff val="35000"/>
                  </a:schemeClr>
                </a:solidFill>
              </a:rPr>
              <a:t>User’s</a:t>
            </a:r>
            <a:br>
              <a:rPr lang="en-US" sz="2000" dirty="0" smtClean="0">
                <a:solidFill>
                  <a:schemeClr val="tx1">
                    <a:lumMod val="65000"/>
                    <a:lumOff val="35000"/>
                  </a:schemeClr>
                </a:solidFill>
              </a:rPr>
            </a:br>
            <a:r>
              <a:rPr lang="en-US" sz="2000" dirty="0" smtClean="0">
                <a:solidFill>
                  <a:schemeClr val="tx1">
                    <a:lumMod val="65000"/>
                    <a:lumOff val="35000"/>
                  </a:schemeClr>
                </a:solidFill>
              </a:rPr>
              <a:t>Rating</a:t>
            </a:r>
          </a:p>
        </p:txBody>
      </p:sp>
      <p:sp>
        <p:nvSpPr>
          <p:cNvPr id="10" name="TextBox 9"/>
          <p:cNvSpPr txBox="1"/>
          <p:nvPr/>
        </p:nvSpPr>
        <p:spPr>
          <a:xfrm>
            <a:off x="5798905" y="6009766"/>
            <a:ext cx="1354238" cy="368172"/>
          </a:xfrm>
          <a:prstGeom prst="rect">
            <a:avLst/>
          </a:prstGeom>
          <a:noFill/>
        </p:spPr>
        <p:txBody>
          <a:bodyPr wrap="none" lIns="182880" tIns="146304" rIns="182880" bIns="146304" rtlCol="0" anchor="ctr">
            <a:noAutofit/>
          </a:bodyPr>
          <a:lstStyle/>
          <a:p>
            <a:pPr algn="ctr">
              <a:lnSpc>
                <a:spcPct val="90000"/>
              </a:lnSpc>
              <a:spcAft>
                <a:spcPts val="600"/>
              </a:spcAft>
            </a:pPr>
            <a:r>
              <a:rPr lang="en-US" sz="2000" dirty="0" smtClean="0">
                <a:solidFill>
                  <a:schemeClr val="tx1">
                    <a:lumMod val="65000"/>
                    <a:lumOff val="35000"/>
                  </a:schemeClr>
                </a:solidFill>
              </a:rPr>
              <a:t>Timestamp</a:t>
            </a:r>
          </a:p>
        </p:txBody>
      </p:sp>
      <p:cxnSp>
        <p:nvCxnSpPr>
          <p:cNvPr id="12" name="Straight Arrow Connector 11"/>
          <p:cNvCxnSpPr/>
          <p:nvPr/>
        </p:nvCxnSpPr>
        <p:spPr>
          <a:xfrm flipV="1">
            <a:off x="2432606" y="5615075"/>
            <a:ext cx="0" cy="349745"/>
          </a:xfrm>
          <a:prstGeom prst="straightConnector1">
            <a:avLst/>
          </a:prstGeom>
          <a:ln w="38100">
            <a:solidFill>
              <a:schemeClr val="tx1">
                <a:lumMod val="50000"/>
                <a:lumOff val="50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p:cNvCxnSpPr/>
          <p:nvPr/>
        </p:nvCxnSpPr>
        <p:spPr>
          <a:xfrm flipV="1">
            <a:off x="3684601" y="5615075"/>
            <a:ext cx="0" cy="349745"/>
          </a:xfrm>
          <a:prstGeom prst="straightConnector1">
            <a:avLst/>
          </a:prstGeom>
          <a:ln w="38100">
            <a:solidFill>
              <a:schemeClr val="tx1">
                <a:lumMod val="50000"/>
                <a:lumOff val="50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p:cNvCxnSpPr/>
          <p:nvPr/>
        </p:nvCxnSpPr>
        <p:spPr>
          <a:xfrm flipV="1">
            <a:off x="5033051" y="5615075"/>
            <a:ext cx="0" cy="349745"/>
          </a:xfrm>
          <a:prstGeom prst="straightConnector1">
            <a:avLst/>
          </a:prstGeom>
          <a:ln w="38100">
            <a:solidFill>
              <a:schemeClr val="tx1">
                <a:lumMod val="50000"/>
                <a:lumOff val="50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p:nvPr/>
        </p:nvCxnSpPr>
        <p:spPr>
          <a:xfrm flipV="1">
            <a:off x="6327487" y="5615075"/>
            <a:ext cx="0" cy="349745"/>
          </a:xfrm>
          <a:prstGeom prst="straightConnector1">
            <a:avLst/>
          </a:prstGeom>
          <a:ln w="38100">
            <a:solidFill>
              <a:schemeClr val="tx1">
                <a:lumMod val="50000"/>
                <a:lumOff val="50000"/>
              </a:schemeClr>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7" name="TextBox 16"/>
          <p:cNvSpPr txBox="1"/>
          <p:nvPr/>
        </p:nvSpPr>
        <p:spPr>
          <a:xfrm>
            <a:off x="7207995" y="3137669"/>
            <a:ext cx="4436968" cy="3046988"/>
          </a:xfrm>
          <a:prstGeom prst="rect">
            <a:avLst/>
          </a:prstGeom>
          <a:noFill/>
          <a:ln>
            <a:noFill/>
          </a:ln>
        </p:spPr>
        <p:txBody>
          <a:bodyPr wrap="square">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2"/>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lvl="1">
              <a:spcBef>
                <a:spcPts val="600"/>
              </a:spcBef>
            </a:pPr>
            <a:r>
              <a:rPr lang="en-US" sz="1800" dirty="0" smtClean="0"/>
              <a:t>Each user has </a:t>
            </a:r>
            <a:r>
              <a:rPr lang="en-US" sz="1800" dirty="0"/>
              <a:t>rated several movies </a:t>
            </a:r>
            <a:r>
              <a:rPr lang="en-US" sz="1800" dirty="0" smtClean="0"/>
              <a:t>and at least one movie</a:t>
            </a:r>
            <a:endParaRPr lang="en-US" sz="1800" dirty="0"/>
          </a:p>
          <a:p>
            <a:pPr lvl="1">
              <a:spcBef>
                <a:spcPts val="600"/>
              </a:spcBef>
            </a:pPr>
            <a:r>
              <a:rPr lang="en-US" sz="1800" dirty="0" smtClean="0"/>
              <a:t>The ratings vary from 1 to 5</a:t>
            </a:r>
          </a:p>
          <a:p>
            <a:pPr lvl="1">
              <a:spcBef>
                <a:spcPts val="600"/>
              </a:spcBef>
            </a:pPr>
            <a:r>
              <a:rPr lang="en-US" sz="1800" dirty="0" smtClean="0"/>
              <a:t>The fields in the file (u.data) are tab separated.</a:t>
            </a:r>
          </a:p>
          <a:p>
            <a:pPr lvl="1">
              <a:spcBef>
                <a:spcPts val="600"/>
              </a:spcBef>
            </a:pPr>
            <a:r>
              <a:rPr lang="en-US" sz="1800" dirty="0" smtClean="0"/>
              <a:t>Users and movies are identified by Id. More details about the movie and profile of the users are in the other files (u.item and u.user) respectively.</a:t>
            </a:r>
          </a:p>
        </p:txBody>
      </p:sp>
    </p:spTree>
    <p:extLst>
      <p:ext uri="{BB962C8B-B14F-4D97-AF65-F5344CB8AC3E}">
        <p14:creationId xmlns:p14="http://schemas.microsoft.com/office/powerpoint/2010/main" val="3771253466"/>
      </p:ext>
    </p:extLst>
  </p:cSld>
  <p:clrMapOvr>
    <a:masterClrMapping/>
  </p:clrMapOvr>
  <p:transition spd="med">
    <p:fade/>
  </p:transition>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rain the Model</a:t>
            </a:r>
            <a:endParaRPr lang="en-US" dirty="0"/>
          </a:p>
        </p:txBody>
      </p:sp>
      <p:sp>
        <p:nvSpPr>
          <p:cNvPr id="3" name="Slide Number Placeholder 2"/>
          <p:cNvSpPr>
            <a:spLocks noGrp="1"/>
          </p:cNvSpPr>
          <p:nvPr>
            <p:ph type="sldNum" sz="quarter" idx="11"/>
          </p:nvPr>
        </p:nvSpPr>
        <p:spPr/>
        <p:txBody>
          <a:bodyPr/>
          <a:lstStyle/>
          <a:p>
            <a:pPr>
              <a:defRPr/>
            </a:pPr>
            <a:fld id="{F8A0AC42-AA1D-4944-8D96-660DE70C7E1B}" type="slidenum">
              <a:rPr lang="en-US" smtClean="0"/>
              <a:pPr>
                <a:defRPr/>
              </a:pPr>
              <a:t>52</a:t>
            </a:fld>
            <a:endParaRPr lang="en-US" dirty="0"/>
          </a:p>
        </p:txBody>
      </p:sp>
      <p:sp>
        <p:nvSpPr>
          <p:cNvPr id="18" name="TextBox 17"/>
          <p:cNvSpPr txBox="1"/>
          <p:nvPr/>
        </p:nvSpPr>
        <p:spPr>
          <a:xfrm>
            <a:off x="471565" y="1201726"/>
            <a:ext cx="10895600" cy="4952638"/>
          </a:xfrm>
          <a:prstGeom prst="rect">
            <a:avLst/>
          </a:prstGeom>
          <a:solidFill>
            <a:schemeClr val="bg1">
              <a:lumMod val="95000"/>
            </a:schemeClr>
          </a:solidFill>
          <a:ln>
            <a:noFill/>
          </a:ln>
        </p:spPr>
        <p:txBody>
          <a:bodyPr wrap="square">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2"/>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93" lvl="1" indent="0">
              <a:lnSpc>
                <a:spcPts val="2200"/>
              </a:lnSpc>
              <a:spcBef>
                <a:spcPts val="600"/>
              </a:spcBef>
              <a:spcAft>
                <a:spcPts val="0"/>
              </a:spcAft>
              <a:buNone/>
            </a:pPr>
            <a:r>
              <a:rPr lang="en-US" sz="1500" dirty="0" smtClean="0">
                <a:solidFill>
                  <a:schemeClr val="tx1">
                    <a:lumMod val="65000"/>
                    <a:lumOff val="35000"/>
                  </a:schemeClr>
                </a:solidFill>
              </a:rPr>
              <a:t>// first read the ‘u.data’ file</a:t>
            </a:r>
          </a:p>
          <a:p>
            <a:pPr marL="110493" lvl="1" indent="0">
              <a:lnSpc>
                <a:spcPts val="2200"/>
              </a:lnSpc>
              <a:spcBef>
                <a:spcPts val="0"/>
              </a:spcBef>
              <a:spcAft>
                <a:spcPts val="0"/>
              </a:spcAft>
              <a:buNone/>
            </a:pPr>
            <a:r>
              <a:rPr lang="en-US" sz="1500" dirty="0">
                <a:solidFill>
                  <a:schemeClr val="accent4"/>
                </a:solidFill>
                <a:latin typeface="Arial Narrow" panose="020B0606020202030204" pitchFamily="34" charset="0"/>
              </a:rPr>
              <a:t>&gt;&gt;&gt; </a:t>
            </a:r>
            <a:r>
              <a:rPr lang="en-US" sz="1500" dirty="0" smtClean="0">
                <a:solidFill>
                  <a:schemeClr val="accent2"/>
                </a:solidFill>
              </a:rPr>
              <a:t>val</a:t>
            </a:r>
            <a:r>
              <a:rPr lang="en-US" sz="1500" dirty="0" smtClean="0">
                <a:solidFill>
                  <a:schemeClr val="accent4">
                    <a:lumMod val="75000"/>
                  </a:schemeClr>
                </a:solidFill>
              </a:rPr>
              <a:t> rawData = sc.textFile(“/PATH/u.data”)</a:t>
            </a:r>
          </a:p>
          <a:p>
            <a:pPr marL="110493" lvl="1" indent="0">
              <a:lnSpc>
                <a:spcPts val="2200"/>
              </a:lnSpc>
              <a:spcBef>
                <a:spcPts val="600"/>
              </a:spcBef>
              <a:spcAft>
                <a:spcPts val="0"/>
              </a:spcAft>
              <a:buNone/>
            </a:pPr>
            <a:r>
              <a:rPr lang="en-US" sz="1500" dirty="0" smtClean="0">
                <a:solidFill>
                  <a:schemeClr val="tx1">
                    <a:lumMod val="65000"/>
                    <a:lumOff val="35000"/>
                  </a:schemeClr>
                </a:solidFill>
              </a:rPr>
              <a:t>// extract the first 3 fields as we don’t need the timestamp field</a:t>
            </a:r>
            <a:r>
              <a:rPr lang="en-US" sz="1500" dirty="0">
                <a:solidFill>
                  <a:schemeClr val="accent4">
                    <a:lumMod val="75000"/>
                  </a:schemeClr>
                </a:solidFill>
              </a:rPr>
              <a:t/>
            </a:r>
            <a:br>
              <a:rPr lang="en-US" sz="1500" dirty="0">
                <a:solidFill>
                  <a:schemeClr val="accent4">
                    <a:lumMod val="75000"/>
                  </a:schemeClr>
                </a:solidFill>
              </a:rPr>
            </a:br>
            <a:r>
              <a:rPr lang="en-US" sz="1500" dirty="0" smtClean="0">
                <a:solidFill>
                  <a:schemeClr val="accent4"/>
                </a:solidFill>
                <a:latin typeface="Arial Narrow" panose="020B0606020202030204" pitchFamily="34" charset="0"/>
              </a:rPr>
              <a:t>&gt;&gt;&gt;</a:t>
            </a:r>
            <a:r>
              <a:rPr lang="en-US" sz="1500" dirty="0" smtClean="0">
                <a:solidFill>
                  <a:schemeClr val="accent4"/>
                </a:solidFill>
              </a:rPr>
              <a:t> </a:t>
            </a:r>
            <a:r>
              <a:rPr lang="en-US" sz="1500" dirty="0" smtClean="0">
                <a:solidFill>
                  <a:schemeClr val="accent2"/>
                </a:solidFill>
              </a:rPr>
              <a:t>val</a:t>
            </a:r>
            <a:r>
              <a:rPr lang="en-US" sz="1500" dirty="0" smtClean="0">
                <a:solidFill>
                  <a:schemeClr val="accent4"/>
                </a:solidFill>
              </a:rPr>
              <a:t> </a:t>
            </a:r>
            <a:r>
              <a:rPr lang="en-US" sz="1500" dirty="0" smtClean="0">
                <a:solidFill>
                  <a:schemeClr val="accent4">
                    <a:lumMod val="75000"/>
                  </a:schemeClr>
                </a:solidFill>
              </a:rPr>
              <a:t>rawRatings = rawData.map(_.split(“\t”).take(3))</a:t>
            </a:r>
          </a:p>
          <a:p>
            <a:pPr marL="110493" lvl="1" indent="0">
              <a:lnSpc>
                <a:spcPts val="2200"/>
              </a:lnSpc>
              <a:spcBef>
                <a:spcPts val="600"/>
              </a:spcBef>
              <a:spcAft>
                <a:spcPts val="0"/>
              </a:spcAft>
              <a:buNone/>
            </a:pPr>
            <a:r>
              <a:rPr lang="en-US" sz="1500" dirty="0" smtClean="0">
                <a:solidFill>
                  <a:schemeClr val="tx1">
                    <a:lumMod val="65000"/>
                    <a:lumOff val="35000"/>
                  </a:schemeClr>
                </a:solidFill>
              </a:rPr>
              <a:t>//import the ALS model from MLlib</a:t>
            </a:r>
            <a:endParaRPr lang="en-US" sz="1500" dirty="0">
              <a:solidFill>
                <a:schemeClr val="tx1">
                  <a:lumMod val="65000"/>
                  <a:lumOff val="35000"/>
                </a:schemeClr>
              </a:solidFill>
            </a:endParaRPr>
          </a:p>
          <a:p>
            <a:pPr marL="110493" lvl="1" indent="0">
              <a:lnSpc>
                <a:spcPts val="2200"/>
              </a:lnSpc>
              <a:spcBef>
                <a:spcPts val="0"/>
              </a:spcBef>
              <a:buNone/>
            </a:pPr>
            <a:r>
              <a:rPr lang="en-US" sz="1500" dirty="0" smtClean="0">
                <a:solidFill>
                  <a:schemeClr val="accent4"/>
                </a:solidFill>
                <a:latin typeface="Arial Narrow" panose="020B0606020202030204" pitchFamily="34" charset="0"/>
              </a:rPr>
              <a:t>&gt;&gt;&gt;</a:t>
            </a:r>
            <a:r>
              <a:rPr lang="en-US" sz="1500" dirty="0" smtClean="0">
                <a:solidFill>
                  <a:schemeClr val="accent4"/>
                </a:solidFill>
              </a:rPr>
              <a:t> </a:t>
            </a:r>
            <a:r>
              <a:rPr lang="en-US" sz="1500" dirty="0" smtClean="0">
                <a:solidFill>
                  <a:schemeClr val="accent4">
                    <a:lumMod val="75000"/>
                  </a:schemeClr>
                </a:solidFill>
              </a:rPr>
              <a:t>import org.apache.spark.mllib.recommendation.ALS</a:t>
            </a:r>
          </a:p>
          <a:p>
            <a:pPr marL="110493" lvl="1" indent="0">
              <a:lnSpc>
                <a:spcPts val="2100"/>
              </a:lnSpc>
              <a:spcBef>
                <a:spcPts val="0"/>
              </a:spcBef>
              <a:spcAft>
                <a:spcPts val="0"/>
              </a:spcAft>
              <a:buNone/>
            </a:pPr>
            <a:r>
              <a:rPr lang="en-US" sz="1500" dirty="0" smtClean="0">
                <a:solidFill>
                  <a:schemeClr val="tx1">
                    <a:lumMod val="65000"/>
                    <a:lumOff val="35000"/>
                  </a:schemeClr>
                </a:solidFill>
              </a:rPr>
              <a:t>//call the </a:t>
            </a:r>
            <a:r>
              <a:rPr lang="en-US" sz="1500" b="1" dirty="0" smtClean="0">
                <a:solidFill>
                  <a:schemeClr val="tx1">
                    <a:lumMod val="65000"/>
                    <a:lumOff val="35000"/>
                  </a:schemeClr>
                </a:solidFill>
              </a:rPr>
              <a:t>train </a:t>
            </a:r>
            <a:r>
              <a:rPr lang="en-US" sz="1500" dirty="0" smtClean="0">
                <a:solidFill>
                  <a:schemeClr val="tx1">
                    <a:lumMod val="65000"/>
                    <a:lumOff val="35000"/>
                  </a:schemeClr>
                </a:solidFill>
              </a:rPr>
              <a:t>method on the </a:t>
            </a:r>
            <a:r>
              <a:rPr lang="en-US" sz="1500" i="1" dirty="0" smtClean="0">
                <a:solidFill>
                  <a:schemeClr val="tx1">
                    <a:lumMod val="65000"/>
                    <a:lumOff val="35000"/>
                  </a:schemeClr>
                </a:solidFill>
              </a:rPr>
              <a:t>ALS</a:t>
            </a:r>
            <a:r>
              <a:rPr lang="en-US" sz="1500" dirty="0" smtClean="0">
                <a:solidFill>
                  <a:schemeClr val="tx1">
                    <a:lumMod val="65000"/>
                    <a:lumOff val="35000"/>
                  </a:schemeClr>
                </a:solidFill>
              </a:rPr>
              <a:t> model. The train method needs a RDD that consists of </a:t>
            </a:r>
            <a:r>
              <a:rPr lang="en-US" sz="1500" i="1" dirty="0" smtClean="0">
                <a:solidFill>
                  <a:schemeClr val="tx1">
                    <a:lumMod val="65000"/>
                    <a:lumOff val="35000"/>
                  </a:schemeClr>
                </a:solidFill>
              </a:rPr>
              <a:t>Ratings</a:t>
            </a:r>
            <a:r>
              <a:rPr lang="en-US" sz="1500" dirty="0" smtClean="0">
                <a:solidFill>
                  <a:schemeClr val="tx1">
                    <a:lumMod val="65000"/>
                    <a:lumOff val="35000"/>
                  </a:schemeClr>
                </a:solidFill>
              </a:rPr>
              <a:t> records.</a:t>
            </a:r>
          </a:p>
          <a:p>
            <a:pPr marL="110493" lvl="1" indent="0">
              <a:lnSpc>
                <a:spcPts val="2100"/>
              </a:lnSpc>
              <a:spcBef>
                <a:spcPts val="0"/>
              </a:spcBef>
              <a:spcAft>
                <a:spcPts val="0"/>
              </a:spcAft>
              <a:buNone/>
            </a:pPr>
            <a:r>
              <a:rPr lang="en-US" sz="1500" dirty="0" smtClean="0">
                <a:solidFill>
                  <a:schemeClr val="tx1">
                    <a:lumMod val="65000"/>
                    <a:lumOff val="35000"/>
                  </a:schemeClr>
                </a:solidFill>
              </a:rPr>
              <a:t>// A </a:t>
            </a:r>
            <a:r>
              <a:rPr lang="en-US" sz="1500" i="1" dirty="0" smtClean="0">
                <a:solidFill>
                  <a:schemeClr val="tx1">
                    <a:lumMod val="65000"/>
                    <a:lumOff val="35000"/>
                  </a:schemeClr>
                </a:solidFill>
              </a:rPr>
              <a:t>Rating</a:t>
            </a:r>
            <a:r>
              <a:rPr lang="en-US" sz="1500" dirty="0" smtClean="0">
                <a:solidFill>
                  <a:schemeClr val="tx1">
                    <a:lumMod val="65000"/>
                    <a:lumOff val="35000"/>
                  </a:schemeClr>
                </a:solidFill>
              </a:rPr>
              <a:t> class is a wrapper around </a:t>
            </a:r>
            <a:r>
              <a:rPr lang="en-US" sz="1500" i="1" dirty="0" smtClean="0">
                <a:solidFill>
                  <a:schemeClr val="tx1">
                    <a:lumMod val="65000"/>
                    <a:lumOff val="35000"/>
                  </a:schemeClr>
                </a:solidFill>
              </a:rPr>
              <a:t>user id</a:t>
            </a:r>
            <a:r>
              <a:rPr lang="en-US" sz="1500" dirty="0" smtClean="0">
                <a:solidFill>
                  <a:schemeClr val="tx1">
                    <a:lumMod val="65000"/>
                    <a:lumOff val="35000"/>
                  </a:schemeClr>
                </a:solidFill>
              </a:rPr>
              <a:t>, </a:t>
            </a:r>
            <a:r>
              <a:rPr lang="en-US" sz="1500" i="1" dirty="0" smtClean="0">
                <a:solidFill>
                  <a:schemeClr val="tx1">
                    <a:lumMod val="65000"/>
                    <a:lumOff val="35000"/>
                  </a:schemeClr>
                </a:solidFill>
              </a:rPr>
              <a:t>movie id </a:t>
            </a:r>
            <a:r>
              <a:rPr lang="en-US" sz="1500" dirty="0" smtClean="0">
                <a:solidFill>
                  <a:schemeClr val="tx1">
                    <a:lumMod val="65000"/>
                    <a:lumOff val="35000"/>
                  </a:schemeClr>
                </a:solidFill>
              </a:rPr>
              <a:t>and the </a:t>
            </a:r>
            <a:r>
              <a:rPr lang="en-US" sz="1500" i="1" dirty="0" smtClean="0">
                <a:solidFill>
                  <a:schemeClr val="tx1">
                    <a:lumMod val="65000"/>
                    <a:lumOff val="35000"/>
                  </a:schemeClr>
                </a:solidFill>
              </a:rPr>
              <a:t>rating</a:t>
            </a:r>
            <a:r>
              <a:rPr lang="en-US" sz="1500" dirty="0" smtClean="0">
                <a:solidFill>
                  <a:schemeClr val="tx1">
                    <a:lumMod val="65000"/>
                    <a:lumOff val="35000"/>
                  </a:schemeClr>
                </a:solidFill>
              </a:rPr>
              <a:t>s arguments. </a:t>
            </a:r>
            <a:endParaRPr lang="en-US" sz="1500" dirty="0">
              <a:solidFill>
                <a:schemeClr val="tx1">
                  <a:lumMod val="65000"/>
                  <a:lumOff val="35000"/>
                </a:schemeClr>
              </a:solidFill>
            </a:endParaRPr>
          </a:p>
          <a:p>
            <a:pPr marL="110493" lvl="1" indent="0">
              <a:lnSpc>
                <a:spcPts val="2100"/>
              </a:lnSpc>
              <a:spcBef>
                <a:spcPts val="0"/>
              </a:spcBef>
              <a:spcAft>
                <a:spcPts val="0"/>
              </a:spcAft>
              <a:buNone/>
            </a:pPr>
            <a:r>
              <a:rPr lang="en-US" sz="1500" dirty="0" smtClean="0">
                <a:solidFill>
                  <a:schemeClr val="tx1">
                    <a:lumMod val="65000"/>
                    <a:lumOff val="35000"/>
                  </a:schemeClr>
                </a:solidFill>
              </a:rPr>
              <a:t>// Create the ratings dataset using the map and transforming the array of IDs and ratings into a </a:t>
            </a:r>
            <a:r>
              <a:rPr lang="en-US" sz="1500" i="1" dirty="0" smtClean="0">
                <a:solidFill>
                  <a:schemeClr val="tx1">
                    <a:lumMod val="65000"/>
                    <a:lumOff val="35000"/>
                  </a:schemeClr>
                </a:solidFill>
              </a:rPr>
              <a:t>Rating</a:t>
            </a:r>
            <a:r>
              <a:rPr lang="en-US" sz="1500" dirty="0" smtClean="0">
                <a:solidFill>
                  <a:schemeClr val="tx1">
                    <a:lumMod val="65000"/>
                    <a:lumOff val="35000"/>
                  </a:schemeClr>
                </a:solidFill>
              </a:rPr>
              <a:t> object.</a:t>
            </a:r>
          </a:p>
          <a:p>
            <a:pPr marL="110493" lvl="1" indent="0">
              <a:lnSpc>
                <a:spcPts val="2600"/>
              </a:lnSpc>
              <a:spcBef>
                <a:spcPts val="0"/>
              </a:spcBef>
              <a:spcAft>
                <a:spcPts val="0"/>
              </a:spcAft>
              <a:buNone/>
            </a:pPr>
            <a:r>
              <a:rPr lang="en-US" sz="1500" dirty="0">
                <a:solidFill>
                  <a:schemeClr val="accent4"/>
                </a:solidFill>
                <a:latin typeface="Arial Narrow" panose="020B0606020202030204" pitchFamily="34" charset="0"/>
              </a:rPr>
              <a:t>&gt;&gt;&gt; </a:t>
            </a:r>
            <a:r>
              <a:rPr lang="en-US" sz="1500" dirty="0" smtClean="0">
                <a:solidFill>
                  <a:schemeClr val="accent2"/>
                </a:solidFill>
              </a:rPr>
              <a:t>val</a:t>
            </a:r>
            <a:r>
              <a:rPr lang="en-US" sz="1500" dirty="0" smtClean="0">
                <a:solidFill>
                  <a:schemeClr val="tx1">
                    <a:lumMod val="65000"/>
                    <a:lumOff val="35000"/>
                  </a:schemeClr>
                </a:solidFill>
              </a:rPr>
              <a:t> </a:t>
            </a:r>
            <a:r>
              <a:rPr lang="en-US" sz="1500" dirty="0" smtClean="0">
                <a:solidFill>
                  <a:schemeClr val="accent4">
                    <a:lumMod val="75000"/>
                  </a:schemeClr>
                </a:solidFill>
              </a:rPr>
              <a:t>ratings = rawRatings.map</a:t>
            </a:r>
            <a:r>
              <a:rPr lang="en-US" sz="1500" dirty="0">
                <a:solidFill>
                  <a:schemeClr val="accent4">
                    <a:lumMod val="75000"/>
                  </a:schemeClr>
                </a:solidFill>
              </a:rPr>
              <a:t> </a:t>
            </a:r>
            <a:r>
              <a:rPr lang="en-US" sz="1500" dirty="0" smtClean="0">
                <a:solidFill>
                  <a:schemeClr val="accent4">
                    <a:lumMod val="75000"/>
                  </a:schemeClr>
                </a:solidFill>
              </a:rPr>
              <a:t>{ case Array(user, movie, rating} =&gt;Rating(user.</a:t>
            </a:r>
            <a:r>
              <a:rPr lang="en-US" sz="1500" b="1" dirty="0" smtClean="0">
                <a:solidFill>
                  <a:schemeClr val="accent4">
                    <a:lumMod val="75000"/>
                  </a:schemeClr>
                </a:solidFill>
              </a:rPr>
              <a:t>toInt</a:t>
            </a:r>
            <a:r>
              <a:rPr lang="en-US" sz="1500" dirty="0" smtClean="0">
                <a:solidFill>
                  <a:schemeClr val="accent4">
                    <a:lumMod val="75000"/>
                  </a:schemeClr>
                </a:solidFill>
              </a:rPr>
              <a:t>, movie.</a:t>
            </a:r>
            <a:r>
              <a:rPr lang="en-US" sz="1500" b="1" dirty="0" smtClean="0">
                <a:solidFill>
                  <a:schemeClr val="accent4">
                    <a:lumMod val="75000"/>
                  </a:schemeClr>
                </a:solidFill>
              </a:rPr>
              <a:t>toInt</a:t>
            </a:r>
            <a:r>
              <a:rPr lang="en-US" sz="1500" dirty="0" smtClean="0">
                <a:solidFill>
                  <a:schemeClr val="accent4">
                    <a:lumMod val="75000"/>
                  </a:schemeClr>
                </a:solidFill>
              </a:rPr>
              <a:t>, rating.</a:t>
            </a:r>
            <a:r>
              <a:rPr lang="en-US" sz="1500" b="1" dirty="0" smtClean="0">
                <a:solidFill>
                  <a:schemeClr val="accent4">
                    <a:lumMod val="75000"/>
                  </a:schemeClr>
                </a:solidFill>
              </a:rPr>
              <a:t>toDouble</a:t>
            </a:r>
            <a:r>
              <a:rPr lang="en-US" sz="1500" dirty="0" smtClean="0">
                <a:solidFill>
                  <a:schemeClr val="accent4">
                    <a:lumMod val="75000"/>
                  </a:schemeClr>
                </a:solidFill>
              </a:rPr>
              <a:t>)}</a:t>
            </a:r>
          </a:p>
          <a:p>
            <a:pPr marL="110493" lvl="1" indent="0">
              <a:lnSpc>
                <a:spcPts val="2200"/>
              </a:lnSpc>
              <a:spcBef>
                <a:spcPts val="0"/>
              </a:spcBef>
              <a:spcAft>
                <a:spcPts val="0"/>
              </a:spcAft>
              <a:buNone/>
            </a:pPr>
            <a:r>
              <a:rPr lang="en-US" sz="1500" dirty="0" smtClean="0">
                <a:solidFill>
                  <a:schemeClr val="tx1">
                    <a:lumMod val="65000"/>
                    <a:lumOff val="35000"/>
                  </a:schemeClr>
                </a:solidFill>
              </a:rPr>
              <a:t>//call the train method. It takes three parameters:</a:t>
            </a:r>
          </a:p>
          <a:p>
            <a:pPr marL="110493" lvl="1" indent="0">
              <a:lnSpc>
                <a:spcPts val="2200"/>
              </a:lnSpc>
              <a:spcBef>
                <a:spcPts val="0"/>
              </a:spcBef>
              <a:spcAft>
                <a:spcPts val="0"/>
              </a:spcAft>
              <a:buNone/>
            </a:pPr>
            <a:r>
              <a:rPr lang="en-US" sz="1500" dirty="0" smtClean="0">
                <a:solidFill>
                  <a:schemeClr val="tx1">
                    <a:lumMod val="65000"/>
                    <a:lumOff val="35000"/>
                  </a:schemeClr>
                </a:solidFill>
              </a:rPr>
              <a:t>// 1) rank – The number of factors in the ALS model. Between 10 and 200 is a reasonable number</a:t>
            </a:r>
            <a:br>
              <a:rPr lang="en-US" sz="1500" dirty="0" smtClean="0">
                <a:solidFill>
                  <a:schemeClr val="tx1">
                    <a:lumMod val="65000"/>
                    <a:lumOff val="35000"/>
                  </a:schemeClr>
                </a:solidFill>
              </a:rPr>
            </a:br>
            <a:r>
              <a:rPr lang="en-US" sz="1500" dirty="0" smtClean="0">
                <a:solidFill>
                  <a:schemeClr val="tx1">
                    <a:lumMod val="65000"/>
                    <a:lumOff val="35000"/>
                  </a:schemeClr>
                </a:solidFill>
              </a:rPr>
              <a:t>// i2) iterations – Number of iterations to run. ALS models converge quickly. 10 is a good default</a:t>
            </a:r>
          </a:p>
          <a:p>
            <a:pPr marL="110493" lvl="1" indent="0">
              <a:lnSpc>
                <a:spcPts val="2200"/>
              </a:lnSpc>
              <a:spcBef>
                <a:spcPts val="0"/>
              </a:spcBef>
              <a:spcAft>
                <a:spcPts val="0"/>
              </a:spcAft>
              <a:buNone/>
            </a:pPr>
            <a:r>
              <a:rPr lang="en-US" sz="1500" dirty="0" smtClean="0">
                <a:solidFill>
                  <a:schemeClr val="tx1">
                    <a:lumMod val="65000"/>
                    <a:lumOff val="35000"/>
                  </a:schemeClr>
                </a:solidFill>
              </a:rPr>
              <a:t>// i3) lambda – controls regularization (over-fitting) of the model. Number is determined by trial and error. Use 0.01</a:t>
            </a:r>
          </a:p>
          <a:p>
            <a:pPr marL="110493" lvl="1" indent="0">
              <a:lnSpc>
                <a:spcPts val="2600"/>
              </a:lnSpc>
              <a:spcBef>
                <a:spcPts val="0"/>
              </a:spcBef>
              <a:spcAft>
                <a:spcPts val="0"/>
              </a:spcAft>
              <a:buNone/>
            </a:pPr>
            <a:r>
              <a:rPr lang="en-US" sz="1500" dirty="0" smtClean="0">
                <a:solidFill>
                  <a:schemeClr val="accent4"/>
                </a:solidFill>
                <a:latin typeface="Arial Narrow" panose="020B0606020202030204" pitchFamily="34" charset="0"/>
              </a:rPr>
              <a:t>&gt;&gt;&gt; </a:t>
            </a:r>
            <a:r>
              <a:rPr lang="en-US" sz="1500" dirty="0" smtClean="0">
                <a:solidFill>
                  <a:schemeClr val="accent2"/>
                </a:solidFill>
              </a:rPr>
              <a:t>val</a:t>
            </a:r>
            <a:r>
              <a:rPr lang="en-US" sz="1500" dirty="0" smtClean="0">
                <a:solidFill>
                  <a:schemeClr val="tx1">
                    <a:lumMod val="65000"/>
                    <a:lumOff val="35000"/>
                  </a:schemeClr>
                </a:solidFill>
              </a:rPr>
              <a:t> </a:t>
            </a:r>
            <a:r>
              <a:rPr lang="en-US" sz="1500" dirty="0" smtClean="0">
                <a:solidFill>
                  <a:schemeClr val="accent4">
                    <a:lumMod val="75000"/>
                  </a:schemeClr>
                </a:solidFill>
              </a:rPr>
              <a:t>model = ALS.train(ratings, 50, 10, 0.01)</a:t>
            </a:r>
          </a:p>
          <a:p>
            <a:pPr marL="110493" lvl="1" indent="0">
              <a:lnSpc>
                <a:spcPts val="2200"/>
              </a:lnSpc>
              <a:spcBef>
                <a:spcPts val="0"/>
              </a:spcBef>
              <a:spcAft>
                <a:spcPts val="0"/>
              </a:spcAft>
              <a:buNone/>
            </a:pPr>
            <a:r>
              <a:rPr lang="en-US" sz="1500" dirty="0">
                <a:solidFill>
                  <a:schemeClr val="tx1">
                    <a:lumMod val="65000"/>
                    <a:lumOff val="35000"/>
                  </a:schemeClr>
                </a:solidFill>
              </a:rPr>
              <a:t>//We now have a </a:t>
            </a:r>
            <a:r>
              <a:rPr lang="en-US" sz="1500" dirty="0" smtClean="0">
                <a:solidFill>
                  <a:schemeClr val="tx1">
                    <a:lumMod val="65000"/>
                    <a:lumOff val="35000"/>
                  </a:schemeClr>
                </a:solidFill>
              </a:rPr>
              <a:t>MatrixFactorizationModel </a:t>
            </a:r>
            <a:r>
              <a:rPr lang="en-US" sz="1500" dirty="0">
                <a:solidFill>
                  <a:schemeClr val="tx1">
                    <a:lumMod val="65000"/>
                    <a:lumOff val="35000"/>
                  </a:schemeClr>
                </a:solidFill>
              </a:rPr>
              <a:t>object</a:t>
            </a:r>
          </a:p>
        </p:txBody>
      </p:sp>
      <p:sp>
        <p:nvSpPr>
          <p:cNvPr id="26" name="Rectangle 25"/>
          <p:cNvSpPr/>
          <p:nvPr/>
        </p:nvSpPr>
        <p:spPr bwMode="auto">
          <a:xfrm>
            <a:off x="6005945" y="1330036"/>
            <a:ext cx="5276683" cy="169371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smtClean="0">
              <a:solidFill>
                <a:schemeClr val="bg1"/>
              </a:solidFill>
              <a:latin typeface="+mj-lt"/>
              <a:ea typeface="Segoe UI" pitchFamily="34" charset="0"/>
              <a:cs typeface="Segoe UI" pitchFamily="34" charset="0"/>
            </a:endParaRPr>
          </a:p>
        </p:txBody>
      </p:sp>
      <p:pic>
        <p:nvPicPr>
          <p:cNvPr id="6146" name="Picture 2" descr="http://files.softicons.com/download/application-icons/adobe-cs3-icons-by-adam-betts/png/512x512/Adobe_Photoshop_Lightroom_Data.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152714" y="1671395"/>
            <a:ext cx="856829" cy="856829"/>
          </a:xfrm>
          <a:prstGeom prst="rect">
            <a:avLst/>
          </a:prstGeom>
          <a:noFill/>
          <a:extLst>
            <a:ext uri="{909E8E84-426E-40DD-AFC4-6F175D3DCCD1}">
              <a14:hiddenFill xmlns:a14="http://schemas.microsoft.com/office/drawing/2010/main">
                <a:solidFill>
                  <a:srgbClr val="FFFFFF"/>
                </a:solidFill>
              </a14:hiddenFill>
            </a:ext>
          </a:extLst>
        </p:spPr>
      </p:pic>
      <p:pic>
        <p:nvPicPr>
          <p:cNvPr id="6148" name="Picture 4" descr="http://ampcamp.berkeley.edu/big-data-mini-course/img/matrix_factorization.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9289897" y="1558339"/>
            <a:ext cx="1893144" cy="1082943"/>
          </a:xfrm>
          <a:prstGeom prst="rect">
            <a:avLst/>
          </a:prstGeom>
          <a:noFill/>
          <a:extLst>
            <a:ext uri="{909E8E84-426E-40DD-AFC4-6F175D3DCCD1}">
              <a14:hiddenFill xmlns:a14="http://schemas.microsoft.com/office/drawing/2010/main">
                <a:solidFill>
                  <a:srgbClr val="FFFFFF"/>
                </a:solidFill>
              </a14:hiddenFill>
            </a:ext>
          </a:extLst>
        </p:spPr>
      </p:pic>
      <p:sp>
        <p:nvSpPr>
          <p:cNvPr id="20" name="TextBox 19"/>
          <p:cNvSpPr txBox="1"/>
          <p:nvPr/>
        </p:nvSpPr>
        <p:spPr>
          <a:xfrm>
            <a:off x="9190310" y="2635333"/>
            <a:ext cx="2092318" cy="313932"/>
          </a:xfrm>
          <a:prstGeom prst="rect">
            <a:avLst/>
          </a:prstGeom>
          <a:noFill/>
          <a:ln>
            <a:noFill/>
          </a:ln>
        </p:spPr>
        <p:txBody>
          <a:bodyPr wrap="square">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2"/>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93" lvl="1" indent="0">
              <a:spcBef>
                <a:spcPts val="600"/>
              </a:spcBef>
              <a:buNone/>
            </a:pPr>
            <a:r>
              <a:rPr lang="en-US" sz="1600" dirty="0" smtClean="0">
                <a:ln>
                  <a:solidFill>
                    <a:srgbClr val="FFFFFF">
                      <a:alpha val="0"/>
                    </a:srgbClr>
                  </a:solidFill>
                </a:ln>
                <a:solidFill>
                  <a:schemeClr val="bg1"/>
                </a:solidFill>
                <a:ea typeface="Segoe UI" pitchFamily="34" charset="0"/>
                <a:cs typeface="Segoe UI" pitchFamily="34" charset="0"/>
              </a:rPr>
              <a:t>Trained ALS Model</a:t>
            </a:r>
            <a:endParaRPr lang="en-US" sz="1600" dirty="0">
              <a:ln>
                <a:solidFill>
                  <a:srgbClr val="FFFFFF">
                    <a:alpha val="0"/>
                  </a:srgbClr>
                </a:solidFill>
              </a:ln>
              <a:solidFill>
                <a:schemeClr val="bg1"/>
              </a:solidFill>
              <a:ea typeface="Segoe UI" pitchFamily="34" charset="0"/>
              <a:cs typeface="Segoe UI" pitchFamily="34" charset="0"/>
            </a:endParaRPr>
          </a:p>
        </p:txBody>
      </p:sp>
      <p:cxnSp>
        <p:nvCxnSpPr>
          <p:cNvPr id="19" name="Straight Arrow Connector 18"/>
          <p:cNvCxnSpPr>
            <a:stCxn id="6146" idx="3"/>
            <a:endCxn id="6148" idx="1"/>
          </p:cNvCxnSpPr>
          <p:nvPr/>
        </p:nvCxnSpPr>
        <p:spPr>
          <a:xfrm>
            <a:off x="7009543" y="2099810"/>
            <a:ext cx="2280354" cy="1"/>
          </a:xfrm>
          <a:prstGeom prst="straightConnector1">
            <a:avLst/>
          </a:prstGeom>
          <a:ln w="38100">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5" name="Rounded Rectangle 24"/>
          <p:cNvSpPr/>
          <p:nvPr/>
        </p:nvSpPr>
        <p:spPr bwMode="auto">
          <a:xfrm>
            <a:off x="7606615" y="1895936"/>
            <a:ext cx="1064384" cy="405113"/>
          </a:xfrm>
          <a:prstGeom prst="round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600" dirty="0" smtClean="0">
                <a:solidFill>
                  <a:schemeClr val="bg1"/>
                </a:solidFill>
                <a:latin typeface="+mj-lt"/>
                <a:ea typeface="Segoe UI" pitchFamily="34" charset="0"/>
                <a:cs typeface="Segoe UI" pitchFamily="34" charset="0"/>
              </a:rPr>
              <a:t>Train</a:t>
            </a:r>
          </a:p>
        </p:txBody>
      </p:sp>
    </p:spTree>
    <p:extLst>
      <p:ext uri="{BB962C8B-B14F-4D97-AF65-F5344CB8AC3E}">
        <p14:creationId xmlns:p14="http://schemas.microsoft.com/office/powerpoint/2010/main" val="2488597317"/>
      </p:ext>
    </p:extLst>
  </p:cSld>
  <p:clrMapOvr>
    <a:masterClrMapping/>
  </p:clrMapOvr>
  <p:transition spd="med">
    <p:fade/>
  </p:transition>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 Make Recommendations</a:t>
            </a:r>
            <a:endParaRPr lang="en-US" dirty="0"/>
          </a:p>
        </p:txBody>
      </p:sp>
      <p:sp>
        <p:nvSpPr>
          <p:cNvPr id="3" name="Slide Number Placeholder 2"/>
          <p:cNvSpPr>
            <a:spLocks noGrp="1"/>
          </p:cNvSpPr>
          <p:nvPr>
            <p:ph type="sldNum" sz="quarter" idx="11"/>
          </p:nvPr>
        </p:nvSpPr>
        <p:spPr/>
        <p:txBody>
          <a:bodyPr/>
          <a:lstStyle/>
          <a:p>
            <a:pPr>
              <a:defRPr/>
            </a:pPr>
            <a:fld id="{F8A0AC42-AA1D-4944-8D96-660DE70C7E1B}" type="slidenum">
              <a:rPr lang="en-US" smtClean="0"/>
              <a:pPr>
                <a:defRPr/>
              </a:pPr>
              <a:t>53</a:t>
            </a:fld>
            <a:endParaRPr lang="en-US" dirty="0"/>
          </a:p>
        </p:txBody>
      </p:sp>
      <p:sp>
        <p:nvSpPr>
          <p:cNvPr id="18" name="TextBox 17"/>
          <p:cNvSpPr txBox="1"/>
          <p:nvPr/>
        </p:nvSpPr>
        <p:spPr>
          <a:xfrm>
            <a:off x="585865" y="1214321"/>
            <a:ext cx="8994553" cy="4837222"/>
          </a:xfrm>
          <a:prstGeom prst="rect">
            <a:avLst/>
          </a:prstGeom>
          <a:solidFill>
            <a:schemeClr val="bg1">
              <a:lumMod val="95000"/>
            </a:schemeClr>
          </a:solidFill>
          <a:ln>
            <a:noFill/>
          </a:ln>
        </p:spPr>
        <p:txBody>
          <a:bodyPr wrap="square">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2"/>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93" lvl="1" indent="0">
              <a:lnSpc>
                <a:spcPts val="2200"/>
              </a:lnSpc>
              <a:spcBef>
                <a:spcPts val="600"/>
              </a:spcBef>
              <a:spcAft>
                <a:spcPts val="0"/>
              </a:spcAft>
              <a:buNone/>
            </a:pPr>
            <a:r>
              <a:rPr lang="en-US" sz="1500" dirty="0" smtClean="0">
                <a:solidFill>
                  <a:schemeClr val="tx1">
                    <a:lumMod val="65000"/>
                    <a:lumOff val="35000"/>
                  </a:schemeClr>
                </a:solidFill>
              </a:rPr>
              <a:t>// Now that we have the trained model, we can make recommendations</a:t>
            </a:r>
          </a:p>
          <a:p>
            <a:pPr marL="110493" lvl="1" indent="0">
              <a:lnSpc>
                <a:spcPts val="2200"/>
              </a:lnSpc>
              <a:spcBef>
                <a:spcPts val="600"/>
              </a:spcBef>
              <a:spcAft>
                <a:spcPts val="0"/>
              </a:spcAft>
              <a:buNone/>
            </a:pPr>
            <a:r>
              <a:rPr lang="en-US" sz="1500" dirty="0" smtClean="0">
                <a:solidFill>
                  <a:schemeClr val="tx1">
                    <a:lumMod val="65000"/>
                    <a:lumOff val="35000"/>
                  </a:schemeClr>
                </a:solidFill>
              </a:rPr>
              <a:t>// Get the rating that used 264 will give to movie 86 by calling the </a:t>
            </a:r>
            <a:r>
              <a:rPr lang="en-US" sz="1500" i="1" dirty="0" smtClean="0">
                <a:solidFill>
                  <a:schemeClr val="tx1">
                    <a:lumMod val="65000"/>
                    <a:lumOff val="35000"/>
                  </a:schemeClr>
                </a:solidFill>
              </a:rPr>
              <a:t>predict</a:t>
            </a:r>
            <a:r>
              <a:rPr lang="en-US" sz="1500" dirty="0" smtClean="0">
                <a:solidFill>
                  <a:schemeClr val="tx1">
                    <a:lumMod val="65000"/>
                    <a:lumOff val="35000"/>
                  </a:schemeClr>
                </a:solidFill>
              </a:rPr>
              <a:t> method</a:t>
            </a:r>
          </a:p>
          <a:p>
            <a:pPr marL="110493" lvl="1" indent="0">
              <a:lnSpc>
                <a:spcPts val="2200"/>
              </a:lnSpc>
              <a:spcBef>
                <a:spcPts val="0"/>
              </a:spcBef>
              <a:spcAft>
                <a:spcPts val="0"/>
              </a:spcAft>
              <a:buNone/>
            </a:pPr>
            <a:r>
              <a:rPr lang="en-US" sz="1500" dirty="0">
                <a:solidFill>
                  <a:schemeClr val="accent4"/>
                </a:solidFill>
                <a:latin typeface="Arial Narrow" panose="020B0606020202030204" pitchFamily="34" charset="0"/>
              </a:rPr>
              <a:t>&gt;&gt;&gt; </a:t>
            </a:r>
            <a:r>
              <a:rPr lang="en-US" sz="1500" dirty="0" smtClean="0">
                <a:solidFill>
                  <a:schemeClr val="accent2"/>
                </a:solidFill>
              </a:rPr>
              <a:t>val</a:t>
            </a:r>
            <a:r>
              <a:rPr lang="en-US" sz="1500" dirty="0">
                <a:solidFill>
                  <a:schemeClr val="accent4">
                    <a:lumMod val="75000"/>
                  </a:schemeClr>
                </a:solidFill>
              </a:rPr>
              <a:t> </a:t>
            </a:r>
            <a:r>
              <a:rPr lang="en-US" sz="1500" dirty="0" smtClean="0">
                <a:solidFill>
                  <a:schemeClr val="accent4">
                    <a:lumMod val="75000"/>
                  </a:schemeClr>
                </a:solidFill>
              </a:rPr>
              <a:t>predictedRating = model.predict(264, 86) </a:t>
            </a:r>
            <a:r>
              <a:rPr lang="en-US" sz="1500" dirty="0" smtClean="0">
                <a:solidFill>
                  <a:schemeClr val="accent6">
                    <a:lumMod val="75000"/>
                  </a:schemeClr>
                </a:solidFill>
                <a:sym typeface="Wingdings" panose="05000000000000000000" pitchFamily="2" charset="2"/>
              </a:rPr>
              <a:t> 3.8723214234</a:t>
            </a:r>
            <a:r>
              <a:rPr lang="en-US" sz="1500" dirty="0" smtClean="0">
                <a:solidFill>
                  <a:schemeClr val="accent4">
                    <a:lumMod val="75000"/>
                  </a:schemeClr>
                </a:solidFill>
              </a:rPr>
              <a:t/>
            </a:r>
            <a:br>
              <a:rPr lang="en-US" sz="1500" dirty="0" smtClean="0">
                <a:solidFill>
                  <a:schemeClr val="accent4">
                    <a:lumMod val="75000"/>
                  </a:schemeClr>
                </a:solidFill>
              </a:rPr>
            </a:br>
            <a:endParaRPr lang="en-US" sz="1500" dirty="0">
              <a:solidFill>
                <a:schemeClr val="accent4">
                  <a:lumMod val="75000"/>
                </a:schemeClr>
              </a:solidFill>
            </a:endParaRPr>
          </a:p>
          <a:p>
            <a:pPr marL="110493" lvl="1" indent="0">
              <a:lnSpc>
                <a:spcPts val="2200"/>
              </a:lnSpc>
              <a:spcBef>
                <a:spcPts val="0"/>
              </a:spcBef>
              <a:spcAft>
                <a:spcPts val="0"/>
              </a:spcAft>
              <a:buNone/>
            </a:pPr>
            <a:r>
              <a:rPr lang="en-US" sz="1500" dirty="0" smtClean="0">
                <a:solidFill>
                  <a:schemeClr val="tx1">
                    <a:lumMod val="65000"/>
                    <a:lumOff val="35000"/>
                  </a:schemeClr>
                </a:solidFill>
              </a:rPr>
              <a:t>//the predict method can also take an RDD of (user, item) IDs to generate predictions for each</a:t>
            </a:r>
            <a:r>
              <a:rPr lang="en-US" sz="1500" dirty="0" smtClean="0">
                <a:solidFill>
                  <a:schemeClr val="accent4">
                    <a:lumMod val="75000"/>
                  </a:schemeClr>
                </a:solidFill>
              </a:rPr>
              <a:t>. </a:t>
            </a:r>
            <a:endParaRPr lang="en-US" sz="1500" dirty="0">
              <a:solidFill>
                <a:schemeClr val="accent4">
                  <a:lumMod val="75000"/>
                </a:schemeClr>
              </a:solidFill>
            </a:endParaRPr>
          </a:p>
          <a:p>
            <a:pPr marL="110493" lvl="1" indent="0">
              <a:lnSpc>
                <a:spcPts val="2200"/>
              </a:lnSpc>
              <a:spcBef>
                <a:spcPts val="0"/>
              </a:spcBef>
              <a:spcAft>
                <a:spcPts val="0"/>
              </a:spcAft>
              <a:buNone/>
            </a:pPr>
            <a:r>
              <a:rPr lang="en-US" sz="1500" dirty="0" smtClean="0">
                <a:solidFill>
                  <a:schemeClr val="tx1">
                    <a:lumMod val="65000"/>
                    <a:lumOff val="35000"/>
                  </a:schemeClr>
                </a:solidFill>
              </a:rPr>
              <a:t>// Can generate the top-N recommended movies for an user, with the </a:t>
            </a:r>
            <a:r>
              <a:rPr lang="en-US" sz="1500" i="1" dirty="0" smtClean="0">
                <a:solidFill>
                  <a:schemeClr val="tx1">
                    <a:lumMod val="65000"/>
                    <a:lumOff val="35000"/>
                  </a:schemeClr>
                </a:solidFill>
              </a:rPr>
              <a:t>recommendProducts</a:t>
            </a:r>
            <a:r>
              <a:rPr lang="en-US" sz="1500" dirty="0" smtClean="0">
                <a:solidFill>
                  <a:schemeClr val="tx1">
                    <a:lumMod val="65000"/>
                    <a:lumOff val="35000"/>
                  </a:schemeClr>
                </a:solidFill>
              </a:rPr>
              <a:t> method.</a:t>
            </a:r>
          </a:p>
          <a:p>
            <a:pPr marL="110493" lvl="1" indent="0">
              <a:lnSpc>
                <a:spcPts val="2200"/>
              </a:lnSpc>
              <a:spcBef>
                <a:spcPts val="0"/>
              </a:spcBef>
              <a:spcAft>
                <a:spcPts val="0"/>
              </a:spcAft>
              <a:buNone/>
            </a:pPr>
            <a:r>
              <a:rPr lang="en-US" sz="1500" dirty="0" smtClean="0">
                <a:solidFill>
                  <a:schemeClr val="tx1">
                    <a:lumMod val="65000"/>
                    <a:lumOff val="35000"/>
                  </a:schemeClr>
                </a:solidFill>
              </a:rPr>
              <a:t>//recommendProducts takes two parameters: user ID and number of items to recommend for the user. </a:t>
            </a:r>
            <a:endParaRPr lang="en-US" sz="1500" dirty="0">
              <a:solidFill>
                <a:schemeClr val="tx1">
                  <a:lumMod val="65000"/>
                  <a:lumOff val="35000"/>
                </a:schemeClr>
              </a:solidFill>
            </a:endParaRPr>
          </a:p>
          <a:p>
            <a:pPr marL="110493" lvl="1" indent="0">
              <a:lnSpc>
                <a:spcPts val="2200"/>
              </a:lnSpc>
              <a:spcBef>
                <a:spcPts val="0"/>
              </a:spcBef>
              <a:spcAft>
                <a:spcPts val="0"/>
              </a:spcAft>
              <a:buNone/>
            </a:pPr>
            <a:r>
              <a:rPr lang="en-US" sz="1500" dirty="0" smtClean="0">
                <a:solidFill>
                  <a:schemeClr val="tx1">
                    <a:lumMod val="65000"/>
                    <a:lumOff val="35000"/>
                  </a:schemeClr>
                </a:solidFill>
              </a:rPr>
              <a:t>//The items recommended will be those that the user has not already rated!</a:t>
            </a:r>
          </a:p>
          <a:p>
            <a:pPr marL="110493" lvl="1" indent="0">
              <a:lnSpc>
                <a:spcPts val="2200"/>
              </a:lnSpc>
              <a:spcBef>
                <a:spcPts val="1200"/>
              </a:spcBef>
              <a:spcAft>
                <a:spcPts val="0"/>
              </a:spcAft>
              <a:buNone/>
            </a:pPr>
            <a:r>
              <a:rPr lang="en-US" sz="1500" dirty="0">
                <a:solidFill>
                  <a:schemeClr val="accent4"/>
                </a:solidFill>
                <a:latin typeface="Arial Narrow" panose="020B0606020202030204" pitchFamily="34" charset="0"/>
              </a:rPr>
              <a:t>&gt;&gt;&gt; </a:t>
            </a:r>
            <a:r>
              <a:rPr lang="en-US" sz="1500" dirty="0">
                <a:solidFill>
                  <a:schemeClr val="accent2"/>
                </a:solidFill>
              </a:rPr>
              <a:t>val</a:t>
            </a:r>
            <a:r>
              <a:rPr lang="en-US" sz="1500" dirty="0">
                <a:solidFill>
                  <a:schemeClr val="accent4">
                    <a:lumMod val="75000"/>
                  </a:schemeClr>
                </a:solidFill>
              </a:rPr>
              <a:t> topNRecommendations = model.recommendProducts(564, 5</a:t>
            </a:r>
            <a:r>
              <a:rPr lang="en-US" sz="1500" dirty="0" smtClean="0">
                <a:solidFill>
                  <a:schemeClr val="accent4">
                    <a:lumMod val="75000"/>
                  </a:schemeClr>
                </a:solidFill>
              </a:rPr>
              <a:t>)</a:t>
            </a:r>
          </a:p>
          <a:p>
            <a:pPr marL="110493" lvl="1" indent="0">
              <a:lnSpc>
                <a:spcPts val="2200"/>
              </a:lnSpc>
              <a:spcBef>
                <a:spcPts val="0"/>
              </a:spcBef>
              <a:spcAft>
                <a:spcPts val="0"/>
              </a:spcAft>
              <a:buNone/>
            </a:pPr>
            <a:r>
              <a:rPr lang="en-US" sz="1500" dirty="0" smtClean="0">
                <a:solidFill>
                  <a:schemeClr val="accent4"/>
                </a:solidFill>
                <a:latin typeface="Arial Narrow" panose="020B0606020202030204" pitchFamily="34" charset="0"/>
              </a:rPr>
              <a:t>&gt;&gt;&gt; </a:t>
            </a:r>
            <a:r>
              <a:rPr lang="en-US" sz="1500" dirty="0">
                <a:solidFill>
                  <a:schemeClr val="accent4">
                    <a:lumMod val="75000"/>
                  </a:schemeClr>
                </a:solidFill>
              </a:rPr>
              <a:t>println(topNRecommendations.mkString(“\n”))</a:t>
            </a:r>
          </a:p>
          <a:p>
            <a:pPr marL="110493" lvl="1" indent="0">
              <a:lnSpc>
                <a:spcPts val="2200"/>
              </a:lnSpc>
              <a:spcBef>
                <a:spcPts val="0"/>
              </a:spcBef>
              <a:spcAft>
                <a:spcPts val="0"/>
              </a:spcAft>
              <a:buNone/>
            </a:pPr>
            <a:r>
              <a:rPr lang="en-US" sz="1500" dirty="0" smtClean="0">
                <a:solidFill>
                  <a:schemeClr val="tx1">
                    <a:lumMod val="65000"/>
                    <a:lumOff val="35000"/>
                  </a:schemeClr>
                </a:solidFill>
              </a:rPr>
              <a:t>//will display the following on the console (user id, movie id, predicted rating)</a:t>
            </a:r>
            <a:endParaRPr lang="en-US" sz="1500" dirty="0">
              <a:solidFill>
                <a:schemeClr val="tx1">
                  <a:lumMod val="65000"/>
                  <a:lumOff val="35000"/>
                </a:schemeClr>
              </a:solidFill>
            </a:endParaRPr>
          </a:p>
          <a:p>
            <a:pPr marL="466207" lvl="2">
              <a:lnSpc>
                <a:spcPts val="2200"/>
              </a:lnSpc>
            </a:pPr>
            <a:r>
              <a:rPr lang="en-US" sz="1400" dirty="0" smtClean="0">
                <a:solidFill>
                  <a:schemeClr val="accent5">
                    <a:lumMod val="75000"/>
                  </a:schemeClr>
                </a:solidFill>
                <a:latin typeface="Arial Narrow" panose="020B0606020202030204" pitchFamily="34" charset="0"/>
              </a:rPr>
              <a:t>Rating( 564,	782, 	5.983324324324)</a:t>
            </a:r>
            <a:endParaRPr lang="en-US" sz="1400" dirty="0">
              <a:solidFill>
                <a:schemeClr val="accent5">
                  <a:lumMod val="75000"/>
                </a:schemeClr>
              </a:solidFill>
              <a:latin typeface="Arial Narrow" panose="020B0606020202030204" pitchFamily="34" charset="0"/>
            </a:endParaRPr>
          </a:p>
          <a:p>
            <a:pPr marL="466207" lvl="2">
              <a:lnSpc>
                <a:spcPts val="2200"/>
              </a:lnSpc>
            </a:pPr>
            <a:r>
              <a:rPr lang="en-US" sz="1400" dirty="0" smtClean="0">
                <a:solidFill>
                  <a:schemeClr val="accent5">
                    <a:lumMod val="75000"/>
                  </a:schemeClr>
                </a:solidFill>
                <a:latin typeface="Arial Narrow" panose="020B0606020202030204" pitchFamily="34" charset="0"/>
              </a:rPr>
              <a:t>Rating( 564, 	64,   	5.974354545454)</a:t>
            </a:r>
            <a:endParaRPr lang="en-US" sz="1400" dirty="0">
              <a:solidFill>
                <a:schemeClr val="accent5">
                  <a:lumMod val="75000"/>
                </a:schemeClr>
              </a:solidFill>
              <a:latin typeface="Arial Narrow" panose="020B0606020202030204" pitchFamily="34" charset="0"/>
            </a:endParaRPr>
          </a:p>
          <a:p>
            <a:pPr marL="466207" lvl="2">
              <a:lnSpc>
                <a:spcPts val="2200"/>
              </a:lnSpc>
            </a:pPr>
            <a:r>
              <a:rPr lang="en-US" sz="1400" dirty="0" smtClean="0">
                <a:solidFill>
                  <a:schemeClr val="accent5">
                    <a:lumMod val="75000"/>
                  </a:schemeClr>
                </a:solidFill>
                <a:latin typeface="Arial Narrow" panose="020B0606020202030204" pitchFamily="34" charset="0"/>
              </a:rPr>
              <a:t>Rating( 564, 	581,  	5.863424242444)</a:t>
            </a:r>
            <a:endParaRPr lang="en-US" sz="1400" dirty="0">
              <a:solidFill>
                <a:schemeClr val="accent5">
                  <a:lumMod val="75000"/>
                </a:schemeClr>
              </a:solidFill>
              <a:latin typeface="Arial Narrow" panose="020B0606020202030204" pitchFamily="34" charset="0"/>
            </a:endParaRPr>
          </a:p>
          <a:p>
            <a:pPr marL="466207" lvl="2">
              <a:lnSpc>
                <a:spcPts val="2200"/>
              </a:lnSpc>
            </a:pPr>
            <a:r>
              <a:rPr lang="en-US" sz="1400" dirty="0" smtClean="0">
                <a:solidFill>
                  <a:schemeClr val="accent5">
                    <a:lumMod val="75000"/>
                  </a:schemeClr>
                </a:solidFill>
                <a:latin typeface="Arial Narrow" panose="020B0606020202030204" pitchFamily="34" charset="0"/>
              </a:rPr>
              <a:t>Rating( 564, 	123,	5.763243434344)</a:t>
            </a:r>
            <a:endParaRPr lang="en-US" sz="1400" dirty="0">
              <a:solidFill>
                <a:schemeClr val="accent5">
                  <a:lumMod val="75000"/>
                </a:schemeClr>
              </a:solidFill>
              <a:latin typeface="Arial Narrow" panose="020B0606020202030204" pitchFamily="34" charset="0"/>
            </a:endParaRPr>
          </a:p>
          <a:p>
            <a:pPr marL="466207" lvl="2">
              <a:lnSpc>
                <a:spcPts val="2200"/>
              </a:lnSpc>
            </a:pPr>
            <a:r>
              <a:rPr lang="en-US" sz="1400" dirty="0" smtClean="0">
                <a:solidFill>
                  <a:schemeClr val="accent5">
                    <a:lumMod val="75000"/>
                  </a:schemeClr>
                </a:solidFill>
                <a:latin typeface="Arial Narrow" panose="020B0606020202030204" pitchFamily="34" charset="0"/>
              </a:rPr>
              <a:t>Rating( 564, 	8,      	5.639434324348)</a:t>
            </a:r>
            <a:endParaRPr lang="en-US" sz="1400" dirty="0">
              <a:solidFill>
                <a:schemeClr val="accent5">
                  <a:lumMod val="75000"/>
                </a:schemeClr>
              </a:solidFill>
              <a:latin typeface="Arial Narrow" panose="020B0606020202030204" pitchFamily="34" charset="0"/>
            </a:endParaRPr>
          </a:p>
        </p:txBody>
      </p:sp>
      <p:sp>
        <p:nvSpPr>
          <p:cNvPr id="28" name="Rectangle 27"/>
          <p:cNvSpPr/>
          <p:nvPr/>
        </p:nvSpPr>
        <p:spPr bwMode="auto">
          <a:xfrm>
            <a:off x="9580418" y="1214321"/>
            <a:ext cx="2450217" cy="4837222"/>
          </a:xfrm>
          <a:prstGeom prst="rect">
            <a:avLst/>
          </a:prstGeom>
          <a:solidFill>
            <a:schemeClr val="tx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smtClean="0">
              <a:solidFill>
                <a:schemeClr val="bg1"/>
              </a:solidFill>
              <a:latin typeface="+mj-lt"/>
              <a:ea typeface="Segoe UI" pitchFamily="34" charset="0"/>
              <a:cs typeface="Segoe UI" pitchFamily="34" charset="0"/>
            </a:endParaRPr>
          </a:p>
        </p:txBody>
      </p:sp>
      <p:grpSp>
        <p:nvGrpSpPr>
          <p:cNvPr id="29" name="Group 28"/>
          <p:cNvGrpSpPr/>
          <p:nvPr/>
        </p:nvGrpSpPr>
        <p:grpSpPr>
          <a:xfrm>
            <a:off x="9909779" y="1763044"/>
            <a:ext cx="1771235" cy="3911629"/>
            <a:chOff x="9891849" y="1314795"/>
            <a:chExt cx="1771235" cy="3911629"/>
          </a:xfrm>
        </p:grpSpPr>
        <p:pic>
          <p:nvPicPr>
            <p:cNvPr id="12" name="Picture 4" descr="http://ampcamp.berkeley.edu/big-data-mini-course/img/matrix_factorization.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185969" y="2352406"/>
              <a:ext cx="1182995" cy="676714"/>
            </a:xfrm>
            <a:prstGeom prst="rect">
              <a:avLst/>
            </a:prstGeom>
            <a:noFill/>
            <a:ln>
              <a:solidFill>
                <a:schemeClr val="bg2">
                  <a:lumMod val="75000"/>
                </a:schemeClr>
              </a:solidFill>
            </a:ln>
            <a:extLst>
              <a:ext uri="{909E8E84-426E-40DD-AFC4-6F175D3DCCD1}">
                <a14:hiddenFill xmlns:a14="http://schemas.microsoft.com/office/drawing/2010/main">
                  <a:solidFill>
                    <a:srgbClr val="FFFFFF"/>
                  </a:solidFill>
                </a14:hiddenFill>
              </a:ext>
            </a:extLst>
          </p:spPr>
        </p:pic>
        <p:sp>
          <p:nvSpPr>
            <p:cNvPr id="5" name="Rounded Rectangle 4"/>
            <p:cNvSpPr/>
            <p:nvPr/>
          </p:nvSpPr>
          <p:spPr bwMode="auto">
            <a:xfrm>
              <a:off x="10162515" y="1314795"/>
              <a:ext cx="1229903" cy="436418"/>
            </a:xfrm>
            <a:prstGeom prst="round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600" dirty="0" smtClean="0">
                  <a:solidFill>
                    <a:schemeClr val="bg1"/>
                  </a:solidFill>
                  <a:latin typeface="+mj-lt"/>
                  <a:ea typeface="Segoe UI" pitchFamily="34" charset="0"/>
                  <a:cs typeface="Segoe UI" pitchFamily="34" charset="0"/>
                </a:rPr>
                <a:t>User Id</a:t>
              </a:r>
            </a:p>
          </p:txBody>
        </p:sp>
        <p:pic>
          <p:nvPicPr>
            <p:cNvPr id="7170" name="Picture 2" descr="http://www.iconpng.com/png/windows8_icons2/4_2.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0377200" y="3951601"/>
              <a:ext cx="800533" cy="800533"/>
            </a:xfrm>
            <a:prstGeom prst="rect">
              <a:avLst/>
            </a:prstGeom>
            <a:noFill/>
            <a:ln>
              <a:solidFill>
                <a:schemeClr val="tx1">
                  <a:lumMod val="50000"/>
                  <a:lumOff val="50000"/>
                </a:schemeClr>
              </a:solidFill>
            </a:ln>
            <a:extLst>
              <a:ext uri="{909E8E84-426E-40DD-AFC4-6F175D3DCCD1}">
                <a14:hiddenFill xmlns:a14="http://schemas.microsoft.com/office/drawing/2010/main">
                  <a:solidFill>
                    <a:srgbClr val="FFFFFF"/>
                  </a:solidFill>
                </a14:hiddenFill>
              </a:ext>
            </a:extLst>
          </p:spPr>
        </p:pic>
        <p:cxnSp>
          <p:nvCxnSpPr>
            <p:cNvPr id="15" name="Straight Arrow Connector 14"/>
            <p:cNvCxnSpPr>
              <a:stCxn id="5" idx="2"/>
              <a:endCxn id="12" idx="0"/>
            </p:cNvCxnSpPr>
            <p:nvPr/>
          </p:nvCxnSpPr>
          <p:spPr>
            <a:xfrm>
              <a:off x="10777467" y="1751213"/>
              <a:ext cx="0" cy="601193"/>
            </a:xfrm>
            <a:prstGeom prst="straightConnector1">
              <a:avLst/>
            </a:prstGeom>
            <a:ln w="38100">
              <a:solidFill>
                <a:schemeClr val="tx1">
                  <a:lumMod val="50000"/>
                  <a:lumOff val="50000"/>
                </a:schemeClr>
              </a:solidFill>
              <a:headEnd type="none"/>
              <a:tailEnd type="triangle"/>
            </a:ln>
          </p:spPr>
          <p:style>
            <a:lnRef idx="1">
              <a:schemeClr val="dk1"/>
            </a:lnRef>
            <a:fillRef idx="0">
              <a:schemeClr val="dk1"/>
            </a:fillRef>
            <a:effectRef idx="0">
              <a:schemeClr val="dk1"/>
            </a:effectRef>
            <a:fontRef idx="minor">
              <a:schemeClr val="tx1"/>
            </a:fontRef>
          </p:style>
        </p:cxnSp>
        <p:cxnSp>
          <p:nvCxnSpPr>
            <p:cNvPr id="17" name="Straight Arrow Connector 16"/>
            <p:cNvCxnSpPr>
              <a:stCxn id="12" idx="2"/>
              <a:endCxn id="7170" idx="0"/>
            </p:cNvCxnSpPr>
            <p:nvPr/>
          </p:nvCxnSpPr>
          <p:spPr>
            <a:xfrm>
              <a:off x="10777467" y="3029120"/>
              <a:ext cx="0" cy="922481"/>
            </a:xfrm>
            <a:prstGeom prst="straightConnector1">
              <a:avLst/>
            </a:prstGeom>
            <a:ln w="38100">
              <a:solidFill>
                <a:schemeClr val="tx1">
                  <a:lumMod val="50000"/>
                  <a:lumOff val="50000"/>
                </a:schemeClr>
              </a:solidFill>
              <a:headEnd type="none"/>
              <a:tailEnd type="triangle"/>
            </a:ln>
          </p:spPr>
          <p:style>
            <a:lnRef idx="1">
              <a:schemeClr val="dk1"/>
            </a:lnRef>
            <a:fillRef idx="0">
              <a:schemeClr val="dk1"/>
            </a:fillRef>
            <a:effectRef idx="0">
              <a:schemeClr val="dk1"/>
            </a:effectRef>
            <a:fontRef idx="minor">
              <a:schemeClr val="tx1"/>
            </a:fontRef>
          </p:style>
        </p:cxnSp>
        <p:sp>
          <p:nvSpPr>
            <p:cNvPr id="24" name="TextBox 23"/>
            <p:cNvSpPr txBox="1"/>
            <p:nvPr/>
          </p:nvSpPr>
          <p:spPr>
            <a:xfrm>
              <a:off x="9891849" y="3315310"/>
              <a:ext cx="1771235" cy="264539"/>
            </a:xfrm>
            <a:prstGeom prst="rect">
              <a:avLst/>
            </a:prstGeom>
            <a:solidFill>
              <a:schemeClr val="bg1"/>
            </a:solidFill>
            <a:ln w="3175">
              <a:solidFill>
                <a:schemeClr val="tx1">
                  <a:lumMod val="50000"/>
                  <a:lumOff val="50000"/>
                </a:schemeClr>
              </a:solidFill>
            </a:ln>
          </p:spPr>
          <p:txBody>
            <a:bodyPr wrap="none" lIns="182880" tIns="146304" rIns="182880" bIns="146304" rtlCol="0" anchor="ctr">
              <a:noAutofit/>
            </a:bodyPr>
            <a:lstStyle/>
            <a:p>
              <a:pPr>
                <a:lnSpc>
                  <a:spcPct val="90000"/>
                </a:lnSpc>
                <a:spcAft>
                  <a:spcPts val="600"/>
                </a:spcAft>
              </a:pPr>
              <a:r>
                <a:rPr lang="en-US" sz="1200" dirty="0" smtClean="0">
                  <a:solidFill>
                    <a:schemeClr val="tx1">
                      <a:lumMod val="65000"/>
                      <a:lumOff val="35000"/>
                    </a:schemeClr>
                  </a:solidFill>
                </a:rPr>
                <a:t>recommendProducts()</a:t>
              </a:r>
            </a:p>
          </p:txBody>
        </p:sp>
        <p:sp>
          <p:nvSpPr>
            <p:cNvPr id="32" name="TextBox 31"/>
            <p:cNvSpPr txBox="1"/>
            <p:nvPr/>
          </p:nvSpPr>
          <p:spPr>
            <a:xfrm>
              <a:off x="9946343" y="4816197"/>
              <a:ext cx="1662247" cy="410227"/>
            </a:xfrm>
            <a:prstGeom prst="rect">
              <a:avLst/>
            </a:prstGeom>
            <a:solidFill>
              <a:schemeClr val="bg1"/>
            </a:solidFill>
            <a:ln w="3175">
              <a:solidFill>
                <a:schemeClr val="tx1">
                  <a:lumMod val="50000"/>
                  <a:lumOff val="50000"/>
                </a:schemeClr>
              </a:solidFill>
            </a:ln>
          </p:spPr>
          <p:txBody>
            <a:bodyPr wrap="none" lIns="182880" tIns="146304" rIns="182880" bIns="146304" rtlCol="0" anchor="ctr">
              <a:noAutofit/>
            </a:bodyPr>
            <a:lstStyle/>
            <a:p>
              <a:pPr algn="ctr">
                <a:lnSpc>
                  <a:spcPct val="90000"/>
                </a:lnSpc>
                <a:spcAft>
                  <a:spcPts val="600"/>
                </a:spcAft>
              </a:pPr>
              <a:r>
                <a:rPr lang="en-US" sz="1200" dirty="0" smtClean="0">
                  <a:solidFill>
                    <a:schemeClr val="tx1">
                      <a:lumMod val="65000"/>
                      <a:lumOff val="35000"/>
                    </a:schemeClr>
                  </a:solidFill>
                </a:rPr>
                <a:t>List of Recommended</a:t>
              </a:r>
              <a:br>
                <a:rPr lang="en-US" sz="1200" dirty="0" smtClean="0">
                  <a:solidFill>
                    <a:schemeClr val="tx1">
                      <a:lumMod val="65000"/>
                      <a:lumOff val="35000"/>
                    </a:schemeClr>
                  </a:solidFill>
                </a:rPr>
              </a:br>
              <a:r>
                <a:rPr lang="en-US" sz="1200" dirty="0" smtClean="0">
                  <a:solidFill>
                    <a:schemeClr val="tx1">
                      <a:lumMod val="65000"/>
                      <a:lumOff val="35000"/>
                    </a:schemeClr>
                  </a:solidFill>
                </a:rPr>
                <a:t>Movies</a:t>
              </a:r>
            </a:p>
          </p:txBody>
        </p:sp>
      </p:grpSp>
    </p:spTree>
    <p:extLst>
      <p:ext uri="{BB962C8B-B14F-4D97-AF65-F5344CB8AC3E}">
        <p14:creationId xmlns:p14="http://schemas.microsoft.com/office/powerpoint/2010/main" val="839031755"/>
      </p:ext>
    </p:extLst>
  </p:cSld>
  <p:clrMapOvr>
    <a:masterClrMapping/>
  </p:clrMapOvr>
  <p:transition spd="med">
    <p:fade/>
  </p:transition>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commender Performance Evaluation</a:t>
            </a:r>
            <a:endParaRPr lang="en-US" dirty="0"/>
          </a:p>
        </p:txBody>
      </p:sp>
      <p:sp>
        <p:nvSpPr>
          <p:cNvPr id="3" name="Slide Number Placeholder 2"/>
          <p:cNvSpPr>
            <a:spLocks noGrp="1"/>
          </p:cNvSpPr>
          <p:nvPr>
            <p:ph type="sldNum" sz="quarter" idx="11"/>
          </p:nvPr>
        </p:nvSpPr>
        <p:spPr/>
        <p:txBody>
          <a:bodyPr/>
          <a:lstStyle/>
          <a:p>
            <a:pPr>
              <a:defRPr/>
            </a:pPr>
            <a:fld id="{F8A0AC42-AA1D-4944-8D96-660DE70C7E1B}" type="slidenum">
              <a:rPr lang="en-US" smtClean="0"/>
              <a:pPr>
                <a:defRPr/>
              </a:pPr>
              <a:t>54</a:t>
            </a:fld>
            <a:endParaRPr lang="en-US" dirty="0"/>
          </a:p>
        </p:txBody>
      </p:sp>
      <p:sp>
        <p:nvSpPr>
          <p:cNvPr id="4" name="TextBox 3"/>
          <p:cNvSpPr txBox="1"/>
          <p:nvPr/>
        </p:nvSpPr>
        <p:spPr>
          <a:xfrm>
            <a:off x="480771" y="1080461"/>
            <a:ext cx="10989740" cy="1132618"/>
          </a:xfrm>
          <a:prstGeom prst="rect">
            <a:avLst/>
          </a:prstGeom>
          <a:noFill/>
          <a:ln>
            <a:noFill/>
          </a:ln>
        </p:spPr>
        <p:txBody>
          <a:bodyPr wrap="square">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2"/>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lvl="1">
              <a:spcBef>
                <a:spcPts val="600"/>
              </a:spcBef>
              <a:spcAft>
                <a:spcPts val="0"/>
              </a:spcAft>
            </a:pPr>
            <a:r>
              <a:rPr lang="en-US" sz="1600" dirty="0" smtClean="0"/>
              <a:t>There are multiple ways of evaluating the performance of a model </a:t>
            </a:r>
          </a:p>
          <a:p>
            <a:pPr lvl="1">
              <a:spcBef>
                <a:spcPts val="600"/>
              </a:spcBef>
              <a:spcAft>
                <a:spcPts val="0"/>
              </a:spcAft>
            </a:pPr>
            <a:r>
              <a:rPr lang="en-US" sz="1600" dirty="0" smtClean="0"/>
              <a:t>MLlib has built-in support for Mean Square Error (MSE), Root Mean Square Error(RMSE) and Mean Precision Average at K (MAPK) in the </a:t>
            </a:r>
            <a:r>
              <a:rPr lang="en-US" sz="1600" i="1" dirty="0" smtClean="0"/>
              <a:t>RegressionMetrics</a:t>
            </a:r>
            <a:r>
              <a:rPr lang="en-US" sz="1600" dirty="0" smtClean="0"/>
              <a:t> and </a:t>
            </a:r>
            <a:r>
              <a:rPr lang="en-US" sz="1600" i="1" dirty="0" smtClean="0"/>
              <a:t>RankingsMetrics</a:t>
            </a:r>
            <a:r>
              <a:rPr lang="en-US" sz="1600" dirty="0" smtClean="0"/>
              <a:t> classes.</a:t>
            </a:r>
          </a:p>
          <a:p>
            <a:pPr lvl="1">
              <a:spcBef>
                <a:spcPts val="600"/>
              </a:spcBef>
              <a:spcAft>
                <a:spcPts val="0"/>
              </a:spcAft>
            </a:pPr>
            <a:r>
              <a:rPr lang="en-US" sz="1600" dirty="0" smtClean="0"/>
              <a:t>Here’s the code for RMSE and MSE:</a:t>
            </a:r>
          </a:p>
        </p:txBody>
      </p:sp>
      <p:sp>
        <p:nvSpPr>
          <p:cNvPr id="5" name="TextBox 4"/>
          <p:cNvSpPr txBox="1"/>
          <p:nvPr/>
        </p:nvSpPr>
        <p:spPr>
          <a:xfrm>
            <a:off x="858144" y="2309405"/>
            <a:ext cx="10475088" cy="3807068"/>
          </a:xfrm>
          <a:prstGeom prst="rect">
            <a:avLst/>
          </a:prstGeom>
          <a:solidFill>
            <a:schemeClr val="bg1">
              <a:lumMod val="95000"/>
            </a:schemeClr>
          </a:solidFill>
          <a:ln>
            <a:noFill/>
          </a:ln>
        </p:spPr>
        <p:txBody>
          <a:bodyPr wrap="square">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2"/>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93" lvl="1" indent="0">
              <a:lnSpc>
                <a:spcPts val="2200"/>
              </a:lnSpc>
              <a:spcBef>
                <a:spcPts val="600"/>
              </a:spcBef>
              <a:spcAft>
                <a:spcPts val="0"/>
              </a:spcAft>
              <a:buNone/>
            </a:pPr>
            <a:r>
              <a:rPr lang="en-US" sz="1400" dirty="0" smtClean="0">
                <a:solidFill>
                  <a:schemeClr val="tx1">
                    <a:lumMod val="65000"/>
                    <a:lumOff val="35000"/>
                  </a:schemeClr>
                </a:solidFill>
              </a:rPr>
              <a:t>// starting with ‘ratings’ from the previous slide: </a:t>
            </a:r>
            <a:r>
              <a:rPr lang="en-US" sz="1400" dirty="0">
                <a:solidFill>
                  <a:schemeClr val="tx1">
                    <a:lumMod val="65000"/>
                    <a:lumOff val="35000"/>
                  </a:schemeClr>
                </a:solidFill>
              </a:rPr>
              <a:t>E</a:t>
            </a:r>
            <a:r>
              <a:rPr lang="en-US" sz="1400" dirty="0" smtClean="0">
                <a:solidFill>
                  <a:schemeClr val="tx1">
                    <a:lumMod val="65000"/>
                    <a:lumOff val="35000"/>
                  </a:schemeClr>
                </a:solidFill>
              </a:rPr>
              <a:t>xtract the user and product IDs from the ratings RDD and call </a:t>
            </a:r>
          </a:p>
          <a:p>
            <a:pPr marL="110493" lvl="1" indent="0">
              <a:lnSpc>
                <a:spcPts val="2200"/>
              </a:lnSpc>
              <a:spcBef>
                <a:spcPts val="0"/>
              </a:spcBef>
              <a:spcAft>
                <a:spcPts val="0"/>
              </a:spcAft>
              <a:buNone/>
            </a:pPr>
            <a:r>
              <a:rPr lang="en-US" sz="1400" dirty="0" smtClean="0">
                <a:solidFill>
                  <a:schemeClr val="tx1">
                    <a:lumMod val="65000"/>
                    <a:lumOff val="35000"/>
                  </a:schemeClr>
                </a:solidFill>
              </a:rPr>
              <a:t>// model.predict() for each user-item pair.</a:t>
            </a:r>
          </a:p>
          <a:p>
            <a:pPr marL="110493" lvl="1" indent="0">
              <a:lnSpc>
                <a:spcPts val="2200"/>
              </a:lnSpc>
              <a:spcBef>
                <a:spcPts val="0"/>
              </a:spcBef>
              <a:spcAft>
                <a:spcPts val="0"/>
              </a:spcAft>
              <a:buNone/>
            </a:pPr>
            <a:r>
              <a:rPr lang="en-US" sz="1400" dirty="0">
                <a:solidFill>
                  <a:schemeClr val="accent4"/>
                </a:solidFill>
                <a:latin typeface="Arial Narrow" panose="020B0606020202030204" pitchFamily="34" charset="0"/>
              </a:rPr>
              <a:t>&gt;&gt;&gt; </a:t>
            </a:r>
            <a:r>
              <a:rPr lang="en-US" sz="1400" dirty="0">
                <a:solidFill>
                  <a:schemeClr val="accent2"/>
                </a:solidFill>
              </a:rPr>
              <a:t>val </a:t>
            </a:r>
            <a:r>
              <a:rPr lang="en-US" sz="1400" dirty="0" smtClean="0">
                <a:solidFill>
                  <a:schemeClr val="accent4">
                    <a:lumMod val="75000"/>
                  </a:schemeClr>
                </a:solidFill>
              </a:rPr>
              <a:t>usersProduct = ratings.map</a:t>
            </a:r>
            <a:r>
              <a:rPr lang="en-US" sz="1400" dirty="0">
                <a:solidFill>
                  <a:schemeClr val="accent4">
                    <a:lumMod val="75000"/>
                  </a:schemeClr>
                </a:solidFill>
              </a:rPr>
              <a:t> </a:t>
            </a:r>
            <a:r>
              <a:rPr lang="en-US" sz="1400" dirty="0" smtClean="0">
                <a:solidFill>
                  <a:schemeClr val="accent4">
                    <a:lumMod val="75000"/>
                  </a:schemeClr>
                </a:solidFill>
              </a:rPr>
              <a:t> { case Rating(user, product, ratings) =&gt; (user, products) }</a:t>
            </a:r>
          </a:p>
          <a:p>
            <a:pPr marL="110493" lvl="1" indent="0">
              <a:lnSpc>
                <a:spcPts val="2200"/>
              </a:lnSpc>
              <a:spcBef>
                <a:spcPts val="0"/>
              </a:spcBef>
              <a:spcAft>
                <a:spcPts val="0"/>
              </a:spcAft>
              <a:buNone/>
            </a:pPr>
            <a:r>
              <a:rPr lang="en-US" sz="1400" dirty="0">
                <a:solidFill>
                  <a:schemeClr val="accent4"/>
                </a:solidFill>
                <a:latin typeface="Arial Narrow" panose="020B0606020202030204" pitchFamily="34" charset="0"/>
              </a:rPr>
              <a:t>&gt;&gt;&gt; </a:t>
            </a:r>
            <a:r>
              <a:rPr lang="en-US" sz="1400" dirty="0" smtClean="0">
                <a:solidFill>
                  <a:schemeClr val="accent2"/>
                </a:solidFill>
              </a:rPr>
              <a:t>val </a:t>
            </a:r>
            <a:r>
              <a:rPr lang="en-US" sz="1400" dirty="0" smtClean="0">
                <a:solidFill>
                  <a:schemeClr val="accent4">
                    <a:lumMod val="75000"/>
                  </a:schemeClr>
                </a:solidFill>
              </a:rPr>
              <a:t>predictions = model.predict(userProducts).map { case Rating(user, product, rating) = { (user, product), rating) }</a:t>
            </a:r>
          </a:p>
          <a:p>
            <a:pPr marL="110493" lvl="1" indent="0">
              <a:lnSpc>
                <a:spcPts val="2200"/>
              </a:lnSpc>
              <a:spcBef>
                <a:spcPts val="600"/>
              </a:spcBef>
              <a:spcAft>
                <a:spcPts val="0"/>
              </a:spcAft>
              <a:buNone/>
            </a:pPr>
            <a:r>
              <a:rPr lang="en-US" sz="1400" dirty="0" smtClean="0">
                <a:solidFill>
                  <a:schemeClr val="tx1">
                    <a:lumMod val="65000"/>
                    <a:lumOff val="35000"/>
                  </a:schemeClr>
                </a:solidFill>
              </a:rPr>
              <a:t> //create an RDD that combines the actual and predicted ratings for each user-item combination</a:t>
            </a:r>
          </a:p>
          <a:p>
            <a:pPr marL="110493" lvl="1" indent="0">
              <a:lnSpc>
                <a:spcPts val="2200"/>
              </a:lnSpc>
              <a:spcBef>
                <a:spcPts val="0"/>
              </a:spcBef>
              <a:spcAft>
                <a:spcPts val="0"/>
              </a:spcAft>
              <a:buNone/>
            </a:pPr>
            <a:r>
              <a:rPr lang="en-US" sz="1400" dirty="0" smtClean="0">
                <a:solidFill>
                  <a:schemeClr val="accent4"/>
                </a:solidFill>
                <a:latin typeface="Arial Narrow" panose="020B0606020202030204" pitchFamily="34" charset="0"/>
              </a:rPr>
              <a:t>&gt;&gt;&gt; </a:t>
            </a:r>
            <a:r>
              <a:rPr lang="en-US" sz="1400" dirty="0" smtClean="0">
                <a:solidFill>
                  <a:schemeClr val="accent2"/>
                </a:solidFill>
              </a:rPr>
              <a:t>val </a:t>
            </a:r>
            <a:r>
              <a:rPr lang="en-US" sz="1400" dirty="0" smtClean="0">
                <a:solidFill>
                  <a:schemeClr val="accent4">
                    <a:lumMod val="75000"/>
                  </a:schemeClr>
                </a:solidFill>
              </a:rPr>
              <a:t>ratingsAndPredictions = ratings.map { case Rating(user, product, rating) =&gt; ((user, product), rating) }.join(predictions)</a:t>
            </a:r>
          </a:p>
          <a:p>
            <a:pPr marL="110493" lvl="1" indent="0">
              <a:lnSpc>
                <a:spcPts val="2200"/>
              </a:lnSpc>
              <a:spcBef>
                <a:spcPts val="0"/>
              </a:spcBef>
              <a:spcAft>
                <a:spcPts val="0"/>
              </a:spcAft>
              <a:buNone/>
            </a:pPr>
            <a:r>
              <a:rPr lang="en-US" sz="1400" dirty="0" smtClean="0">
                <a:solidFill>
                  <a:schemeClr val="tx1">
                    <a:lumMod val="65000"/>
                    <a:lumOff val="35000"/>
                  </a:schemeClr>
                </a:solidFill>
              </a:rPr>
              <a:t>//create an RDD of key-value pairs that represent the predicted and true values for each data point</a:t>
            </a:r>
          </a:p>
          <a:p>
            <a:pPr marL="110493" lvl="1" indent="0">
              <a:lnSpc>
                <a:spcPts val="2200"/>
              </a:lnSpc>
              <a:spcBef>
                <a:spcPts val="0"/>
              </a:spcBef>
              <a:spcAft>
                <a:spcPts val="0"/>
              </a:spcAft>
              <a:buNone/>
            </a:pPr>
            <a:r>
              <a:rPr lang="en-US" sz="1400" dirty="0">
                <a:solidFill>
                  <a:schemeClr val="accent4"/>
                </a:solidFill>
                <a:latin typeface="Arial Narrow" panose="020B0606020202030204" pitchFamily="34" charset="0"/>
              </a:rPr>
              <a:t>&gt;&gt;&gt; </a:t>
            </a:r>
            <a:r>
              <a:rPr lang="en-US" sz="1400" dirty="0">
                <a:solidFill>
                  <a:schemeClr val="accent2"/>
                </a:solidFill>
              </a:rPr>
              <a:t>val </a:t>
            </a:r>
            <a:r>
              <a:rPr lang="en-US" sz="1400" dirty="0" smtClean="0">
                <a:solidFill>
                  <a:schemeClr val="accent2"/>
                </a:solidFill>
              </a:rPr>
              <a:t> </a:t>
            </a:r>
            <a:r>
              <a:rPr lang="en-US" sz="1400" dirty="0" smtClean="0">
                <a:solidFill>
                  <a:schemeClr val="accent4">
                    <a:lumMod val="75000"/>
                  </a:schemeClr>
                </a:solidFill>
              </a:rPr>
              <a:t>predictedAndTrue = ratingsAndPredictions.map{ case ((user, product), predicted, actual)) =&gt; (predicted, actual)}</a:t>
            </a:r>
          </a:p>
          <a:p>
            <a:pPr marL="110493" lvl="1" indent="0">
              <a:lnSpc>
                <a:spcPts val="2200"/>
              </a:lnSpc>
              <a:spcBef>
                <a:spcPts val="0"/>
              </a:spcBef>
              <a:spcAft>
                <a:spcPts val="0"/>
              </a:spcAft>
              <a:buNone/>
            </a:pPr>
            <a:r>
              <a:rPr lang="en-US" sz="1400" dirty="0" smtClean="0">
                <a:solidFill>
                  <a:schemeClr val="tx1">
                    <a:lumMod val="65000"/>
                    <a:lumOff val="35000"/>
                  </a:schemeClr>
                </a:solidFill>
              </a:rPr>
              <a:t>//Calculate RMSE and MSE Regression Metrics </a:t>
            </a:r>
          </a:p>
          <a:p>
            <a:pPr marL="110493" lvl="1" indent="0">
              <a:lnSpc>
                <a:spcPts val="2200"/>
              </a:lnSpc>
              <a:spcBef>
                <a:spcPts val="0"/>
              </a:spcBef>
              <a:spcAft>
                <a:spcPts val="0"/>
              </a:spcAft>
              <a:buNone/>
            </a:pPr>
            <a:r>
              <a:rPr lang="en-US" sz="1400" dirty="0">
                <a:solidFill>
                  <a:schemeClr val="accent4"/>
                </a:solidFill>
                <a:latin typeface="Arial Narrow" panose="020B0606020202030204" pitchFamily="34" charset="0"/>
              </a:rPr>
              <a:t>&gt;&gt;&gt; </a:t>
            </a:r>
            <a:r>
              <a:rPr lang="en-US" sz="1400" dirty="0">
                <a:solidFill>
                  <a:schemeClr val="accent4">
                    <a:lumMod val="75000"/>
                  </a:schemeClr>
                </a:solidFill>
              </a:rPr>
              <a:t>i</a:t>
            </a:r>
            <a:r>
              <a:rPr lang="en-US" sz="1400" dirty="0" smtClean="0">
                <a:solidFill>
                  <a:schemeClr val="accent4">
                    <a:lumMod val="75000"/>
                  </a:schemeClr>
                </a:solidFill>
              </a:rPr>
              <a:t>mport org.apache.spark.mllib.evaluation.RegressionMetrics</a:t>
            </a:r>
          </a:p>
          <a:p>
            <a:pPr marL="110493" lvl="1" indent="0">
              <a:lnSpc>
                <a:spcPts val="2200"/>
              </a:lnSpc>
              <a:spcBef>
                <a:spcPts val="0"/>
              </a:spcBef>
              <a:spcAft>
                <a:spcPts val="0"/>
              </a:spcAft>
              <a:buNone/>
            </a:pPr>
            <a:r>
              <a:rPr lang="en-US" sz="1400" dirty="0">
                <a:solidFill>
                  <a:schemeClr val="accent4"/>
                </a:solidFill>
                <a:latin typeface="Arial Narrow" panose="020B0606020202030204" pitchFamily="34" charset="0"/>
              </a:rPr>
              <a:t>&gt;&gt;&gt; </a:t>
            </a:r>
            <a:r>
              <a:rPr lang="en-US" sz="1400" dirty="0">
                <a:solidFill>
                  <a:schemeClr val="accent2"/>
                </a:solidFill>
              </a:rPr>
              <a:t>val</a:t>
            </a:r>
            <a:r>
              <a:rPr lang="en-US" sz="1400" dirty="0" smtClean="0">
                <a:solidFill>
                  <a:schemeClr val="accent4">
                    <a:lumMod val="75000"/>
                  </a:schemeClr>
                </a:solidFill>
              </a:rPr>
              <a:t> regressionMetrics = new RegressionMetrics (predictedAndTrue)</a:t>
            </a:r>
            <a:endParaRPr lang="en-US" sz="1400" dirty="0" smtClean="0">
              <a:solidFill>
                <a:schemeClr val="accent4"/>
              </a:solidFill>
              <a:latin typeface="Arial Narrow" panose="020B0606020202030204" pitchFamily="34" charset="0"/>
            </a:endParaRPr>
          </a:p>
          <a:p>
            <a:pPr marL="110493" lvl="1" indent="0">
              <a:lnSpc>
                <a:spcPts val="2200"/>
              </a:lnSpc>
              <a:spcBef>
                <a:spcPts val="0"/>
              </a:spcBef>
              <a:spcAft>
                <a:spcPts val="0"/>
              </a:spcAft>
              <a:buNone/>
            </a:pPr>
            <a:r>
              <a:rPr lang="en-US" sz="1400" dirty="0">
                <a:solidFill>
                  <a:schemeClr val="accent6">
                    <a:lumMod val="50000"/>
                  </a:schemeClr>
                </a:solidFill>
              </a:rPr>
              <a:t>// Mean Squared </a:t>
            </a:r>
            <a:r>
              <a:rPr lang="en-US" sz="1400" dirty="0" smtClean="0">
                <a:solidFill>
                  <a:schemeClr val="accent6">
                    <a:lumMod val="50000"/>
                  </a:schemeClr>
                </a:solidFill>
              </a:rPr>
              <a:t>Error         </a:t>
            </a:r>
            <a:r>
              <a:rPr lang="en-US" sz="1400" dirty="0">
                <a:solidFill>
                  <a:schemeClr val="accent6">
                    <a:lumMod val="50000"/>
                  </a:schemeClr>
                </a:solidFill>
              </a:rPr>
              <a:t>= regressionMetrics.meanSquaredError</a:t>
            </a:r>
          </a:p>
          <a:p>
            <a:pPr marL="110493" lvl="1" indent="0">
              <a:lnSpc>
                <a:spcPts val="2200"/>
              </a:lnSpc>
              <a:spcBef>
                <a:spcPts val="0"/>
              </a:spcBef>
              <a:spcAft>
                <a:spcPts val="0"/>
              </a:spcAft>
              <a:buNone/>
            </a:pPr>
            <a:r>
              <a:rPr lang="en-US" sz="1400" dirty="0">
                <a:solidFill>
                  <a:schemeClr val="accent6">
                    <a:lumMod val="50000"/>
                  </a:schemeClr>
                </a:solidFill>
              </a:rPr>
              <a:t>//Root Mean Squared Error = </a:t>
            </a:r>
            <a:r>
              <a:rPr lang="en-US" sz="1400" dirty="0" smtClean="0">
                <a:solidFill>
                  <a:schemeClr val="accent6">
                    <a:lumMod val="50000"/>
                  </a:schemeClr>
                </a:solidFill>
              </a:rPr>
              <a:t>regressionMetrics.rootMeanSquaredError</a:t>
            </a:r>
            <a:endParaRPr lang="en-US" sz="1400" dirty="0">
              <a:solidFill>
                <a:schemeClr val="accent6">
                  <a:lumMod val="50000"/>
                </a:schemeClr>
              </a:solidFill>
            </a:endParaRPr>
          </a:p>
        </p:txBody>
      </p:sp>
    </p:spTree>
    <p:extLst>
      <p:ext uri="{BB962C8B-B14F-4D97-AF65-F5344CB8AC3E}">
        <p14:creationId xmlns:p14="http://schemas.microsoft.com/office/powerpoint/2010/main" val="1433831439"/>
      </p:ext>
    </p:extLst>
  </p:cSld>
  <p:clrMapOvr>
    <a:masterClrMapping/>
  </p:clrMapOvr>
  <p:transition spd="med">
    <p:fade/>
  </p:transition>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bwMode="auto">
          <a:xfrm>
            <a:off x="1" y="973"/>
            <a:ext cx="5220356" cy="6857027"/>
          </a:xfrm>
          <a:prstGeom prst="rect">
            <a:avLst/>
          </a:prstGeom>
          <a:solidFill>
            <a:srgbClr val="68217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8927" tIns="143428"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endParaRPr lang="en-US" sz="5294" dirty="0">
              <a:solidFill>
                <a:srgbClr val="FFFFFF"/>
              </a:solidFill>
              <a:latin typeface="Segoe UI Light"/>
              <a:ea typeface="Segoe UI" pitchFamily="34" charset="0"/>
              <a:cs typeface="Segoe UI" pitchFamily="34" charset="0"/>
            </a:endParaRPr>
          </a:p>
          <a:p>
            <a:pPr defTabSz="914102" fontAlgn="base">
              <a:lnSpc>
                <a:spcPct val="90000"/>
              </a:lnSpc>
              <a:spcBef>
                <a:spcPct val="0"/>
              </a:spcBef>
              <a:spcAft>
                <a:spcPct val="0"/>
              </a:spcAft>
            </a:pPr>
            <a:endParaRPr lang="en-US" sz="5294" dirty="0">
              <a:solidFill>
                <a:srgbClr val="FFFFFF"/>
              </a:solidFill>
              <a:latin typeface="Segoe UI Light"/>
              <a:ea typeface="Segoe UI" pitchFamily="34" charset="0"/>
              <a:cs typeface="Segoe UI" pitchFamily="34" charset="0"/>
            </a:endParaRPr>
          </a:p>
        </p:txBody>
      </p:sp>
      <p:sp>
        <p:nvSpPr>
          <p:cNvPr id="5" name="Rectangle 4"/>
          <p:cNvSpPr/>
          <p:nvPr/>
        </p:nvSpPr>
        <p:spPr bwMode="auto">
          <a:xfrm>
            <a:off x="1" y="6319659"/>
            <a:ext cx="5220356" cy="537855"/>
          </a:xfrm>
          <a:prstGeom prst="rect">
            <a:avLst/>
          </a:prstGeom>
          <a:solidFill>
            <a:schemeClr val="accent3">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endParaRPr lang="en-US" sz="2353" kern="0" dirty="0">
              <a:ln>
                <a:solidFill>
                  <a:srgbClr val="FFFFFF">
                    <a:alpha val="0"/>
                  </a:srgbClr>
                </a:solidFill>
              </a:ln>
              <a:solidFill>
                <a:srgbClr val="FFFFFF"/>
              </a:solidFill>
              <a:latin typeface="Segoe UI Semibold" panose="020B0702040204020203" pitchFamily="34" charset="0"/>
              <a:ea typeface="MS PGothic" charset="0"/>
              <a:cs typeface="Segoe UI Semibold" panose="020B0702040204020203" pitchFamily="34" charset="0"/>
            </a:endParaRPr>
          </a:p>
        </p:txBody>
      </p:sp>
      <p:sp>
        <p:nvSpPr>
          <p:cNvPr id="6" name="Freeform 5"/>
          <p:cNvSpPr>
            <a:spLocks/>
          </p:cNvSpPr>
          <p:nvPr/>
        </p:nvSpPr>
        <p:spPr bwMode="auto">
          <a:xfrm flipH="1">
            <a:off x="2619107" y="4183803"/>
            <a:ext cx="2601249" cy="2135857"/>
          </a:xfrm>
          <a:custGeom>
            <a:avLst/>
            <a:gdLst>
              <a:gd name="connsiteX0" fmla="*/ 603413 w 1090712"/>
              <a:gd name="connsiteY0" fmla="*/ 721327 h 895572"/>
              <a:gd name="connsiteX1" fmla="*/ 578466 w 1090712"/>
              <a:gd name="connsiteY1" fmla="*/ 770746 h 895572"/>
              <a:gd name="connsiteX2" fmla="*/ 553519 w 1090712"/>
              <a:gd name="connsiteY2" fmla="*/ 818264 h 895572"/>
              <a:gd name="connsiteX3" fmla="*/ 528334 w 1090712"/>
              <a:gd name="connsiteY3" fmla="*/ 865069 h 895572"/>
              <a:gd name="connsiteX4" fmla="*/ 511825 w 1090712"/>
              <a:gd name="connsiteY4" fmla="*/ 895572 h 895572"/>
              <a:gd name="connsiteX5" fmla="*/ 624528 w 1090712"/>
              <a:gd name="connsiteY5" fmla="*/ 895572 h 895572"/>
              <a:gd name="connsiteX6" fmla="*/ 624796 w 1090712"/>
              <a:gd name="connsiteY6" fmla="*/ 894768 h 895572"/>
              <a:gd name="connsiteX7" fmla="*/ 625271 w 1090712"/>
              <a:gd name="connsiteY7" fmla="*/ 891679 h 895572"/>
              <a:gd name="connsiteX8" fmla="*/ 625747 w 1090712"/>
              <a:gd name="connsiteY8" fmla="*/ 889066 h 895572"/>
              <a:gd name="connsiteX9" fmla="*/ 625747 w 1090712"/>
              <a:gd name="connsiteY9" fmla="*/ 860555 h 895572"/>
              <a:gd name="connsiteX10" fmla="*/ 624796 w 1090712"/>
              <a:gd name="connsiteY10" fmla="*/ 833945 h 895572"/>
              <a:gd name="connsiteX11" fmla="*/ 624321 w 1090712"/>
              <a:gd name="connsiteY11" fmla="*/ 820877 h 895572"/>
              <a:gd name="connsiteX12" fmla="*/ 623608 w 1090712"/>
              <a:gd name="connsiteY12" fmla="*/ 808047 h 895572"/>
              <a:gd name="connsiteX13" fmla="*/ 621708 w 1090712"/>
              <a:gd name="connsiteY13" fmla="*/ 795218 h 895572"/>
              <a:gd name="connsiteX14" fmla="*/ 620044 w 1090712"/>
              <a:gd name="connsiteY14" fmla="*/ 782625 h 895572"/>
              <a:gd name="connsiteX15" fmla="*/ 616005 w 1090712"/>
              <a:gd name="connsiteY15" fmla="*/ 766707 h 895572"/>
              <a:gd name="connsiteX16" fmla="*/ 611966 w 1090712"/>
              <a:gd name="connsiteY16" fmla="*/ 751976 h 895572"/>
              <a:gd name="connsiteX17" fmla="*/ 607452 w 1090712"/>
              <a:gd name="connsiteY17" fmla="*/ 737245 h 895572"/>
              <a:gd name="connsiteX18" fmla="*/ 698212 w 1090712"/>
              <a:gd name="connsiteY18" fmla="*/ 530778 h 895572"/>
              <a:gd name="connsiteX19" fmla="*/ 693460 w 1090712"/>
              <a:gd name="connsiteY19" fmla="*/ 534818 h 895572"/>
              <a:gd name="connsiteX20" fmla="*/ 688471 w 1090712"/>
              <a:gd name="connsiteY20" fmla="*/ 538857 h 895572"/>
              <a:gd name="connsiteX21" fmla="*/ 678254 w 1090712"/>
              <a:gd name="connsiteY21" fmla="*/ 546935 h 895572"/>
              <a:gd name="connsiteX22" fmla="*/ 669226 w 1090712"/>
              <a:gd name="connsiteY22" fmla="*/ 553587 h 895572"/>
              <a:gd name="connsiteX23" fmla="*/ 663048 w 1090712"/>
              <a:gd name="connsiteY23" fmla="*/ 558814 h 895572"/>
              <a:gd name="connsiteX24" fmla="*/ 663048 w 1090712"/>
              <a:gd name="connsiteY24" fmla="*/ 556676 h 895572"/>
              <a:gd name="connsiteX25" fmla="*/ 663523 w 1090712"/>
              <a:gd name="connsiteY25" fmla="*/ 554538 h 895572"/>
              <a:gd name="connsiteX26" fmla="*/ 665424 w 1090712"/>
              <a:gd name="connsiteY26" fmla="*/ 550498 h 895572"/>
              <a:gd name="connsiteX27" fmla="*/ 668038 w 1090712"/>
              <a:gd name="connsiteY27" fmla="*/ 546459 h 895572"/>
              <a:gd name="connsiteX28" fmla="*/ 671602 w 1090712"/>
              <a:gd name="connsiteY28" fmla="*/ 542420 h 895572"/>
              <a:gd name="connsiteX29" fmla="*/ 676829 w 1090712"/>
              <a:gd name="connsiteY29" fmla="*/ 538857 h 895572"/>
              <a:gd name="connsiteX30" fmla="*/ 682768 w 1090712"/>
              <a:gd name="connsiteY30" fmla="*/ 535768 h 895572"/>
              <a:gd name="connsiteX31" fmla="*/ 689896 w 1090712"/>
              <a:gd name="connsiteY31" fmla="*/ 533154 h 895572"/>
              <a:gd name="connsiteX32" fmla="*/ 654257 w 1090712"/>
              <a:gd name="connsiteY32" fmla="*/ 302216 h 895572"/>
              <a:gd name="connsiteX33" fmla="*/ 651882 w 1090712"/>
              <a:gd name="connsiteY33" fmla="*/ 302691 h 895572"/>
              <a:gd name="connsiteX34" fmla="*/ 649268 w 1090712"/>
              <a:gd name="connsiteY34" fmla="*/ 303166 h 895572"/>
              <a:gd name="connsiteX35" fmla="*/ 647130 w 1090712"/>
              <a:gd name="connsiteY35" fmla="*/ 304354 h 895572"/>
              <a:gd name="connsiteX36" fmla="*/ 644516 w 1090712"/>
              <a:gd name="connsiteY36" fmla="*/ 306255 h 895572"/>
              <a:gd name="connsiteX37" fmla="*/ 642140 w 1090712"/>
              <a:gd name="connsiteY37" fmla="*/ 307918 h 895572"/>
              <a:gd name="connsiteX38" fmla="*/ 640002 w 1090712"/>
              <a:gd name="connsiteY38" fmla="*/ 310294 h 895572"/>
              <a:gd name="connsiteX39" fmla="*/ 638101 w 1090712"/>
              <a:gd name="connsiteY39" fmla="*/ 312432 h 895572"/>
              <a:gd name="connsiteX40" fmla="*/ 636913 w 1090712"/>
              <a:gd name="connsiteY40" fmla="*/ 314571 h 895572"/>
              <a:gd name="connsiteX41" fmla="*/ 635963 w 1090712"/>
              <a:gd name="connsiteY41" fmla="*/ 316946 h 895572"/>
              <a:gd name="connsiteX42" fmla="*/ 635963 w 1090712"/>
              <a:gd name="connsiteY42" fmla="*/ 319085 h 895572"/>
              <a:gd name="connsiteX43" fmla="*/ 636913 w 1090712"/>
              <a:gd name="connsiteY43" fmla="*/ 321223 h 895572"/>
              <a:gd name="connsiteX44" fmla="*/ 637626 w 1090712"/>
              <a:gd name="connsiteY44" fmla="*/ 324074 h 895572"/>
              <a:gd name="connsiteX45" fmla="*/ 639527 w 1090712"/>
              <a:gd name="connsiteY45" fmla="*/ 326688 h 895572"/>
              <a:gd name="connsiteX46" fmla="*/ 643091 w 1090712"/>
              <a:gd name="connsiteY46" fmla="*/ 331677 h 895572"/>
              <a:gd name="connsiteX47" fmla="*/ 647130 w 1090712"/>
              <a:gd name="connsiteY47" fmla="*/ 335954 h 895572"/>
              <a:gd name="connsiteX48" fmla="*/ 655920 w 1090712"/>
              <a:gd name="connsiteY48" fmla="*/ 330727 h 895572"/>
              <a:gd name="connsiteX49" fmla="*/ 663999 w 1090712"/>
              <a:gd name="connsiteY49" fmla="*/ 324787 h 895572"/>
              <a:gd name="connsiteX50" fmla="*/ 679917 w 1090712"/>
              <a:gd name="connsiteY50" fmla="*/ 313383 h 895572"/>
              <a:gd name="connsiteX51" fmla="*/ 676354 w 1090712"/>
              <a:gd name="connsiteY51" fmla="*/ 311007 h 895572"/>
              <a:gd name="connsiteX52" fmla="*/ 672790 w 1090712"/>
              <a:gd name="connsiteY52" fmla="*/ 308393 h 895572"/>
              <a:gd name="connsiteX53" fmla="*/ 668988 w 1090712"/>
              <a:gd name="connsiteY53" fmla="*/ 306730 h 895572"/>
              <a:gd name="connsiteX54" fmla="*/ 664949 w 1090712"/>
              <a:gd name="connsiteY54" fmla="*/ 304829 h 895572"/>
              <a:gd name="connsiteX55" fmla="*/ 660910 w 1090712"/>
              <a:gd name="connsiteY55" fmla="*/ 303641 h 895572"/>
              <a:gd name="connsiteX56" fmla="*/ 657346 w 1090712"/>
              <a:gd name="connsiteY56" fmla="*/ 302691 h 895572"/>
              <a:gd name="connsiteX57" fmla="*/ 696549 w 1090712"/>
              <a:gd name="connsiteY57" fmla="*/ 252322 h 895572"/>
              <a:gd name="connsiteX58" fmla="*/ 696786 w 1090712"/>
              <a:gd name="connsiteY58" fmla="*/ 259925 h 895572"/>
              <a:gd name="connsiteX59" fmla="*/ 698212 w 1090712"/>
              <a:gd name="connsiteY59" fmla="*/ 266102 h 895572"/>
              <a:gd name="connsiteX60" fmla="*/ 700113 w 1090712"/>
              <a:gd name="connsiteY60" fmla="*/ 272042 h 895572"/>
              <a:gd name="connsiteX61" fmla="*/ 701776 w 1090712"/>
              <a:gd name="connsiteY61" fmla="*/ 276794 h 895572"/>
              <a:gd name="connsiteX62" fmla="*/ 704389 w 1090712"/>
              <a:gd name="connsiteY62" fmla="*/ 280833 h 895572"/>
              <a:gd name="connsiteX63" fmla="*/ 707240 w 1090712"/>
              <a:gd name="connsiteY63" fmla="*/ 284397 h 895572"/>
              <a:gd name="connsiteX64" fmla="*/ 710329 w 1090712"/>
              <a:gd name="connsiteY64" fmla="*/ 287010 h 895572"/>
              <a:gd name="connsiteX65" fmla="*/ 713418 w 1090712"/>
              <a:gd name="connsiteY65" fmla="*/ 289624 h 895572"/>
              <a:gd name="connsiteX66" fmla="*/ 716506 w 1090712"/>
              <a:gd name="connsiteY66" fmla="*/ 291524 h 895572"/>
              <a:gd name="connsiteX67" fmla="*/ 719595 w 1090712"/>
              <a:gd name="connsiteY67" fmla="*/ 293187 h 895572"/>
              <a:gd name="connsiteX68" fmla="*/ 725772 w 1090712"/>
              <a:gd name="connsiteY68" fmla="*/ 295088 h 895572"/>
              <a:gd name="connsiteX69" fmla="*/ 731237 w 1090712"/>
              <a:gd name="connsiteY69" fmla="*/ 296514 h 895572"/>
              <a:gd name="connsiteX70" fmla="*/ 734801 w 1090712"/>
              <a:gd name="connsiteY70" fmla="*/ 296751 h 895572"/>
              <a:gd name="connsiteX71" fmla="*/ 722209 w 1090712"/>
              <a:gd name="connsiteY71" fmla="*/ 303879 h 895572"/>
              <a:gd name="connsiteX72" fmla="*/ 710804 w 1090712"/>
              <a:gd name="connsiteY72" fmla="*/ 311007 h 895572"/>
              <a:gd name="connsiteX73" fmla="*/ 688471 w 1090712"/>
              <a:gd name="connsiteY73" fmla="*/ 324787 h 895572"/>
              <a:gd name="connsiteX74" fmla="*/ 667563 w 1090712"/>
              <a:gd name="connsiteY74" fmla="*/ 339043 h 895572"/>
              <a:gd name="connsiteX75" fmla="*/ 646179 w 1090712"/>
              <a:gd name="connsiteY75" fmla="*/ 352823 h 895572"/>
              <a:gd name="connsiteX76" fmla="*/ 620044 w 1090712"/>
              <a:gd name="connsiteY76" fmla="*/ 313383 h 895572"/>
              <a:gd name="connsiteX77" fmla="*/ 617668 w 1090712"/>
              <a:gd name="connsiteY77" fmla="*/ 312432 h 895572"/>
              <a:gd name="connsiteX78" fmla="*/ 615055 w 1090712"/>
              <a:gd name="connsiteY78" fmla="*/ 312432 h 895572"/>
              <a:gd name="connsiteX79" fmla="*/ 612441 w 1090712"/>
              <a:gd name="connsiteY79" fmla="*/ 313383 h 895572"/>
              <a:gd name="connsiteX80" fmla="*/ 609353 w 1090712"/>
              <a:gd name="connsiteY80" fmla="*/ 314095 h 895572"/>
              <a:gd name="connsiteX81" fmla="*/ 602938 w 1090712"/>
              <a:gd name="connsiteY81" fmla="*/ 316946 h 895572"/>
              <a:gd name="connsiteX82" fmla="*/ 599849 w 1090712"/>
              <a:gd name="connsiteY82" fmla="*/ 317659 h 895572"/>
              <a:gd name="connsiteX83" fmla="*/ 596760 w 1090712"/>
              <a:gd name="connsiteY83" fmla="*/ 318610 h 895572"/>
              <a:gd name="connsiteX84" fmla="*/ 607927 w 1090712"/>
              <a:gd name="connsiteY84" fmla="*/ 307205 h 895572"/>
              <a:gd name="connsiteX85" fmla="*/ 618619 w 1090712"/>
              <a:gd name="connsiteY85" fmla="*/ 295088 h 895572"/>
              <a:gd name="connsiteX86" fmla="*/ 623846 w 1090712"/>
              <a:gd name="connsiteY86" fmla="*/ 289386 h 895572"/>
              <a:gd name="connsiteX87" fmla="*/ 629786 w 1090712"/>
              <a:gd name="connsiteY87" fmla="*/ 283921 h 895572"/>
              <a:gd name="connsiteX88" fmla="*/ 635963 w 1090712"/>
              <a:gd name="connsiteY88" fmla="*/ 278694 h 895572"/>
              <a:gd name="connsiteX89" fmla="*/ 642140 w 1090712"/>
              <a:gd name="connsiteY89" fmla="*/ 273705 h 895572"/>
              <a:gd name="connsiteX90" fmla="*/ 648793 w 1090712"/>
              <a:gd name="connsiteY90" fmla="*/ 269191 h 895572"/>
              <a:gd name="connsiteX91" fmla="*/ 655446 w 1090712"/>
              <a:gd name="connsiteY91" fmla="*/ 265627 h 895572"/>
              <a:gd name="connsiteX92" fmla="*/ 662098 w 1090712"/>
              <a:gd name="connsiteY92" fmla="*/ 263013 h 895572"/>
              <a:gd name="connsiteX93" fmla="*/ 668988 w 1090712"/>
              <a:gd name="connsiteY93" fmla="*/ 260400 h 895572"/>
              <a:gd name="connsiteX94" fmla="*/ 682768 w 1090712"/>
              <a:gd name="connsiteY94" fmla="*/ 256361 h 895572"/>
              <a:gd name="connsiteX95" fmla="*/ 1030602 w 1090712"/>
              <a:gd name="connsiteY95" fmla="*/ 200289 h 895572"/>
              <a:gd name="connsiteX96" fmla="*/ 1027513 w 1090712"/>
              <a:gd name="connsiteY96" fmla="*/ 207892 h 895572"/>
              <a:gd name="connsiteX97" fmla="*/ 1023949 w 1090712"/>
              <a:gd name="connsiteY97" fmla="*/ 214545 h 895572"/>
              <a:gd name="connsiteX98" fmla="*/ 1019910 w 1090712"/>
              <a:gd name="connsiteY98" fmla="*/ 221197 h 895572"/>
              <a:gd name="connsiteX99" fmla="*/ 1015396 w 1090712"/>
              <a:gd name="connsiteY99" fmla="*/ 226899 h 895572"/>
              <a:gd name="connsiteX100" fmla="*/ 1011119 w 1090712"/>
              <a:gd name="connsiteY100" fmla="*/ 232839 h 895572"/>
              <a:gd name="connsiteX101" fmla="*/ 1006130 w 1090712"/>
              <a:gd name="connsiteY101" fmla="*/ 237591 h 895572"/>
              <a:gd name="connsiteX102" fmla="*/ 1001140 w 1090712"/>
              <a:gd name="connsiteY102" fmla="*/ 242105 h 895572"/>
              <a:gd name="connsiteX103" fmla="*/ 996388 w 1090712"/>
              <a:gd name="connsiteY103" fmla="*/ 246144 h 895572"/>
              <a:gd name="connsiteX104" fmla="*/ 990924 w 1090712"/>
              <a:gd name="connsiteY104" fmla="*/ 249708 h 895572"/>
              <a:gd name="connsiteX105" fmla="*/ 985697 w 1090712"/>
              <a:gd name="connsiteY105" fmla="*/ 252797 h 895572"/>
              <a:gd name="connsiteX106" fmla="*/ 980232 w 1090712"/>
              <a:gd name="connsiteY106" fmla="*/ 254935 h 895572"/>
              <a:gd name="connsiteX107" fmla="*/ 975005 w 1090712"/>
              <a:gd name="connsiteY107" fmla="*/ 256836 h 895572"/>
              <a:gd name="connsiteX108" fmla="*/ 969541 w 1090712"/>
              <a:gd name="connsiteY108" fmla="*/ 258262 h 895572"/>
              <a:gd name="connsiteX109" fmla="*/ 963839 w 1090712"/>
              <a:gd name="connsiteY109" fmla="*/ 258499 h 895572"/>
              <a:gd name="connsiteX110" fmla="*/ 958612 w 1090712"/>
              <a:gd name="connsiteY110" fmla="*/ 258499 h 895572"/>
              <a:gd name="connsiteX111" fmla="*/ 953622 w 1090712"/>
              <a:gd name="connsiteY111" fmla="*/ 257786 h 895572"/>
              <a:gd name="connsiteX112" fmla="*/ 970966 w 1090712"/>
              <a:gd name="connsiteY112" fmla="*/ 244006 h 895572"/>
              <a:gd name="connsiteX113" fmla="*/ 990211 w 1090712"/>
              <a:gd name="connsiteY113" fmla="*/ 229275 h 895572"/>
              <a:gd name="connsiteX114" fmla="*/ 1010169 w 1090712"/>
              <a:gd name="connsiteY114" fmla="*/ 214069 h 895572"/>
              <a:gd name="connsiteX115" fmla="*/ 1020385 w 1090712"/>
              <a:gd name="connsiteY115" fmla="*/ 206942 h 895572"/>
              <a:gd name="connsiteX116" fmla="*/ 389581 w 1090712"/>
              <a:gd name="connsiteY116" fmla="*/ 176768 h 895572"/>
              <a:gd name="connsiteX117" fmla="*/ 397422 w 1090712"/>
              <a:gd name="connsiteY117" fmla="*/ 177243 h 895572"/>
              <a:gd name="connsiteX118" fmla="*/ 414766 w 1090712"/>
              <a:gd name="connsiteY118" fmla="*/ 178906 h 895572"/>
              <a:gd name="connsiteX119" fmla="*/ 405500 w 1090712"/>
              <a:gd name="connsiteY119" fmla="*/ 179856 h 895572"/>
              <a:gd name="connsiteX120" fmla="*/ 396946 w 1090712"/>
              <a:gd name="connsiteY120" fmla="*/ 181995 h 895572"/>
              <a:gd name="connsiteX121" fmla="*/ 389581 w 1090712"/>
              <a:gd name="connsiteY121" fmla="*/ 184371 h 895572"/>
              <a:gd name="connsiteX122" fmla="*/ 381978 w 1090712"/>
              <a:gd name="connsiteY122" fmla="*/ 186984 h 895572"/>
              <a:gd name="connsiteX123" fmla="*/ 375326 w 1090712"/>
              <a:gd name="connsiteY123" fmla="*/ 190548 h 895572"/>
              <a:gd name="connsiteX124" fmla="*/ 368911 w 1090712"/>
              <a:gd name="connsiteY124" fmla="*/ 194112 h 895572"/>
              <a:gd name="connsiteX125" fmla="*/ 363208 w 1090712"/>
              <a:gd name="connsiteY125" fmla="*/ 198626 h 895572"/>
              <a:gd name="connsiteX126" fmla="*/ 357981 w 1090712"/>
              <a:gd name="connsiteY126" fmla="*/ 202903 h 895572"/>
              <a:gd name="connsiteX127" fmla="*/ 352517 w 1090712"/>
              <a:gd name="connsiteY127" fmla="*/ 208367 h 895572"/>
              <a:gd name="connsiteX128" fmla="*/ 348003 w 1090712"/>
              <a:gd name="connsiteY128" fmla="*/ 214070 h 895572"/>
              <a:gd name="connsiteX129" fmla="*/ 343726 w 1090712"/>
              <a:gd name="connsiteY129" fmla="*/ 220247 h 895572"/>
              <a:gd name="connsiteX130" fmla="*/ 339687 w 1090712"/>
              <a:gd name="connsiteY130" fmla="*/ 226662 h 895572"/>
              <a:gd name="connsiteX131" fmla="*/ 335648 w 1090712"/>
              <a:gd name="connsiteY131" fmla="*/ 233790 h 895572"/>
              <a:gd name="connsiteX132" fmla="*/ 332559 w 1090712"/>
              <a:gd name="connsiteY132" fmla="*/ 240917 h 895572"/>
              <a:gd name="connsiteX133" fmla="*/ 328995 w 1090712"/>
              <a:gd name="connsiteY133" fmla="*/ 248758 h 895572"/>
              <a:gd name="connsiteX134" fmla="*/ 325907 w 1090712"/>
              <a:gd name="connsiteY134" fmla="*/ 256836 h 895572"/>
              <a:gd name="connsiteX135" fmla="*/ 325432 w 1090712"/>
              <a:gd name="connsiteY135" fmla="*/ 252797 h 895572"/>
              <a:gd name="connsiteX136" fmla="*/ 324956 w 1090712"/>
              <a:gd name="connsiteY136" fmla="*/ 248283 h 895572"/>
              <a:gd name="connsiteX137" fmla="*/ 323056 w 1090712"/>
              <a:gd name="connsiteY137" fmla="*/ 239492 h 895572"/>
              <a:gd name="connsiteX138" fmla="*/ 320917 w 1090712"/>
              <a:gd name="connsiteY138" fmla="*/ 229275 h 895572"/>
              <a:gd name="connsiteX139" fmla="*/ 320442 w 1090712"/>
              <a:gd name="connsiteY139" fmla="*/ 223811 h 895572"/>
              <a:gd name="connsiteX140" fmla="*/ 319967 w 1090712"/>
              <a:gd name="connsiteY140" fmla="*/ 217633 h 895572"/>
              <a:gd name="connsiteX141" fmla="*/ 314740 w 1090712"/>
              <a:gd name="connsiteY141" fmla="*/ 217633 h 895572"/>
              <a:gd name="connsiteX142" fmla="*/ 302148 w 1090712"/>
              <a:gd name="connsiteY142" fmla="*/ 243056 h 895572"/>
              <a:gd name="connsiteX143" fmla="*/ 289793 w 1090712"/>
              <a:gd name="connsiteY143" fmla="*/ 267528 h 895572"/>
              <a:gd name="connsiteX144" fmla="*/ 277438 w 1090712"/>
              <a:gd name="connsiteY144" fmla="*/ 291049 h 895572"/>
              <a:gd name="connsiteX145" fmla="*/ 264371 w 1090712"/>
              <a:gd name="connsiteY145" fmla="*/ 312907 h 895572"/>
              <a:gd name="connsiteX146" fmla="*/ 267459 w 1090712"/>
              <a:gd name="connsiteY146" fmla="*/ 295088 h 895572"/>
              <a:gd name="connsiteX147" fmla="*/ 271023 w 1090712"/>
              <a:gd name="connsiteY147" fmla="*/ 279170 h 895572"/>
              <a:gd name="connsiteX148" fmla="*/ 274587 w 1090712"/>
              <a:gd name="connsiteY148" fmla="*/ 263964 h 895572"/>
              <a:gd name="connsiteX149" fmla="*/ 279101 w 1090712"/>
              <a:gd name="connsiteY149" fmla="*/ 250183 h 895572"/>
              <a:gd name="connsiteX150" fmla="*/ 284091 w 1090712"/>
              <a:gd name="connsiteY150" fmla="*/ 238066 h 895572"/>
              <a:gd name="connsiteX151" fmla="*/ 289318 w 1090712"/>
              <a:gd name="connsiteY151" fmla="*/ 226900 h 895572"/>
              <a:gd name="connsiteX152" fmla="*/ 292406 w 1090712"/>
              <a:gd name="connsiteY152" fmla="*/ 221673 h 895572"/>
              <a:gd name="connsiteX153" fmla="*/ 295495 w 1090712"/>
              <a:gd name="connsiteY153" fmla="*/ 217158 h 895572"/>
              <a:gd name="connsiteX154" fmla="*/ 298584 w 1090712"/>
              <a:gd name="connsiteY154" fmla="*/ 212406 h 895572"/>
              <a:gd name="connsiteX155" fmla="*/ 302148 w 1090712"/>
              <a:gd name="connsiteY155" fmla="*/ 208367 h 895572"/>
              <a:gd name="connsiteX156" fmla="*/ 305711 w 1090712"/>
              <a:gd name="connsiteY156" fmla="*/ 204328 h 895572"/>
              <a:gd name="connsiteX157" fmla="*/ 309275 w 1090712"/>
              <a:gd name="connsiteY157" fmla="*/ 200765 h 895572"/>
              <a:gd name="connsiteX158" fmla="*/ 313314 w 1090712"/>
              <a:gd name="connsiteY158" fmla="*/ 197201 h 895572"/>
              <a:gd name="connsiteX159" fmla="*/ 317354 w 1090712"/>
              <a:gd name="connsiteY159" fmla="*/ 194112 h 895572"/>
              <a:gd name="connsiteX160" fmla="*/ 321868 w 1090712"/>
              <a:gd name="connsiteY160" fmla="*/ 191498 h 895572"/>
              <a:gd name="connsiteX161" fmla="*/ 326382 w 1090712"/>
              <a:gd name="connsiteY161" fmla="*/ 188647 h 895572"/>
              <a:gd name="connsiteX162" fmla="*/ 330659 w 1090712"/>
              <a:gd name="connsiteY162" fmla="*/ 186509 h 895572"/>
              <a:gd name="connsiteX163" fmla="*/ 335648 w 1090712"/>
              <a:gd name="connsiteY163" fmla="*/ 184371 h 895572"/>
              <a:gd name="connsiteX164" fmla="*/ 340637 w 1090712"/>
              <a:gd name="connsiteY164" fmla="*/ 182470 h 895572"/>
              <a:gd name="connsiteX165" fmla="*/ 345864 w 1090712"/>
              <a:gd name="connsiteY165" fmla="*/ 181282 h 895572"/>
              <a:gd name="connsiteX166" fmla="*/ 351091 w 1090712"/>
              <a:gd name="connsiteY166" fmla="*/ 179856 h 895572"/>
              <a:gd name="connsiteX167" fmla="*/ 357031 w 1090712"/>
              <a:gd name="connsiteY167" fmla="*/ 178431 h 895572"/>
              <a:gd name="connsiteX168" fmla="*/ 368911 w 1090712"/>
              <a:gd name="connsiteY168" fmla="*/ 177243 h 895572"/>
              <a:gd name="connsiteX169" fmla="*/ 381978 w 1090712"/>
              <a:gd name="connsiteY169" fmla="*/ 176768 h 895572"/>
              <a:gd name="connsiteX170" fmla="*/ 609353 w 1090712"/>
              <a:gd name="connsiteY170" fmla="*/ 174629 h 895572"/>
              <a:gd name="connsiteX171" fmla="*/ 602463 w 1090712"/>
              <a:gd name="connsiteY171" fmla="*/ 180807 h 895572"/>
              <a:gd name="connsiteX172" fmla="*/ 596285 w 1090712"/>
              <a:gd name="connsiteY172" fmla="*/ 187459 h 895572"/>
              <a:gd name="connsiteX173" fmla="*/ 583931 w 1090712"/>
              <a:gd name="connsiteY173" fmla="*/ 201715 h 895572"/>
              <a:gd name="connsiteX174" fmla="*/ 571101 w 1090712"/>
              <a:gd name="connsiteY174" fmla="*/ 215495 h 895572"/>
              <a:gd name="connsiteX175" fmla="*/ 564686 w 1090712"/>
              <a:gd name="connsiteY175" fmla="*/ 222148 h 895572"/>
              <a:gd name="connsiteX176" fmla="*/ 558508 w 1090712"/>
              <a:gd name="connsiteY176" fmla="*/ 228325 h 895572"/>
              <a:gd name="connsiteX177" fmla="*/ 557558 w 1090712"/>
              <a:gd name="connsiteY177" fmla="*/ 223335 h 895572"/>
              <a:gd name="connsiteX178" fmla="*/ 557083 w 1090712"/>
              <a:gd name="connsiteY178" fmla="*/ 219059 h 895572"/>
              <a:gd name="connsiteX179" fmla="*/ 557083 w 1090712"/>
              <a:gd name="connsiteY179" fmla="*/ 215020 h 895572"/>
              <a:gd name="connsiteX180" fmla="*/ 557558 w 1090712"/>
              <a:gd name="connsiteY180" fmla="*/ 210981 h 895572"/>
              <a:gd name="connsiteX181" fmla="*/ 558508 w 1090712"/>
              <a:gd name="connsiteY181" fmla="*/ 207417 h 895572"/>
              <a:gd name="connsiteX182" fmla="*/ 560409 w 1090712"/>
              <a:gd name="connsiteY182" fmla="*/ 203853 h 895572"/>
              <a:gd name="connsiteX183" fmla="*/ 562072 w 1090712"/>
              <a:gd name="connsiteY183" fmla="*/ 200764 h 895572"/>
              <a:gd name="connsiteX184" fmla="*/ 564686 w 1090712"/>
              <a:gd name="connsiteY184" fmla="*/ 197676 h 895572"/>
              <a:gd name="connsiteX185" fmla="*/ 567774 w 1090712"/>
              <a:gd name="connsiteY185" fmla="*/ 194587 h 895572"/>
              <a:gd name="connsiteX186" fmla="*/ 571813 w 1090712"/>
              <a:gd name="connsiteY186" fmla="*/ 191973 h 895572"/>
              <a:gd name="connsiteX187" fmla="*/ 576328 w 1090712"/>
              <a:gd name="connsiteY187" fmla="*/ 188647 h 895572"/>
              <a:gd name="connsiteX188" fmla="*/ 581317 w 1090712"/>
              <a:gd name="connsiteY188" fmla="*/ 186034 h 895572"/>
              <a:gd name="connsiteX189" fmla="*/ 587019 w 1090712"/>
              <a:gd name="connsiteY189" fmla="*/ 183420 h 895572"/>
              <a:gd name="connsiteX190" fmla="*/ 593672 w 1090712"/>
              <a:gd name="connsiteY190" fmla="*/ 180332 h 895572"/>
              <a:gd name="connsiteX191" fmla="*/ 586544 w 1090712"/>
              <a:gd name="connsiteY191" fmla="*/ 0 h 895572"/>
              <a:gd name="connsiteX192" fmla="*/ 570150 w 1090712"/>
              <a:gd name="connsiteY192" fmla="*/ 2851 h 895572"/>
              <a:gd name="connsiteX193" fmla="*/ 553519 w 1090712"/>
              <a:gd name="connsiteY193" fmla="*/ 5940 h 895572"/>
              <a:gd name="connsiteX194" fmla="*/ 536650 w 1090712"/>
              <a:gd name="connsiteY194" fmla="*/ 10454 h 895572"/>
              <a:gd name="connsiteX195" fmla="*/ 520256 w 1090712"/>
              <a:gd name="connsiteY195" fmla="*/ 14731 h 895572"/>
              <a:gd name="connsiteX196" fmla="*/ 486993 w 1090712"/>
              <a:gd name="connsiteY196" fmla="*/ 24472 h 895572"/>
              <a:gd name="connsiteX197" fmla="*/ 469887 w 1090712"/>
              <a:gd name="connsiteY197" fmla="*/ 28986 h 895572"/>
              <a:gd name="connsiteX198" fmla="*/ 453493 w 1090712"/>
              <a:gd name="connsiteY198" fmla="*/ 33500 h 895572"/>
              <a:gd name="connsiteX199" fmla="*/ 438762 w 1090712"/>
              <a:gd name="connsiteY199" fmla="*/ 40153 h 895572"/>
              <a:gd name="connsiteX200" fmla="*/ 424507 w 1090712"/>
              <a:gd name="connsiteY200" fmla="*/ 47281 h 895572"/>
              <a:gd name="connsiteX201" fmla="*/ 417379 w 1090712"/>
              <a:gd name="connsiteY201" fmla="*/ 51320 h 895572"/>
              <a:gd name="connsiteX202" fmla="*/ 410727 w 1090712"/>
              <a:gd name="connsiteY202" fmla="*/ 55834 h 895572"/>
              <a:gd name="connsiteX203" fmla="*/ 403599 w 1090712"/>
              <a:gd name="connsiteY203" fmla="*/ 60111 h 895572"/>
              <a:gd name="connsiteX204" fmla="*/ 397422 w 1090712"/>
              <a:gd name="connsiteY204" fmla="*/ 65100 h 895572"/>
              <a:gd name="connsiteX205" fmla="*/ 390769 w 1090712"/>
              <a:gd name="connsiteY205" fmla="*/ 69852 h 895572"/>
              <a:gd name="connsiteX206" fmla="*/ 384592 w 1090712"/>
              <a:gd name="connsiteY206" fmla="*/ 75792 h 895572"/>
              <a:gd name="connsiteX207" fmla="*/ 378889 w 1090712"/>
              <a:gd name="connsiteY207" fmla="*/ 81494 h 895572"/>
              <a:gd name="connsiteX208" fmla="*/ 372950 w 1090712"/>
              <a:gd name="connsiteY208" fmla="*/ 87671 h 895572"/>
              <a:gd name="connsiteX209" fmla="*/ 367723 w 1090712"/>
              <a:gd name="connsiteY209" fmla="*/ 94324 h 895572"/>
              <a:gd name="connsiteX210" fmla="*/ 362733 w 1090712"/>
              <a:gd name="connsiteY210" fmla="*/ 101452 h 895572"/>
              <a:gd name="connsiteX211" fmla="*/ 357981 w 1090712"/>
              <a:gd name="connsiteY211" fmla="*/ 109055 h 895572"/>
              <a:gd name="connsiteX212" fmla="*/ 353467 w 1090712"/>
              <a:gd name="connsiteY212" fmla="*/ 117608 h 895572"/>
              <a:gd name="connsiteX213" fmla="*/ 409064 w 1090712"/>
              <a:gd name="connsiteY213" fmla="*/ 117608 h 895572"/>
              <a:gd name="connsiteX214" fmla="*/ 406925 w 1090712"/>
              <a:gd name="connsiteY214" fmla="*/ 119271 h 895572"/>
              <a:gd name="connsiteX215" fmla="*/ 404074 w 1090712"/>
              <a:gd name="connsiteY215" fmla="*/ 121647 h 895572"/>
              <a:gd name="connsiteX216" fmla="*/ 400510 w 1090712"/>
              <a:gd name="connsiteY216" fmla="*/ 123310 h 895572"/>
              <a:gd name="connsiteX217" fmla="*/ 397422 w 1090712"/>
              <a:gd name="connsiteY217" fmla="*/ 125211 h 895572"/>
              <a:gd name="connsiteX218" fmla="*/ 393383 w 1090712"/>
              <a:gd name="connsiteY218" fmla="*/ 126399 h 895572"/>
              <a:gd name="connsiteX219" fmla="*/ 389581 w 1090712"/>
              <a:gd name="connsiteY219" fmla="*/ 127824 h 895572"/>
              <a:gd name="connsiteX220" fmla="*/ 385542 w 1090712"/>
              <a:gd name="connsiteY220" fmla="*/ 128299 h 895572"/>
              <a:gd name="connsiteX221" fmla="*/ 381503 w 1090712"/>
              <a:gd name="connsiteY221" fmla="*/ 128774 h 895572"/>
              <a:gd name="connsiteX222" fmla="*/ 375326 w 1090712"/>
              <a:gd name="connsiteY222" fmla="*/ 130438 h 895572"/>
              <a:gd name="connsiteX223" fmla="*/ 368435 w 1090712"/>
              <a:gd name="connsiteY223" fmla="*/ 131863 h 895572"/>
              <a:gd name="connsiteX224" fmla="*/ 361783 w 1090712"/>
              <a:gd name="connsiteY224" fmla="*/ 133051 h 895572"/>
              <a:gd name="connsiteX225" fmla="*/ 355606 w 1090712"/>
              <a:gd name="connsiteY225" fmla="*/ 134001 h 895572"/>
              <a:gd name="connsiteX226" fmla="*/ 342300 w 1090712"/>
              <a:gd name="connsiteY226" fmla="*/ 135427 h 895572"/>
              <a:gd name="connsiteX227" fmla="*/ 329471 w 1090712"/>
              <a:gd name="connsiteY227" fmla="*/ 137090 h 895572"/>
              <a:gd name="connsiteX228" fmla="*/ 322818 w 1090712"/>
              <a:gd name="connsiteY228" fmla="*/ 138040 h 895572"/>
              <a:gd name="connsiteX229" fmla="*/ 316403 w 1090712"/>
              <a:gd name="connsiteY229" fmla="*/ 139704 h 895572"/>
              <a:gd name="connsiteX230" fmla="*/ 310226 w 1090712"/>
              <a:gd name="connsiteY230" fmla="*/ 141604 h 895572"/>
              <a:gd name="connsiteX231" fmla="*/ 304048 w 1090712"/>
              <a:gd name="connsiteY231" fmla="*/ 144218 h 895572"/>
              <a:gd name="connsiteX232" fmla="*/ 298346 w 1090712"/>
              <a:gd name="connsiteY232" fmla="*/ 147307 h 895572"/>
              <a:gd name="connsiteX233" fmla="*/ 292406 w 1090712"/>
              <a:gd name="connsiteY233" fmla="*/ 151346 h 895572"/>
              <a:gd name="connsiteX234" fmla="*/ 286704 w 1090712"/>
              <a:gd name="connsiteY234" fmla="*/ 156335 h 895572"/>
              <a:gd name="connsiteX235" fmla="*/ 281240 w 1090712"/>
              <a:gd name="connsiteY235" fmla="*/ 162037 h 895572"/>
              <a:gd name="connsiteX236" fmla="*/ 262232 w 1090712"/>
              <a:gd name="connsiteY236" fmla="*/ 182945 h 895572"/>
              <a:gd name="connsiteX237" fmla="*/ 242987 w 1090712"/>
              <a:gd name="connsiteY237" fmla="*/ 203378 h 895572"/>
              <a:gd name="connsiteX238" fmla="*/ 203547 w 1090712"/>
              <a:gd name="connsiteY238" fmla="*/ 244006 h 895572"/>
              <a:gd name="connsiteX239" fmla="*/ 183827 w 1090712"/>
              <a:gd name="connsiteY239" fmla="*/ 264439 h 895572"/>
              <a:gd name="connsiteX240" fmla="*/ 164345 w 1090712"/>
              <a:gd name="connsiteY240" fmla="*/ 285822 h 895572"/>
              <a:gd name="connsiteX241" fmla="*/ 144862 w 1090712"/>
              <a:gd name="connsiteY241" fmla="*/ 307443 h 895572"/>
              <a:gd name="connsiteX242" fmla="*/ 126093 w 1090712"/>
              <a:gd name="connsiteY242" fmla="*/ 329777 h 895572"/>
              <a:gd name="connsiteX243" fmla="*/ 122054 w 1090712"/>
              <a:gd name="connsiteY243" fmla="*/ 335004 h 895572"/>
              <a:gd name="connsiteX244" fmla="*/ 118015 w 1090712"/>
              <a:gd name="connsiteY244" fmla="*/ 340468 h 895572"/>
              <a:gd name="connsiteX245" fmla="*/ 110887 w 1090712"/>
              <a:gd name="connsiteY245" fmla="*/ 352110 h 895572"/>
              <a:gd name="connsiteX246" fmla="*/ 104709 w 1090712"/>
              <a:gd name="connsiteY246" fmla="*/ 363514 h 895572"/>
              <a:gd name="connsiteX247" fmla="*/ 99007 w 1090712"/>
              <a:gd name="connsiteY247" fmla="*/ 375156 h 895572"/>
              <a:gd name="connsiteX248" fmla="*/ 87840 w 1090712"/>
              <a:gd name="connsiteY248" fmla="*/ 400103 h 895572"/>
              <a:gd name="connsiteX249" fmla="*/ 82138 w 1090712"/>
              <a:gd name="connsiteY249" fmla="*/ 412458 h 895572"/>
              <a:gd name="connsiteX250" fmla="*/ 75723 w 1090712"/>
              <a:gd name="connsiteY250" fmla="*/ 425050 h 895572"/>
              <a:gd name="connsiteX251" fmla="*/ 75723 w 1090712"/>
              <a:gd name="connsiteY251" fmla="*/ 429802 h 895572"/>
              <a:gd name="connsiteX252" fmla="*/ 76674 w 1090712"/>
              <a:gd name="connsiteY252" fmla="*/ 436217 h 895572"/>
              <a:gd name="connsiteX253" fmla="*/ 77149 w 1090712"/>
              <a:gd name="connsiteY253" fmla="*/ 439306 h 895572"/>
              <a:gd name="connsiteX254" fmla="*/ 78574 w 1090712"/>
              <a:gd name="connsiteY254" fmla="*/ 442395 h 895572"/>
              <a:gd name="connsiteX255" fmla="*/ 79762 w 1090712"/>
              <a:gd name="connsiteY255" fmla="*/ 445008 h 895572"/>
              <a:gd name="connsiteX256" fmla="*/ 81663 w 1090712"/>
              <a:gd name="connsiteY256" fmla="*/ 447147 h 895572"/>
              <a:gd name="connsiteX257" fmla="*/ 94018 w 1090712"/>
              <a:gd name="connsiteY257" fmla="*/ 468055 h 895572"/>
              <a:gd name="connsiteX258" fmla="*/ 106848 w 1090712"/>
              <a:gd name="connsiteY258" fmla="*/ 488963 h 895572"/>
              <a:gd name="connsiteX259" fmla="*/ 113975 w 1090712"/>
              <a:gd name="connsiteY259" fmla="*/ 499654 h 895572"/>
              <a:gd name="connsiteX260" fmla="*/ 121103 w 1090712"/>
              <a:gd name="connsiteY260" fmla="*/ 510346 h 895572"/>
              <a:gd name="connsiteX261" fmla="*/ 128706 w 1090712"/>
              <a:gd name="connsiteY261" fmla="*/ 520562 h 895572"/>
              <a:gd name="connsiteX262" fmla="*/ 137259 w 1090712"/>
              <a:gd name="connsiteY262" fmla="*/ 531254 h 895572"/>
              <a:gd name="connsiteX263" fmla="*/ 149614 w 1090712"/>
              <a:gd name="connsiteY263" fmla="*/ 514385 h 895572"/>
              <a:gd name="connsiteX264" fmla="*/ 162206 w 1090712"/>
              <a:gd name="connsiteY264" fmla="*/ 498466 h 895572"/>
              <a:gd name="connsiteX265" fmla="*/ 174561 w 1090712"/>
              <a:gd name="connsiteY265" fmla="*/ 483260 h 895572"/>
              <a:gd name="connsiteX266" fmla="*/ 180739 w 1090712"/>
              <a:gd name="connsiteY266" fmla="*/ 476133 h 895572"/>
              <a:gd name="connsiteX267" fmla="*/ 186916 w 1090712"/>
              <a:gd name="connsiteY267" fmla="*/ 469480 h 895572"/>
              <a:gd name="connsiteX268" fmla="*/ 182639 w 1090712"/>
              <a:gd name="connsiteY268" fmla="*/ 482310 h 895572"/>
              <a:gd name="connsiteX269" fmla="*/ 178125 w 1090712"/>
              <a:gd name="connsiteY269" fmla="*/ 495615 h 895572"/>
              <a:gd name="connsiteX270" fmla="*/ 172423 w 1090712"/>
              <a:gd name="connsiteY270" fmla="*/ 509871 h 895572"/>
              <a:gd name="connsiteX271" fmla="*/ 164820 w 1090712"/>
              <a:gd name="connsiteY271" fmla="*/ 525552 h 895572"/>
              <a:gd name="connsiteX272" fmla="*/ 156267 w 1090712"/>
              <a:gd name="connsiteY272" fmla="*/ 538381 h 895572"/>
              <a:gd name="connsiteX273" fmla="*/ 152703 w 1090712"/>
              <a:gd name="connsiteY273" fmla="*/ 544559 h 895572"/>
              <a:gd name="connsiteX274" fmla="*/ 148664 w 1090712"/>
              <a:gd name="connsiteY274" fmla="*/ 551449 h 895572"/>
              <a:gd name="connsiteX275" fmla="*/ 145100 w 1090712"/>
              <a:gd name="connsiteY275" fmla="*/ 558339 h 895572"/>
              <a:gd name="connsiteX276" fmla="*/ 142011 w 1090712"/>
              <a:gd name="connsiteY276" fmla="*/ 565467 h 895572"/>
              <a:gd name="connsiteX277" fmla="*/ 139398 w 1090712"/>
              <a:gd name="connsiteY277" fmla="*/ 573070 h 895572"/>
              <a:gd name="connsiteX278" fmla="*/ 137259 w 1090712"/>
              <a:gd name="connsiteY278" fmla="*/ 581623 h 895572"/>
              <a:gd name="connsiteX279" fmla="*/ 136309 w 1090712"/>
              <a:gd name="connsiteY279" fmla="*/ 583761 h 895572"/>
              <a:gd name="connsiteX280" fmla="*/ 135359 w 1090712"/>
              <a:gd name="connsiteY280" fmla="*/ 586137 h 895572"/>
              <a:gd name="connsiteX281" fmla="*/ 134883 w 1090712"/>
              <a:gd name="connsiteY281" fmla="*/ 590889 h 895572"/>
              <a:gd name="connsiteX282" fmla="*/ 134883 w 1090712"/>
              <a:gd name="connsiteY282" fmla="*/ 595879 h 895572"/>
              <a:gd name="connsiteX283" fmla="*/ 135359 w 1090712"/>
              <a:gd name="connsiteY283" fmla="*/ 601106 h 895572"/>
              <a:gd name="connsiteX284" fmla="*/ 136784 w 1090712"/>
              <a:gd name="connsiteY284" fmla="*/ 606095 h 895572"/>
              <a:gd name="connsiteX285" fmla="*/ 138447 w 1090712"/>
              <a:gd name="connsiteY285" fmla="*/ 611322 h 895572"/>
              <a:gd name="connsiteX286" fmla="*/ 140348 w 1090712"/>
              <a:gd name="connsiteY286" fmla="*/ 616311 h 895572"/>
              <a:gd name="connsiteX287" fmla="*/ 142486 w 1090712"/>
              <a:gd name="connsiteY287" fmla="*/ 620826 h 895572"/>
              <a:gd name="connsiteX288" fmla="*/ 148664 w 1090712"/>
              <a:gd name="connsiteY288" fmla="*/ 629616 h 895572"/>
              <a:gd name="connsiteX289" fmla="*/ 155554 w 1090712"/>
              <a:gd name="connsiteY289" fmla="*/ 637219 h 895572"/>
              <a:gd name="connsiteX290" fmla="*/ 162444 w 1090712"/>
              <a:gd name="connsiteY290" fmla="*/ 643872 h 895572"/>
              <a:gd name="connsiteX291" fmla="*/ 169572 w 1090712"/>
              <a:gd name="connsiteY291" fmla="*/ 649099 h 895572"/>
              <a:gd name="connsiteX292" fmla="*/ 177175 w 1090712"/>
              <a:gd name="connsiteY292" fmla="*/ 653613 h 895572"/>
              <a:gd name="connsiteX293" fmla="*/ 184778 w 1090712"/>
              <a:gd name="connsiteY293" fmla="*/ 657177 h 895572"/>
              <a:gd name="connsiteX294" fmla="*/ 192856 w 1090712"/>
              <a:gd name="connsiteY294" fmla="*/ 659553 h 895572"/>
              <a:gd name="connsiteX295" fmla="*/ 200934 w 1090712"/>
              <a:gd name="connsiteY295" fmla="*/ 661216 h 895572"/>
              <a:gd name="connsiteX296" fmla="*/ 209250 w 1090712"/>
              <a:gd name="connsiteY296" fmla="*/ 661691 h 895572"/>
              <a:gd name="connsiteX297" fmla="*/ 218278 w 1090712"/>
              <a:gd name="connsiteY297" fmla="*/ 661691 h 895572"/>
              <a:gd name="connsiteX298" fmla="*/ 227069 w 1090712"/>
              <a:gd name="connsiteY298" fmla="*/ 660266 h 895572"/>
              <a:gd name="connsiteX299" fmla="*/ 236335 w 1090712"/>
              <a:gd name="connsiteY299" fmla="*/ 658603 h 895572"/>
              <a:gd name="connsiteX300" fmla="*/ 245838 w 1090712"/>
              <a:gd name="connsiteY300" fmla="*/ 655514 h 895572"/>
              <a:gd name="connsiteX301" fmla="*/ 255580 w 1090712"/>
              <a:gd name="connsiteY301" fmla="*/ 652425 h 895572"/>
              <a:gd name="connsiteX302" fmla="*/ 265321 w 1090712"/>
              <a:gd name="connsiteY302" fmla="*/ 647911 h 895572"/>
              <a:gd name="connsiteX303" fmla="*/ 276013 w 1090712"/>
              <a:gd name="connsiteY303" fmla="*/ 642922 h 895572"/>
              <a:gd name="connsiteX304" fmla="*/ 288367 w 1090712"/>
              <a:gd name="connsiteY304" fmla="*/ 635081 h 895572"/>
              <a:gd name="connsiteX305" fmla="*/ 301910 w 1090712"/>
              <a:gd name="connsiteY305" fmla="*/ 627478 h 895572"/>
              <a:gd name="connsiteX306" fmla="*/ 315215 w 1090712"/>
              <a:gd name="connsiteY306" fmla="*/ 620350 h 895572"/>
              <a:gd name="connsiteX307" fmla="*/ 329471 w 1090712"/>
              <a:gd name="connsiteY307" fmla="*/ 613698 h 895572"/>
              <a:gd name="connsiteX308" fmla="*/ 343726 w 1090712"/>
              <a:gd name="connsiteY308" fmla="*/ 607283 h 895572"/>
              <a:gd name="connsiteX309" fmla="*/ 357981 w 1090712"/>
              <a:gd name="connsiteY309" fmla="*/ 602056 h 895572"/>
              <a:gd name="connsiteX310" fmla="*/ 371999 w 1090712"/>
              <a:gd name="connsiteY310" fmla="*/ 597066 h 895572"/>
              <a:gd name="connsiteX311" fmla="*/ 386730 w 1090712"/>
              <a:gd name="connsiteY311" fmla="*/ 592790 h 895572"/>
              <a:gd name="connsiteX312" fmla="*/ 394808 w 1090712"/>
              <a:gd name="connsiteY312" fmla="*/ 590414 h 895572"/>
              <a:gd name="connsiteX313" fmla="*/ 402411 w 1090712"/>
              <a:gd name="connsiteY313" fmla="*/ 587325 h 895572"/>
              <a:gd name="connsiteX314" fmla="*/ 409064 w 1090712"/>
              <a:gd name="connsiteY314" fmla="*/ 583761 h 895572"/>
              <a:gd name="connsiteX315" fmla="*/ 411677 w 1090712"/>
              <a:gd name="connsiteY315" fmla="*/ 581623 h 895572"/>
              <a:gd name="connsiteX316" fmla="*/ 414766 w 1090712"/>
              <a:gd name="connsiteY316" fmla="*/ 579247 h 895572"/>
              <a:gd name="connsiteX317" fmla="*/ 417142 w 1090712"/>
              <a:gd name="connsiteY317" fmla="*/ 577109 h 895572"/>
              <a:gd name="connsiteX318" fmla="*/ 419280 w 1090712"/>
              <a:gd name="connsiteY318" fmla="*/ 574495 h 895572"/>
              <a:gd name="connsiteX319" fmla="*/ 420943 w 1090712"/>
              <a:gd name="connsiteY319" fmla="*/ 571407 h 895572"/>
              <a:gd name="connsiteX320" fmla="*/ 422844 w 1090712"/>
              <a:gd name="connsiteY320" fmla="*/ 568318 h 895572"/>
              <a:gd name="connsiteX321" fmla="*/ 424269 w 1090712"/>
              <a:gd name="connsiteY321" fmla="*/ 565229 h 895572"/>
              <a:gd name="connsiteX322" fmla="*/ 424982 w 1090712"/>
              <a:gd name="connsiteY322" fmla="*/ 561665 h 895572"/>
              <a:gd name="connsiteX323" fmla="*/ 425457 w 1090712"/>
              <a:gd name="connsiteY323" fmla="*/ 557626 h 895572"/>
              <a:gd name="connsiteX324" fmla="*/ 425932 w 1090712"/>
              <a:gd name="connsiteY324" fmla="*/ 553587 h 895572"/>
              <a:gd name="connsiteX325" fmla="*/ 425932 w 1090712"/>
              <a:gd name="connsiteY325" fmla="*/ 413884 h 895572"/>
              <a:gd name="connsiteX326" fmla="*/ 425932 w 1090712"/>
              <a:gd name="connsiteY326" fmla="*/ 285347 h 895572"/>
              <a:gd name="connsiteX327" fmla="*/ 429496 w 1090712"/>
              <a:gd name="connsiteY327" fmla="*/ 300078 h 895572"/>
              <a:gd name="connsiteX328" fmla="*/ 433060 w 1090712"/>
              <a:gd name="connsiteY328" fmla="*/ 314096 h 895572"/>
              <a:gd name="connsiteX329" fmla="*/ 436149 w 1090712"/>
              <a:gd name="connsiteY329" fmla="*/ 328826 h 895572"/>
              <a:gd name="connsiteX330" fmla="*/ 438762 w 1090712"/>
              <a:gd name="connsiteY330" fmla="*/ 343082 h 895572"/>
              <a:gd name="connsiteX331" fmla="*/ 443752 w 1090712"/>
              <a:gd name="connsiteY331" fmla="*/ 370642 h 895572"/>
              <a:gd name="connsiteX332" fmla="*/ 447791 w 1090712"/>
              <a:gd name="connsiteY332" fmla="*/ 397015 h 895572"/>
              <a:gd name="connsiteX333" fmla="*/ 451830 w 1090712"/>
              <a:gd name="connsiteY333" fmla="*/ 421962 h 895572"/>
              <a:gd name="connsiteX334" fmla="*/ 454919 w 1090712"/>
              <a:gd name="connsiteY334" fmla="*/ 446434 h 895572"/>
              <a:gd name="connsiteX335" fmla="*/ 456106 w 1090712"/>
              <a:gd name="connsiteY335" fmla="*/ 458313 h 895572"/>
              <a:gd name="connsiteX336" fmla="*/ 457057 w 1090712"/>
              <a:gd name="connsiteY336" fmla="*/ 470430 h 895572"/>
              <a:gd name="connsiteX337" fmla="*/ 457532 w 1090712"/>
              <a:gd name="connsiteY337" fmla="*/ 482310 h 895572"/>
              <a:gd name="connsiteX338" fmla="*/ 457532 w 1090712"/>
              <a:gd name="connsiteY338" fmla="*/ 493952 h 895572"/>
              <a:gd name="connsiteX339" fmla="*/ 457532 w 1090712"/>
              <a:gd name="connsiteY339" fmla="*/ 506069 h 895572"/>
              <a:gd name="connsiteX340" fmla="*/ 456582 w 1090712"/>
              <a:gd name="connsiteY340" fmla="*/ 517473 h 895572"/>
              <a:gd name="connsiteX341" fmla="*/ 455869 w 1090712"/>
              <a:gd name="connsiteY341" fmla="*/ 529116 h 895572"/>
              <a:gd name="connsiteX342" fmla="*/ 453968 w 1090712"/>
              <a:gd name="connsiteY342" fmla="*/ 540757 h 895572"/>
              <a:gd name="connsiteX343" fmla="*/ 452305 w 1090712"/>
              <a:gd name="connsiteY343" fmla="*/ 552162 h 895572"/>
              <a:gd name="connsiteX344" fmla="*/ 449454 w 1090712"/>
              <a:gd name="connsiteY344" fmla="*/ 563804 h 895572"/>
              <a:gd name="connsiteX345" fmla="*/ 446365 w 1090712"/>
              <a:gd name="connsiteY345" fmla="*/ 575446 h 895572"/>
              <a:gd name="connsiteX346" fmla="*/ 442326 w 1090712"/>
              <a:gd name="connsiteY346" fmla="*/ 586850 h 895572"/>
              <a:gd name="connsiteX347" fmla="*/ 440188 w 1090712"/>
              <a:gd name="connsiteY347" fmla="*/ 591364 h 895572"/>
              <a:gd name="connsiteX348" fmla="*/ 437574 w 1090712"/>
              <a:gd name="connsiteY348" fmla="*/ 595403 h 895572"/>
              <a:gd name="connsiteX349" fmla="*/ 434486 w 1090712"/>
              <a:gd name="connsiteY349" fmla="*/ 598967 h 895572"/>
              <a:gd name="connsiteX350" fmla="*/ 431397 w 1090712"/>
              <a:gd name="connsiteY350" fmla="*/ 602531 h 895572"/>
              <a:gd name="connsiteX351" fmla="*/ 428071 w 1090712"/>
              <a:gd name="connsiteY351" fmla="*/ 605145 h 895572"/>
              <a:gd name="connsiteX352" fmla="*/ 424982 w 1090712"/>
              <a:gd name="connsiteY352" fmla="*/ 607283 h 895572"/>
              <a:gd name="connsiteX353" fmla="*/ 422369 w 1090712"/>
              <a:gd name="connsiteY353" fmla="*/ 608708 h 895572"/>
              <a:gd name="connsiteX354" fmla="*/ 420230 w 1090712"/>
              <a:gd name="connsiteY354" fmla="*/ 609659 h 895572"/>
              <a:gd name="connsiteX355" fmla="*/ 410727 w 1090712"/>
              <a:gd name="connsiteY355" fmla="*/ 610847 h 895572"/>
              <a:gd name="connsiteX356" fmla="*/ 401461 w 1090712"/>
              <a:gd name="connsiteY356" fmla="*/ 612748 h 895572"/>
              <a:gd name="connsiteX357" fmla="*/ 392670 w 1090712"/>
              <a:gd name="connsiteY357" fmla="*/ 614886 h 895572"/>
              <a:gd name="connsiteX358" fmla="*/ 383641 w 1090712"/>
              <a:gd name="connsiteY358" fmla="*/ 617262 h 895572"/>
              <a:gd name="connsiteX359" fmla="*/ 374850 w 1090712"/>
              <a:gd name="connsiteY359" fmla="*/ 620350 h 895572"/>
              <a:gd name="connsiteX360" fmla="*/ 365822 w 1090712"/>
              <a:gd name="connsiteY360" fmla="*/ 623914 h 895572"/>
              <a:gd name="connsiteX361" fmla="*/ 348478 w 1090712"/>
              <a:gd name="connsiteY361" fmla="*/ 631042 h 895572"/>
              <a:gd name="connsiteX362" fmla="*/ 331609 w 1090712"/>
              <a:gd name="connsiteY362" fmla="*/ 639358 h 895572"/>
              <a:gd name="connsiteX363" fmla="*/ 314740 w 1090712"/>
              <a:gd name="connsiteY363" fmla="*/ 647911 h 895572"/>
              <a:gd name="connsiteX364" fmla="*/ 281240 w 1090712"/>
              <a:gd name="connsiteY364" fmla="*/ 665255 h 895572"/>
              <a:gd name="connsiteX365" fmla="*/ 274587 w 1090712"/>
              <a:gd name="connsiteY365" fmla="*/ 669294 h 895572"/>
              <a:gd name="connsiteX366" fmla="*/ 267935 w 1090712"/>
              <a:gd name="connsiteY366" fmla="*/ 672858 h 895572"/>
              <a:gd name="connsiteX367" fmla="*/ 261757 w 1090712"/>
              <a:gd name="connsiteY367" fmla="*/ 675947 h 895572"/>
              <a:gd name="connsiteX368" fmla="*/ 255105 w 1090712"/>
              <a:gd name="connsiteY368" fmla="*/ 679035 h 895572"/>
              <a:gd name="connsiteX369" fmla="*/ 248927 w 1090712"/>
              <a:gd name="connsiteY369" fmla="*/ 681174 h 895572"/>
              <a:gd name="connsiteX370" fmla="*/ 242987 w 1090712"/>
              <a:gd name="connsiteY370" fmla="*/ 683075 h 895572"/>
              <a:gd name="connsiteX371" fmla="*/ 236810 w 1090712"/>
              <a:gd name="connsiteY371" fmla="*/ 684738 h 895572"/>
              <a:gd name="connsiteX372" fmla="*/ 231108 w 1090712"/>
              <a:gd name="connsiteY372" fmla="*/ 686163 h 895572"/>
              <a:gd name="connsiteX373" fmla="*/ 225406 w 1090712"/>
              <a:gd name="connsiteY373" fmla="*/ 687114 h 895572"/>
              <a:gd name="connsiteX374" fmla="*/ 219466 w 1090712"/>
              <a:gd name="connsiteY374" fmla="*/ 687589 h 895572"/>
              <a:gd name="connsiteX375" fmla="*/ 213764 w 1090712"/>
              <a:gd name="connsiteY375" fmla="*/ 687589 h 895572"/>
              <a:gd name="connsiteX376" fmla="*/ 208299 w 1090712"/>
              <a:gd name="connsiteY376" fmla="*/ 687589 h 895572"/>
              <a:gd name="connsiteX377" fmla="*/ 203072 w 1090712"/>
              <a:gd name="connsiteY377" fmla="*/ 687114 h 895572"/>
              <a:gd name="connsiteX378" fmla="*/ 197607 w 1090712"/>
              <a:gd name="connsiteY378" fmla="*/ 686163 h 895572"/>
              <a:gd name="connsiteX379" fmla="*/ 192380 w 1090712"/>
              <a:gd name="connsiteY379" fmla="*/ 684738 h 895572"/>
              <a:gd name="connsiteX380" fmla="*/ 186916 w 1090712"/>
              <a:gd name="connsiteY380" fmla="*/ 683550 h 895572"/>
              <a:gd name="connsiteX381" fmla="*/ 181689 w 1090712"/>
              <a:gd name="connsiteY381" fmla="*/ 681649 h 895572"/>
              <a:gd name="connsiteX382" fmla="*/ 176699 w 1090712"/>
              <a:gd name="connsiteY382" fmla="*/ 679986 h 895572"/>
              <a:gd name="connsiteX383" fmla="*/ 171472 w 1090712"/>
              <a:gd name="connsiteY383" fmla="*/ 677610 h 895572"/>
              <a:gd name="connsiteX384" fmla="*/ 166483 w 1090712"/>
              <a:gd name="connsiteY384" fmla="*/ 674996 h 895572"/>
              <a:gd name="connsiteX385" fmla="*/ 156742 w 1090712"/>
              <a:gd name="connsiteY385" fmla="*/ 669294 h 895572"/>
              <a:gd name="connsiteX386" fmla="*/ 147001 w 1090712"/>
              <a:gd name="connsiteY386" fmla="*/ 662167 h 895572"/>
              <a:gd name="connsiteX387" fmla="*/ 137735 w 1090712"/>
              <a:gd name="connsiteY387" fmla="*/ 654564 h 895572"/>
              <a:gd name="connsiteX388" fmla="*/ 127756 w 1090712"/>
              <a:gd name="connsiteY388" fmla="*/ 645535 h 895572"/>
              <a:gd name="connsiteX389" fmla="*/ 118490 w 1090712"/>
              <a:gd name="connsiteY389" fmla="*/ 636269 h 895572"/>
              <a:gd name="connsiteX390" fmla="*/ 109224 w 1090712"/>
              <a:gd name="connsiteY390" fmla="*/ 626053 h 895572"/>
              <a:gd name="connsiteX391" fmla="*/ 107323 w 1090712"/>
              <a:gd name="connsiteY391" fmla="*/ 623914 h 895572"/>
              <a:gd name="connsiteX392" fmla="*/ 106135 w 1090712"/>
              <a:gd name="connsiteY392" fmla="*/ 620350 h 895572"/>
              <a:gd name="connsiteX393" fmla="*/ 105185 w 1090712"/>
              <a:gd name="connsiteY393" fmla="*/ 616311 h 895572"/>
              <a:gd name="connsiteX394" fmla="*/ 105185 w 1090712"/>
              <a:gd name="connsiteY394" fmla="*/ 612272 h 895572"/>
              <a:gd name="connsiteX395" fmla="*/ 105185 w 1090712"/>
              <a:gd name="connsiteY395" fmla="*/ 608233 h 895572"/>
              <a:gd name="connsiteX396" fmla="*/ 106135 w 1090712"/>
              <a:gd name="connsiteY396" fmla="*/ 604194 h 895572"/>
              <a:gd name="connsiteX397" fmla="*/ 107323 w 1090712"/>
              <a:gd name="connsiteY397" fmla="*/ 600630 h 895572"/>
              <a:gd name="connsiteX398" fmla="*/ 109224 w 1090712"/>
              <a:gd name="connsiteY398" fmla="*/ 598017 h 895572"/>
              <a:gd name="connsiteX399" fmla="*/ 111837 w 1090712"/>
              <a:gd name="connsiteY399" fmla="*/ 591840 h 895572"/>
              <a:gd name="connsiteX400" fmla="*/ 113975 w 1090712"/>
              <a:gd name="connsiteY400" fmla="*/ 586137 h 895572"/>
              <a:gd name="connsiteX401" fmla="*/ 115401 w 1090712"/>
              <a:gd name="connsiteY401" fmla="*/ 579722 h 895572"/>
              <a:gd name="connsiteX402" fmla="*/ 115876 w 1090712"/>
              <a:gd name="connsiteY402" fmla="*/ 574020 h 895572"/>
              <a:gd name="connsiteX403" fmla="*/ 115876 w 1090712"/>
              <a:gd name="connsiteY403" fmla="*/ 568318 h 895572"/>
              <a:gd name="connsiteX404" fmla="*/ 115401 w 1090712"/>
              <a:gd name="connsiteY404" fmla="*/ 562378 h 895572"/>
              <a:gd name="connsiteX405" fmla="*/ 114451 w 1090712"/>
              <a:gd name="connsiteY405" fmla="*/ 557151 h 895572"/>
              <a:gd name="connsiteX406" fmla="*/ 112788 w 1090712"/>
              <a:gd name="connsiteY406" fmla="*/ 551449 h 895572"/>
              <a:gd name="connsiteX407" fmla="*/ 110412 w 1090712"/>
              <a:gd name="connsiteY407" fmla="*/ 545984 h 895572"/>
              <a:gd name="connsiteX408" fmla="*/ 108273 w 1090712"/>
              <a:gd name="connsiteY408" fmla="*/ 540757 h 895572"/>
              <a:gd name="connsiteX409" fmla="*/ 105185 w 1090712"/>
              <a:gd name="connsiteY409" fmla="*/ 535293 h 895572"/>
              <a:gd name="connsiteX410" fmla="*/ 102096 w 1090712"/>
              <a:gd name="connsiteY410" fmla="*/ 530066 h 895572"/>
              <a:gd name="connsiteX411" fmla="*/ 94968 w 1090712"/>
              <a:gd name="connsiteY411" fmla="*/ 519374 h 895572"/>
              <a:gd name="connsiteX412" fmla="*/ 86890 w 1090712"/>
              <a:gd name="connsiteY412" fmla="*/ 508683 h 895572"/>
              <a:gd name="connsiteX413" fmla="*/ 78812 w 1090712"/>
              <a:gd name="connsiteY413" fmla="*/ 497991 h 895572"/>
              <a:gd name="connsiteX414" fmla="*/ 70972 w 1090712"/>
              <a:gd name="connsiteY414" fmla="*/ 486824 h 895572"/>
              <a:gd name="connsiteX415" fmla="*/ 67408 w 1090712"/>
              <a:gd name="connsiteY415" fmla="*/ 481122 h 895572"/>
              <a:gd name="connsiteX416" fmla="*/ 64319 w 1090712"/>
              <a:gd name="connsiteY416" fmla="*/ 474707 h 895572"/>
              <a:gd name="connsiteX417" fmla="*/ 61230 w 1090712"/>
              <a:gd name="connsiteY417" fmla="*/ 469005 h 895572"/>
              <a:gd name="connsiteX418" fmla="*/ 58379 w 1090712"/>
              <a:gd name="connsiteY418" fmla="*/ 462828 h 895572"/>
              <a:gd name="connsiteX419" fmla="*/ 56716 w 1090712"/>
              <a:gd name="connsiteY419" fmla="*/ 456175 h 895572"/>
              <a:gd name="connsiteX420" fmla="*/ 54815 w 1090712"/>
              <a:gd name="connsiteY420" fmla="*/ 449998 h 895572"/>
              <a:gd name="connsiteX421" fmla="*/ 54103 w 1090712"/>
              <a:gd name="connsiteY421" fmla="*/ 443345 h 895572"/>
              <a:gd name="connsiteX422" fmla="*/ 53627 w 1090712"/>
              <a:gd name="connsiteY422" fmla="*/ 436455 h 895572"/>
              <a:gd name="connsiteX423" fmla="*/ 53627 w 1090712"/>
              <a:gd name="connsiteY423" fmla="*/ 429327 h 895572"/>
              <a:gd name="connsiteX424" fmla="*/ 54815 w 1090712"/>
              <a:gd name="connsiteY424" fmla="*/ 422675 h 895572"/>
              <a:gd name="connsiteX425" fmla="*/ 56716 w 1090712"/>
              <a:gd name="connsiteY425" fmla="*/ 415547 h 895572"/>
              <a:gd name="connsiteX426" fmla="*/ 59330 w 1090712"/>
              <a:gd name="connsiteY426" fmla="*/ 408182 h 895572"/>
              <a:gd name="connsiteX427" fmla="*/ 60280 w 1090712"/>
              <a:gd name="connsiteY427" fmla="*/ 403192 h 895572"/>
              <a:gd name="connsiteX428" fmla="*/ 61943 w 1090712"/>
              <a:gd name="connsiteY428" fmla="*/ 397965 h 895572"/>
              <a:gd name="connsiteX429" fmla="*/ 65507 w 1090712"/>
              <a:gd name="connsiteY429" fmla="*/ 387986 h 895572"/>
              <a:gd name="connsiteX430" fmla="*/ 69546 w 1090712"/>
              <a:gd name="connsiteY430" fmla="*/ 378720 h 895572"/>
              <a:gd name="connsiteX431" fmla="*/ 74535 w 1090712"/>
              <a:gd name="connsiteY431" fmla="*/ 369929 h 895572"/>
              <a:gd name="connsiteX432" fmla="*/ 79762 w 1090712"/>
              <a:gd name="connsiteY432" fmla="*/ 360901 h 895572"/>
              <a:gd name="connsiteX433" fmla="*/ 85940 w 1090712"/>
              <a:gd name="connsiteY433" fmla="*/ 352585 h 895572"/>
              <a:gd name="connsiteX434" fmla="*/ 98057 w 1090712"/>
              <a:gd name="connsiteY434" fmla="*/ 335479 h 895572"/>
              <a:gd name="connsiteX435" fmla="*/ 102571 w 1090712"/>
              <a:gd name="connsiteY435" fmla="*/ 328113 h 895572"/>
              <a:gd name="connsiteX436" fmla="*/ 106848 w 1090712"/>
              <a:gd name="connsiteY436" fmla="*/ 320986 h 895572"/>
              <a:gd name="connsiteX437" fmla="*/ 116827 w 1090712"/>
              <a:gd name="connsiteY437" fmla="*/ 307205 h 895572"/>
              <a:gd name="connsiteX438" fmla="*/ 127043 w 1090712"/>
              <a:gd name="connsiteY438" fmla="*/ 293188 h 895572"/>
              <a:gd name="connsiteX439" fmla="*/ 137735 w 1090712"/>
              <a:gd name="connsiteY439" fmla="*/ 279407 h 895572"/>
              <a:gd name="connsiteX440" fmla="*/ 159831 w 1090712"/>
              <a:gd name="connsiteY440" fmla="*/ 251847 h 895572"/>
              <a:gd name="connsiteX441" fmla="*/ 170522 w 1090712"/>
              <a:gd name="connsiteY441" fmla="*/ 238066 h 895572"/>
              <a:gd name="connsiteX442" fmla="*/ 181214 w 1090712"/>
              <a:gd name="connsiteY442" fmla="*/ 223336 h 895572"/>
              <a:gd name="connsiteX443" fmla="*/ 164820 w 1090712"/>
              <a:gd name="connsiteY443" fmla="*/ 223336 h 895572"/>
              <a:gd name="connsiteX444" fmla="*/ 137972 w 1090712"/>
              <a:gd name="connsiteY444" fmla="*/ 230226 h 895572"/>
              <a:gd name="connsiteX445" fmla="*/ 125142 w 1090712"/>
              <a:gd name="connsiteY445" fmla="*/ 233790 h 895572"/>
              <a:gd name="connsiteX446" fmla="*/ 112788 w 1090712"/>
              <a:gd name="connsiteY446" fmla="*/ 237591 h 895572"/>
              <a:gd name="connsiteX447" fmla="*/ 100195 w 1090712"/>
              <a:gd name="connsiteY447" fmla="*/ 241630 h 895572"/>
              <a:gd name="connsiteX448" fmla="*/ 87840 w 1090712"/>
              <a:gd name="connsiteY448" fmla="*/ 245669 h 895572"/>
              <a:gd name="connsiteX449" fmla="*/ 75723 w 1090712"/>
              <a:gd name="connsiteY449" fmla="*/ 250183 h 895572"/>
              <a:gd name="connsiteX450" fmla="*/ 64319 w 1090712"/>
              <a:gd name="connsiteY450" fmla="*/ 254935 h 895572"/>
              <a:gd name="connsiteX451" fmla="*/ 52677 w 1090712"/>
              <a:gd name="connsiteY451" fmla="*/ 260400 h 895572"/>
              <a:gd name="connsiteX452" fmla="*/ 41035 w 1090712"/>
              <a:gd name="connsiteY452" fmla="*/ 265627 h 895572"/>
              <a:gd name="connsiteX453" fmla="*/ 29868 w 1090712"/>
              <a:gd name="connsiteY453" fmla="*/ 271567 h 895572"/>
              <a:gd name="connsiteX454" fmla="*/ 18939 w 1090712"/>
              <a:gd name="connsiteY454" fmla="*/ 277744 h 895572"/>
              <a:gd name="connsiteX455" fmla="*/ 7772 w 1090712"/>
              <a:gd name="connsiteY455" fmla="*/ 284397 h 895572"/>
              <a:gd name="connsiteX456" fmla="*/ 0 w 1090712"/>
              <a:gd name="connsiteY456" fmla="*/ 289924 h 895572"/>
              <a:gd name="connsiteX457" fmla="*/ 0 w 1090712"/>
              <a:gd name="connsiteY457" fmla="*/ 895572 h 895572"/>
              <a:gd name="connsiteX458" fmla="*/ 125653 w 1090712"/>
              <a:gd name="connsiteY458" fmla="*/ 895572 h 895572"/>
              <a:gd name="connsiteX459" fmla="*/ 127756 w 1090712"/>
              <a:gd name="connsiteY459" fmla="*/ 892155 h 895572"/>
              <a:gd name="connsiteX460" fmla="*/ 131082 w 1090712"/>
              <a:gd name="connsiteY460" fmla="*/ 885502 h 895572"/>
              <a:gd name="connsiteX461" fmla="*/ 133696 w 1090712"/>
              <a:gd name="connsiteY461" fmla="*/ 878374 h 895572"/>
              <a:gd name="connsiteX462" fmla="*/ 135834 w 1090712"/>
              <a:gd name="connsiteY462" fmla="*/ 871722 h 895572"/>
              <a:gd name="connsiteX463" fmla="*/ 137735 w 1090712"/>
              <a:gd name="connsiteY463" fmla="*/ 864594 h 895572"/>
              <a:gd name="connsiteX464" fmla="*/ 138923 w 1090712"/>
              <a:gd name="connsiteY464" fmla="*/ 857466 h 895572"/>
              <a:gd name="connsiteX465" fmla="*/ 140348 w 1090712"/>
              <a:gd name="connsiteY465" fmla="*/ 850339 h 895572"/>
              <a:gd name="connsiteX466" fmla="*/ 141298 w 1090712"/>
              <a:gd name="connsiteY466" fmla="*/ 843211 h 895572"/>
              <a:gd name="connsiteX467" fmla="*/ 142011 w 1090712"/>
              <a:gd name="connsiteY467" fmla="*/ 828955 h 895572"/>
              <a:gd name="connsiteX468" fmla="*/ 142486 w 1090712"/>
              <a:gd name="connsiteY468" fmla="*/ 814225 h 895572"/>
              <a:gd name="connsiteX469" fmla="*/ 142486 w 1090712"/>
              <a:gd name="connsiteY469" fmla="*/ 799494 h 895572"/>
              <a:gd name="connsiteX470" fmla="*/ 142486 w 1090712"/>
              <a:gd name="connsiteY470" fmla="*/ 782625 h 895572"/>
              <a:gd name="connsiteX471" fmla="*/ 142486 w 1090712"/>
              <a:gd name="connsiteY471" fmla="*/ 771458 h 895572"/>
              <a:gd name="connsiteX472" fmla="*/ 143912 w 1090712"/>
              <a:gd name="connsiteY472" fmla="*/ 778586 h 895572"/>
              <a:gd name="connsiteX473" fmla="*/ 145100 w 1090712"/>
              <a:gd name="connsiteY473" fmla="*/ 784526 h 895572"/>
              <a:gd name="connsiteX474" fmla="*/ 147476 w 1090712"/>
              <a:gd name="connsiteY474" fmla="*/ 789753 h 895572"/>
              <a:gd name="connsiteX475" fmla="*/ 149614 w 1090712"/>
              <a:gd name="connsiteY475" fmla="*/ 794267 h 895572"/>
              <a:gd name="connsiteX476" fmla="*/ 152228 w 1090712"/>
              <a:gd name="connsiteY476" fmla="*/ 797831 h 895572"/>
              <a:gd name="connsiteX477" fmla="*/ 155554 w 1090712"/>
              <a:gd name="connsiteY477" fmla="*/ 801395 h 895572"/>
              <a:gd name="connsiteX478" fmla="*/ 158643 w 1090712"/>
              <a:gd name="connsiteY478" fmla="*/ 803533 h 895572"/>
              <a:gd name="connsiteX479" fmla="*/ 162206 w 1090712"/>
              <a:gd name="connsiteY479" fmla="*/ 805909 h 895572"/>
              <a:gd name="connsiteX480" fmla="*/ 165770 w 1090712"/>
              <a:gd name="connsiteY480" fmla="*/ 807572 h 895572"/>
              <a:gd name="connsiteX481" fmla="*/ 169572 w 1090712"/>
              <a:gd name="connsiteY481" fmla="*/ 808523 h 895572"/>
              <a:gd name="connsiteX482" fmla="*/ 174086 w 1090712"/>
              <a:gd name="connsiteY482" fmla="*/ 809473 h 895572"/>
              <a:gd name="connsiteX483" fmla="*/ 178600 w 1090712"/>
              <a:gd name="connsiteY483" fmla="*/ 810186 h 895572"/>
              <a:gd name="connsiteX484" fmla="*/ 187866 w 1090712"/>
              <a:gd name="connsiteY484" fmla="*/ 810661 h 895572"/>
              <a:gd name="connsiteX485" fmla="*/ 198083 w 1090712"/>
              <a:gd name="connsiteY485" fmla="*/ 810661 h 895572"/>
              <a:gd name="connsiteX486" fmla="*/ 236810 w 1090712"/>
              <a:gd name="connsiteY486" fmla="*/ 810661 h 895572"/>
              <a:gd name="connsiteX487" fmla="*/ 249640 w 1090712"/>
              <a:gd name="connsiteY487" fmla="*/ 811136 h 895572"/>
              <a:gd name="connsiteX488" fmla="*/ 263183 w 1090712"/>
              <a:gd name="connsiteY488" fmla="*/ 811611 h 895572"/>
              <a:gd name="connsiteX489" fmla="*/ 270310 w 1090712"/>
              <a:gd name="connsiteY489" fmla="*/ 811611 h 895572"/>
              <a:gd name="connsiteX490" fmla="*/ 276963 w 1090712"/>
              <a:gd name="connsiteY490" fmla="*/ 811136 h 895572"/>
              <a:gd name="connsiteX491" fmla="*/ 283140 w 1090712"/>
              <a:gd name="connsiteY491" fmla="*/ 810186 h 895572"/>
              <a:gd name="connsiteX492" fmla="*/ 289793 w 1090712"/>
              <a:gd name="connsiteY492" fmla="*/ 808523 h 895572"/>
              <a:gd name="connsiteX493" fmla="*/ 295495 w 1090712"/>
              <a:gd name="connsiteY493" fmla="*/ 806147 h 895572"/>
              <a:gd name="connsiteX494" fmla="*/ 301435 w 1090712"/>
              <a:gd name="connsiteY494" fmla="*/ 803058 h 895572"/>
              <a:gd name="connsiteX495" fmla="*/ 304524 w 1090712"/>
              <a:gd name="connsiteY495" fmla="*/ 801395 h 895572"/>
              <a:gd name="connsiteX496" fmla="*/ 307137 w 1090712"/>
              <a:gd name="connsiteY496" fmla="*/ 799256 h 895572"/>
              <a:gd name="connsiteX497" fmla="*/ 309275 w 1090712"/>
              <a:gd name="connsiteY497" fmla="*/ 796881 h 895572"/>
              <a:gd name="connsiteX498" fmla="*/ 312126 w 1090712"/>
              <a:gd name="connsiteY498" fmla="*/ 794267 h 895572"/>
              <a:gd name="connsiteX499" fmla="*/ 314265 w 1090712"/>
              <a:gd name="connsiteY499" fmla="*/ 791178 h 895572"/>
              <a:gd name="connsiteX500" fmla="*/ 316403 w 1090712"/>
              <a:gd name="connsiteY500" fmla="*/ 788090 h 895572"/>
              <a:gd name="connsiteX501" fmla="*/ 318304 w 1090712"/>
              <a:gd name="connsiteY501" fmla="*/ 784051 h 895572"/>
              <a:gd name="connsiteX502" fmla="*/ 319967 w 1090712"/>
              <a:gd name="connsiteY502" fmla="*/ 780012 h 895572"/>
              <a:gd name="connsiteX503" fmla="*/ 321868 w 1090712"/>
              <a:gd name="connsiteY503" fmla="*/ 775973 h 895572"/>
              <a:gd name="connsiteX504" fmla="*/ 323056 w 1090712"/>
              <a:gd name="connsiteY504" fmla="*/ 771221 h 895572"/>
              <a:gd name="connsiteX505" fmla="*/ 324481 w 1090712"/>
              <a:gd name="connsiteY505" fmla="*/ 765756 h 895572"/>
              <a:gd name="connsiteX506" fmla="*/ 325907 w 1090712"/>
              <a:gd name="connsiteY506" fmla="*/ 760529 h 895572"/>
              <a:gd name="connsiteX507" fmla="*/ 325907 w 1090712"/>
              <a:gd name="connsiteY507" fmla="*/ 827530 h 895572"/>
              <a:gd name="connsiteX508" fmla="*/ 310226 w 1090712"/>
              <a:gd name="connsiteY508" fmla="*/ 835608 h 895572"/>
              <a:gd name="connsiteX509" fmla="*/ 295970 w 1090712"/>
              <a:gd name="connsiteY509" fmla="*/ 843686 h 895572"/>
              <a:gd name="connsiteX510" fmla="*/ 282665 w 1090712"/>
              <a:gd name="connsiteY510" fmla="*/ 850339 h 895572"/>
              <a:gd name="connsiteX511" fmla="*/ 276488 w 1090712"/>
              <a:gd name="connsiteY511" fmla="*/ 852952 h 895572"/>
              <a:gd name="connsiteX512" fmla="*/ 270310 w 1090712"/>
              <a:gd name="connsiteY512" fmla="*/ 855565 h 895572"/>
              <a:gd name="connsiteX513" fmla="*/ 266271 w 1090712"/>
              <a:gd name="connsiteY513" fmla="*/ 857942 h 895572"/>
              <a:gd name="connsiteX514" fmla="*/ 262708 w 1090712"/>
              <a:gd name="connsiteY514" fmla="*/ 860080 h 895572"/>
              <a:gd name="connsiteX515" fmla="*/ 259619 w 1090712"/>
              <a:gd name="connsiteY515" fmla="*/ 862693 h 895572"/>
              <a:gd name="connsiteX516" fmla="*/ 256768 w 1090712"/>
              <a:gd name="connsiteY516" fmla="*/ 865544 h 895572"/>
              <a:gd name="connsiteX517" fmla="*/ 254154 w 1090712"/>
              <a:gd name="connsiteY517" fmla="*/ 868633 h 895572"/>
              <a:gd name="connsiteX518" fmla="*/ 252491 w 1090712"/>
              <a:gd name="connsiteY518" fmla="*/ 871722 h 895572"/>
              <a:gd name="connsiteX519" fmla="*/ 250590 w 1090712"/>
              <a:gd name="connsiteY519" fmla="*/ 874810 h 895572"/>
              <a:gd name="connsiteX520" fmla="*/ 249402 w 1090712"/>
              <a:gd name="connsiteY520" fmla="*/ 877899 h 895572"/>
              <a:gd name="connsiteX521" fmla="*/ 248452 w 1090712"/>
              <a:gd name="connsiteY521" fmla="*/ 880988 h 895572"/>
              <a:gd name="connsiteX522" fmla="*/ 247977 w 1090712"/>
              <a:gd name="connsiteY522" fmla="*/ 884076 h 895572"/>
              <a:gd name="connsiteX523" fmla="*/ 247977 w 1090712"/>
              <a:gd name="connsiteY523" fmla="*/ 887165 h 895572"/>
              <a:gd name="connsiteX524" fmla="*/ 248452 w 1090712"/>
              <a:gd name="connsiteY524" fmla="*/ 890016 h 895572"/>
              <a:gd name="connsiteX525" fmla="*/ 249402 w 1090712"/>
              <a:gd name="connsiteY525" fmla="*/ 893105 h 895572"/>
              <a:gd name="connsiteX526" fmla="*/ 250075 w 1090712"/>
              <a:gd name="connsiteY526" fmla="*/ 895572 h 895572"/>
              <a:gd name="connsiteX527" fmla="*/ 474750 w 1090712"/>
              <a:gd name="connsiteY527" fmla="*/ 895572 h 895572"/>
              <a:gd name="connsiteX528" fmla="*/ 475827 w 1090712"/>
              <a:gd name="connsiteY528" fmla="*/ 894768 h 895572"/>
              <a:gd name="connsiteX529" fmla="*/ 486993 w 1090712"/>
              <a:gd name="connsiteY529" fmla="*/ 882889 h 895572"/>
              <a:gd name="connsiteX530" fmla="*/ 497210 w 1090712"/>
              <a:gd name="connsiteY530" fmla="*/ 870296 h 895572"/>
              <a:gd name="connsiteX531" fmla="*/ 506951 w 1090712"/>
              <a:gd name="connsiteY531" fmla="*/ 857942 h 895572"/>
              <a:gd name="connsiteX532" fmla="*/ 515742 w 1090712"/>
              <a:gd name="connsiteY532" fmla="*/ 844636 h 895572"/>
              <a:gd name="connsiteX533" fmla="*/ 523820 w 1090712"/>
              <a:gd name="connsiteY533" fmla="*/ 831094 h 895572"/>
              <a:gd name="connsiteX534" fmla="*/ 531898 w 1090712"/>
              <a:gd name="connsiteY534" fmla="*/ 816838 h 895572"/>
              <a:gd name="connsiteX535" fmla="*/ 539026 w 1090712"/>
              <a:gd name="connsiteY535" fmla="*/ 802583 h 895572"/>
              <a:gd name="connsiteX536" fmla="*/ 545678 w 1090712"/>
              <a:gd name="connsiteY536" fmla="*/ 788565 h 895572"/>
              <a:gd name="connsiteX537" fmla="*/ 552331 w 1090712"/>
              <a:gd name="connsiteY537" fmla="*/ 773359 h 895572"/>
              <a:gd name="connsiteX538" fmla="*/ 558033 w 1090712"/>
              <a:gd name="connsiteY538" fmla="*/ 758628 h 895572"/>
              <a:gd name="connsiteX539" fmla="*/ 563498 w 1090712"/>
              <a:gd name="connsiteY539" fmla="*/ 743185 h 895572"/>
              <a:gd name="connsiteX540" fmla="*/ 568725 w 1090712"/>
              <a:gd name="connsiteY540" fmla="*/ 727979 h 895572"/>
              <a:gd name="connsiteX541" fmla="*/ 573714 w 1090712"/>
              <a:gd name="connsiteY541" fmla="*/ 712298 h 895572"/>
              <a:gd name="connsiteX542" fmla="*/ 577991 w 1090712"/>
              <a:gd name="connsiteY542" fmla="*/ 696855 h 895572"/>
              <a:gd name="connsiteX543" fmla="*/ 586544 w 1090712"/>
              <a:gd name="connsiteY543" fmla="*/ 665255 h 895572"/>
              <a:gd name="connsiteX544" fmla="*/ 586069 w 1090712"/>
              <a:gd name="connsiteY544" fmla="*/ 663117 h 895572"/>
              <a:gd name="connsiteX545" fmla="*/ 584881 w 1090712"/>
              <a:gd name="connsiteY545" fmla="*/ 660266 h 895572"/>
              <a:gd name="connsiteX546" fmla="*/ 582980 w 1090712"/>
              <a:gd name="connsiteY546" fmla="*/ 657177 h 895572"/>
              <a:gd name="connsiteX547" fmla="*/ 580367 w 1090712"/>
              <a:gd name="connsiteY547" fmla="*/ 654088 h 895572"/>
              <a:gd name="connsiteX548" fmla="*/ 574902 w 1090712"/>
              <a:gd name="connsiteY548" fmla="*/ 647911 h 895572"/>
              <a:gd name="connsiteX549" fmla="*/ 570150 w 1090712"/>
              <a:gd name="connsiteY549" fmla="*/ 642922 h 895572"/>
              <a:gd name="connsiteX550" fmla="*/ 565636 w 1090712"/>
              <a:gd name="connsiteY550" fmla="*/ 636744 h 895572"/>
              <a:gd name="connsiteX551" fmla="*/ 560647 w 1090712"/>
              <a:gd name="connsiteY551" fmla="*/ 631517 h 895572"/>
              <a:gd name="connsiteX552" fmla="*/ 555420 w 1090712"/>
              <a:gd name="connsiteY552" fmla="*/ 626053 h 895572"/>
              <a:gd name="connsiteX553" fmla="*/ 550193 w 1090712"/>
              <a:gd name="connsiteY553" fmla="*/ 621301 h 895572"/>
              <a:gd name="connsiteX554" fmla="*/ 544253 w 1090712"/>
              <a:gd name="connsiteY554" fmla="*/ 616787 h 895572"/>
              <a:gd name="connsiteX555" fmla="*/ 538075 w 1090712"/>
              <a:gd name="connsiteY555" fmla="*/ 612272 h 895572"/>
              <a:gd name="connsiteX556" fmla="*/ 525721 w 1090712"/>
              <a:gd name="connsiteY556" fmla="*/ 603719 h 895572"/>
              <a:gd name="connsiteX557" fmla="*/ 563023 w 1090712"/>
              <a:gd name="connsiteY557" fmla="*/ 619875 h 895572"/>
              <a:gd name="connsiteX558" fmla="*/ 581317 w 1090712"/>
              <a:gd name="connsiteY558" fmla="*/ 628191 h 895572"/>
              <a:gd name="connsiteX559" fmla="*/ 599374 w 1090712"/>
              <a:gd name="connsiteY559" fmla="*/ 636744 h 895572"/>
              <a:gd name="connsiteX560" fmla="*/ 607927 w 1090712"/>
              <a:gd name="connsiteY560" fmla="*/ 641259 h 895572"/>
              <a:gd name="connsiteX561" fmla="*/ 616718 w 1090712"/>
              <a:gd name="connsiteY561" fmla="*/ 646010 h 895572"/>
              <a:gd name="connsiteX562" fmla="*/ 625271 w 1090712"/>
              <a:gd name="connsiteY562" fmla="*/ 651000 h 895572"/>
              <a:gd name="connsiteX563" fmla="*/ 633349 w 1090712"/>
              <a:gd name="connsiteY563" fmla="*/ 656227 h 895572"/>
              <a:gd name="connsiteX564" fmla="*/ 641665 w 1090712"/>
              <a:gd name="connsiteY564" fmla="*/ 662167 h 895572"/>
              <a:gd name="connsiteX565" fmla="*/ 649268 w 1090712"/>
              <a:gd name="connsiteY565" fmla="*/ 668344 h 895572"/>
              <a:gd name="connsiteX566" fmla="*/ 656871 w 1090712"/>
              <a:gd name="connsiteY566" fmla="*/ 674996 h 895572"/>
              <a:gd name="connsiteX567" fmla="*/ 664474 w 1090712"/>
              <a:gd name="connsiteY567" fmla="*/ 682124 h 895572"/>
              <a:gd name="connsiteX568" fmla="*/ 668988 w 1090712"/>
              <a:gd name="connsiteY568" fmla="*/ 686163 h 895572"/>
              <a:gd name="connsiteX569" fmla="*/ 672790 w 1090712"/>
              <a:gd name="connsiteY569" fmla="*/ 690202 h 895572"/>
              <a:gd name="connsiteX570" fmla="*/ 677304 w 1090712"/>
              <a:gd name="connsiteY570" fmla="*/ 693291 h 895572"/>
              <a:gd name="connsiteX571" fmla="*/ 682293 w 1090712"/>
              <a:gd name="connsiteY571" fmla="*/ 696855 h 895572"/>
              <a:gd name="connsiteX572" fmla="*/ 686570 w 1090712"/>
              <a:gd name="connsiteY572" fmla="*/ 699468 h 895572"/>
              <a:gd name="connsiteX573" fmla="*/ 691559 w 1090712"/>
              <a:gd name="connsiteY573" fmla="*/ 702082 h 895572"/>
              <a:gd name="connsiteX574" fmla="*/ 696549 w 1090712"/>
              <a:gd name="connsiteY574" fmla="*/ 703983 h 895572"/>
              <a:gd name="connsiteX575" fmla="*/ 701300 w 1090712"/>
              <a:gd name="connsiteY575" fmla="*/ 705646 h 895572"/>
              <a:gd name="connsiteX576" fmla="*/ 706290 w 1090712"/>
              <a:gd name="connsiteY576" fmla="*/ 707071 h 895572"/>
              <a:gd name="connsiteX577" fmla="*/ 711042 w 1090712"/>
              <a:gd name="connsiteY577" fmla="*/ 708497 h 895572"/>
              <a:gd name="connsiteX578" fmla="*/ 716506 w 1090712"/>
              <a:gd name="connsiteY578" fmla="*/ 708734 h 895572"/>
              <a:gd name="connsiteX579" fmla="*/ 721258 w 1090712"/>
              <a:gd name="connsiteY579" fmla="*/ 708734 h 895572"/>
              <a:gd name="connsiteX580" fmla="*/ 726723 w 1090712"/>
              <a:gd name="connsiteY580" fmla="*/ 708497 h 895572"/>
              <a:gd name="connsiteX581" fmla="*/ 731712 w 1090712"/>
              <a:gd name="connsiteY581" fmla="*/ 707546 h 895572"/>
              <a:gd name="connsiteX582" fmla="*/ 736939 w 1090712"/>
              <a:gd name="connsiteY582" fmla="*/ 706121 h 895572"/>
              <a:gd name="connsiteX583" fmla="*/ 742166 w 1090712"/>
              <a:gd name="connsiteY583" fmla="*/ 704458 h 895572"/>
              <a:gd name="connsiteX584" fmla="*/ 749294 w 1090712"/>
              <a:gd name="connsiteY584" fmla="*/ 702082 h 895572"/>
              <a:gd name="connsiteX585" fmla="*/ 756184 w 1090712"/>
              <a:gd name="connsiteY585" fmla="*/ 699468 h 895572"/>
              <a:gd name="connsiteX586" fmla="*/ 762361 w 1090712"/>
              <a:gd name="connsiteY586" fmla="*/ 696380 h 895572"/>
              <a:gd name="connsiteX587" fmla="*/ 768063 w 1090712"/>
              <a:gd name="connsiteY587" fmla="*/ 692816 h 895572"/>
              <a:gd name="connsiteX588" fmla="*/ 773528 w 1090712"/>
              <a:gd name="connsiteY588" fmla="*/ 689252 h 895572"/>
              <a:gd name="connsiteX589" fmla="*/ 778755 w 1090712"/>
              <a:gd name="connsiteY589" fmla="*/ 684738 h 895572"/>
              <a:gd name="connsiteX590" fmla="*/ 783269 w 1090712"/>
              <a:gd name="connsiteY590" fmla="*/ 680461 h 895572"/>
              <a:gd name="connsiteX591" fmla="*/ 787308 w 1090712"/>
              <a:gd name="connsiteY591" fmla="*/ 674996 h 895572"/>
              <a:gd name="connsiteX592" fmla="*/ 791110 w 1090712"/>
              <a:gd name="connsiteY592" fmla="*/ 669769 h 895572"/>
              <a:gd name="connsiteX593" fmla="*/ 794436 w 1090712"/>
              <a:gd name="connsiteY593" fmla="*/ 663830 h 895572"/>
              <a:gd name="connsiteX594" fmla="*/ 797050 w 1090712"/>
              <a:gd name="connsiteY594" fmla="*/ 657652 h 895572"/>
              <a:gd name="connsiteX595" fmla="*/ 799188 w 1090712"/>
              <a:gd name="connsiteY595" fmla="*/ 651000 h 895572"/>
              <a:gd name="connsiteX596" fmla="*/ 801089 w 1090712"/>
              <a:gd name="connsiteY596" fmla="*/ 643872 h 895572"/>
              <a:gd name="connsiteX597" fmla="*/ 802277 w 1090712"/>
              <a:gd name="connsiteY597" fmla="*/ 636744 h 895572"/>
              <a:gd name="connsiteX598" fmla="*/ 803227 w 1090712"/>
              <a:gd name="connsiteY598" fmla="*/ 628666 h 895572"/>
              <a:gd name="connsiteX599" fmla="*/ 803227 w 1090712"/>
              <a:gd name="connsiteY599" fmla="*/ 620826 h 895572"/>
              <a:gd name="connsiteX600" fmla="*/ 801089 w 1090712"/>
              <a:gd name="connsiteY600" fmla="*/ 622489 h 895572"/>
              <a:gd name="connsiteX601" fmla="*/ 798238 w 1090712"/>
              <a:gd name="connsiteY601" fmla="*/ 623914 h 895572"/>
              <a:gd name="connsiteX602" fmla="*/ 793011 w 1090712"/>
              <a:gd name="connsiteY602" fmla="*/ 626053 h 895572"/>
              <a:gd name="connsiteX603" fmla="*/ 790397 w 1090712"/>
              <a:gd name="connsiteY603" fmla="*/ 627478 h 895572"/>
              <a:gd name="connsiteX604" fmla="*/ 788496 w 1090712"/>
              <a:gd name="connsiteY604" fmla="*/ 628191 h 895572"/>
              <a:gd name="connsiteX605" fmla="*/ 787308 w 1090712"/>
              <a:gd name="connsiteY605" fmla="*/ 630092 h 895572"/>
              <a:gd name="connsiteX606" fmla="*/ 786833 w 1090712"/>
              <a:gd name="connsiteY606" fmla="*/ 631755 h 895572"/>
              <a:gd name="connsiteX607" fmla="*/ 785408 w 1090712"/>
              <a:gd name="connsiteY607" fmla="*/ 635794 h 895572"/>
              <a:gd name="connsiteX608" fmla="*/ 784220 w 1090712"/>
              <a:gd name="connsiteY608" fmla="*/ 639833 h 895572"/>
              <a:gd name="connsiteX609" fmla="*/ 780656 w 1090712"/>
              <a:gd name="connsiteY609" fmla="*/ 646485 h 895572"/>
              <a:gd name="connsiteX610" fmla="*/ 776617 w 1090712"/>
              <a:gd name="connsiteY610" fmla="*/ 653138 h 895572"/>
              <a:gd name="connsiteX611" fmla="*/ 772103 w 1090712"/>
              <a:gd name="connsiteY611" fmla="*/ 659078 h 895572"/>
              <a:gd name="connsiteX612" fmla="*/ 762361 w 1090712"/>
              <a:gd name="connsiteY612" fmla="*/ 670007 h 895572"/>
              <a:gd name="connsiteX613" fmla="*/ 757847 w 1090712"/>
              <a:gd name="connsiteY613" fmla="*/ 675947 h 895572"/>
              <a:gd name="connsiteX614" fmla="*/ 753333 w 1090712"/>
              <a:gd name="connsiteY614" fmla="*/ 682124 h 895572"/>
              <a:gd name="connsiteX615" fmla="*/ 750244 w 1090712"/>
              <a:gd name="connsiteY615" fmla="*/ 684738 h 895572"/>
              <a:gd name="connsiteX616" fmla="*/ 747155 w 1090712"/>
              <a:gd name="connsiteY616" fmla="*/ 687589 h 895572"/>
              <a:gd name="connsiteX617" fmla="*/ 744067 w 1090712"/>
              <a:gd name="connsiteY617" fmla="*/ 689252 h 895572"/>
              <a:gd name="connsiteX618" fmla="*/ 740978 w 1090712"/>
              <a:gd name="connsiteY618" fmla="*/ 690915 h 895572"/>
              <a:gd name="connsiteX619" fmla="*/ 737890 w 1090712"/>
              <a:gd name="connsiteY619" fmla="*/ 691865 h 895572"/>
              <a:gd name="connsiteX620" fmla="*/ 734801 w 1090712"/>
              <a:gd name="connsiteY620" fmla="*/ 692816 h 895572"/>
              <a:gd name="connsiteX621" fmla="*/ 731950 w 1090712"/>
              <a:gd name="connsiteY621" fmla="*/ 693291 h 895572"/>
              <a:gd name="connsiteX622" fmla="*/ 728861 w 1090712"/>
              <a:gd name="connsiteY622" fmla="*/ 693291 h 895572"/>
              <a:gd name="connsiteX623" fmla="*/ 723634 w 1090712"/>
              <a:gd name="connsiteY623" fmla="*/ 692816 h 895572"/>
              <a:gd name="connsiteX624" fmla="*/ 718169 w 1090712"/>
              <a:gd name="connsiteY624" fmla="*/ 691390 h 895572"/>
              <a:gd name="connsiteX625" fmla="*/ 713418 w 1090712"/>
              <a:gd name="connsiteY625" fmla="*/ 689727 h 895572"/>
              <a:gd name="connsiteX626" fmla="*/ 708903 w 1090712"/>
              <a:gd name="connsiteY626" fmla="*/ 687826 h 895572"/>
              <a:gd name="connsiteX627" fmla="*/ 706765 w 1090712"/>
              <a:gd name="connsiteY627" fmla="*/ 687589 h 895572"/>
              <a:gd name="connsiteX628" fmla="*/ 704864 w 1090712"/>
              <a:gd name="connsiteY628" fmla="*/ 687114 h 895572"/>
              <a:gd name="connsiteX629" fmla="*/ 703201 w 1090712"/>
              <a:gd name="connsiteY629" fmla="*/ 686163 h 895572"/>
              <a:gd name="connsiteX630" fmla="*/ 701776 w 1090712"/>
              <a:gd name="connsiteY630" fmla="*/ 684738 h 895572"/>
              <a:gd name="connsiteX631" fmla="*/ 698687 w 1090712"/>
              <a:gd name="connsiteY631" fmla="*/ 681649 h 895572"/>
              <a:gd name="connsiteX632" fmla="*/ 696549 w 1090712"/>
              <a:gd name="connsiteY632" fmla="*/ 678085 h 895572"/>
              <a:gd name="connsiteX633" fmla="*/ 694648 w 1090712"/>
              <a:gd name="connsiteY633" fmla="*/ 673571 h 895572"/>
              <a:gd name="connsiteX634" fmla="*/ 693460 w 1090712"/>
              <a:gd name="connsiteY634" fmla="*/ 668819 h 895572"/>
              <a:gd name="connsiteX635" fmla="*/ 692510 w 1090712"/>
              <a:gd name="connsiteY635" fmla="*/ 664305 h 895572"/>
              <a:gd name="connsiteX636" fmla="*/ 692510 w 1090712"/>
              <a:gd name="connsiteY636" fmla="*/ 659790 h 895572"/>
              <a:gd name="connsiteX637" fmla="*/ 692510 w 1090712"/>
              <a:gd name="connsiteY637" fmla="*/ 647436 h 895572"/>
              <a:gd name="connsiteX638" fmla="*/ 693460 w 1090712"/>
              <a:gd name="connsiteY638" fmla="*/ 635319 h 895572"/>
              <a:gd name="connsiteX639" fmla="*/ 694173 w 1090712"/>
              <a:gd name="connsiteY639" fmla="*/ 624389 h 895572"/>
              <a:gd name="connsiteX640" fmla="*/ 695598 w 1090712"/>
              <a:gd name="connsiteY640" fmla="*/ 612748 h 895572"/>
              <a:gd name="connsiteX641" fmla="*/ 699162 w 1090712"/>
              <a:gd name="connsiteY641" fmla="*/ 591364 h 895572"/>
              <a:gd name="connsiteX642" fmla="*/ 703676 w 1090712"/>
              <a:gd name="connsiteY642" fmla="*/ 570456 h 895572"/>
              <a:gd name="connsiteX643" fmla="*/ 720070 w 1090712"/>
              <a:gd name="connsiteY643" fmla="*/ 574971 h 895572"/>
              <a:gd name="connsiteX644" fmla="*/ 736939 w 1090712"/>
              <a:gd name="connsiteY644" fmla="*/ 579247 h 895572"/>
              <a:gd name="connsiteX645" fmla="*/ 770677 w 1090712"/>
              <a:gd name="connsiteY645" fmla="*/ 589226 h 895572"/>
              <a:gd name="connsiteX646" fmla="*/ 788021 w 1090712"/>
              <a:gd name="connsiteY646" fmla="*/ 593503 h 895572"/>
              <a:gd name="connsiteX647" fmla="*/ 805365 w 1090712"/>
              <a:gd name="connsiteY647" fmla="*/ 597542 h 895572"/>
              <a:gd name="connsiteX648" fmla="*/ 823660 w 1090712"/>
              <a:gd name="connsiteY648" fmla="*/ 601106 h 895572"/>
              <a:gd name="connsiteX649" fmla="*/ 841954 w 1090712"/>
              <a:gd name="connsiteY649" fmla="*/ 603719 h 895572"/>
              <a:gd name="connsiteX650" fmla="*/ 861437 w 1090712"/>
              <a:gd name="connsiteY650" fmla="*/ 606570 h 895572"/>
              <a:gd name="connsiteX651" fmla="*/ 880682 w 1090712"/>
              <a:gd name="connsiteY651" fmla="*/ 608233 h 895572"/>
              <a:gd name="connsiteX652" fmla="*/ 889948 w 1090712"/>
              <a:gd name="connsiteY652" fmla="*/ 608708 h 895572"/>
              <a:gd name="connsiteX653" fmla="*/ 898976 w 1090712"/>
              <a:gd name="connsiteY653" fmla="*/ 608708 h 895572"/>
              <a:gd name="connsiteX654" fmla="*/ 908242 w 1090712"/>
              <a:gd name="connsiteY654" fmla="*/ 608708 h 895572"/>
              <a:gd name="connsiteX655" fmla="*/ 916795 w 1090712"/>
              <a:gd name="connsiteY655" fmla="*/ 608233 h 895572"/>
              <a:gd name="connsiteX656" fmla="*/ 925586 w 1090712"/>
              <a:gd name="connsiteY656" fmla="*/ 607283 h 895572"/>
              <a:gd name="connsiteX657" fmla="*/ 934140 w 1090712"/>
              <a:gd name="connsiteY657" fmla="*/ 606095 h 895572"/>
              <a:gd name="connsiteX658" fmla="*/ 942455 w 1090712"/>
              <a:gd name="connsiteY658" fmla="*/ 604669 h 895572"/>
              <a:gd name="connsiteX659" fmla="*/ 950533 w 1090712"/>
              <a:gd name="connsiteY659" fmla="*/ 603006 h 895572"/>
              <a:gd name="connsiteX660" fmla="*/ 958611 w 1090712"/>
              <a:gd name="connsiteY660" fmla="*/ 600630 h 895572"/>
              <a:gd name="connsiteX661" fmla="*/ 966452 w 1090712"/>
              <a:gd name="connsiteY661" fmla="*/ 598017 h 895572"/>
              <a:gd name="connsiteX662" fmla="*/ 974055 w 1090712"/>
              <a:gd name="connsiteY662" fmla="*/ 595403 h 895572"/>
              <a:gd name="connsiteX663" fmla="*/ 981658 w 1090712"/>
              <a:gd name="connsiteY663" fmla="*/ 591840 h 895572"/>
              <a:gd name="connsiteX664" fmla="*/ 989261 w 1090712"/>
              <a:gd name="connsiteY664" fmla="*/ 588276 h 895572"/>
              <a:gd name="connsiteX665" fmla="*/ 996388 w 1090712"/>
              <a:gd name="connsiteY665" fmla="*/ 584237 h 895572"/>
              <a:gd name="connsiteX666" fmla="*/ 1003041 w 1090712"/>
              <a:gd name="connsiteY666" fmla="*/ 579247 h 895572"/>
              <a:gd name="connsiteX667" fmla="*/ 1009694 w 1090712"/>
              <a:gd name="connsiteY667" fmla="*/ 574495 h 895572"/>
              <a:gd name="connsiteX668" fmla="*/ 1016346 w 1090712"/>
              <a:gd name="connsiteY668" fmla="*/ 569031 h 895572"/>
              <a:gd name="connsiteX669" fmla="*/ 1022998 w 1090712"/>
              <a:gd name="connsiteY669" fmla="*/ 562853 h 895572"/>
              <a:gd name="connsiteX670" fmla="*/ 1029176 w 1090712"/>
              <a:gd name="connsiteY670" fmla="*/ 556676 h 895572"/>
              <a:gd name="connsiteX671" fmla="*/ 1035116 w 1090712"/>
              <a:gd name="connsiteY671" fmla="*/ 549548 h 895572"/>
              <a:gd name="connsiteX672" fmla="*/ 1040818 w 1090712"/>
              <a:gd name="connsiteY672" fmla="*/ 541945 h 895572"/>
              <a:gd name="connsiteX673" fmla="*/ 1046520 w 1090712"/>
              <a:gd name="connsiteY673" fmla="*/ 534342 h 895572"/>
              <a:gd name="connsiteX674" fmla="*/ 1051985 w 1090712"/>
              <a:gd name="connsiteY674" fmla="*/ 526027 h 895572"/>
              <a:gd name="connsiteX675" fmla="*/ 1056737 w 1090712"/>
              <a:gd name="connsiteY675" fmla="*/ 516523 h 895572"/>
              <a:gd name="connsiteX676" fmla="*/ 1061726 w 1090712"/>
              <a:gd name="connsiteY676" fmla="*/ 507257 h 895572"/>
              <a:gd name="connsiteX677" fmla="*/ 1066715 w 1090712"/>
              <a:gd name="connsiteY677" fmla="*/ 497041 h 895572"/>
              <a:gd name="connsiteX678" fmla="*/ 1070992 w 1090712"/>
              <a:gd name="connsiteY678" fmla="*/ 486349 h 895572"/>
              <a:gd name="connsiteX679" fmla="*/ 1075506 w 1090712"/>
              <a:gd name="connsiteY679" fmla="*/ 475182 h 895572"/>
              <a:gd name="connsiteX680" fmla="*/ 1079070 w 1090712"/>
              <a:gd name="connsiteY680" fmla="*/ 462828 h 895572"/>
              <a:gd name="connsiteX681" fmla="*/ 1082634 w 1090712"/>
              <a:gd name="connsiteY681" fmla="*/ 449998 h 895572"/>
              <a:gd name="connsiteX682" fmla="*/ 1084772 w 1090712"/>
              <a:gd name="connsiteY682" fmla="*/ 437405 h 895572"/>
              <a:gd name="connsiteX683" fmla="*/ 1087148 w 1090712"/>
              <a:gd name="connsiteY683" fmla="*/ 425050 h 895572"/>
              <a:gd name="connsiteX684" fmla="*/ 1088811 w 1090712"/>
              <a:gd name="connsiteY684" fmla="*/ 411983 h 895572"/>
              <a:gd name="connsiteX685" fmla="*/ 1089762 w 1090712"/>
              <a:gd name="connsiteY685" fmla="*/ 399628 h 895572"/>
              <a:gd name="connsiteX686" fmla="*/ 1090712 w 1090712"/>
              <a:gd name="connsiteY686" fmla="*/ 386798 h 895572"/>
              <a:gd name="connsiteX687" fmla="*/ 1090712 w 1090712"/>
              <a:gd name="connsiteY687" fmla="*/ 373731 h 895572"/>
              <a:gd name="connsiteX688" fmla="*/ 1090712 w 1090712"/>
              <a:gd name="connsiteY688" fmla="*/ 360901 h 895572"/>
              <a:gd name="connsiteX689" fmla="*/ 1089762 w 1090712"/>
              <a:gd name="connsiteY689" fmla="*/ 348071 h 895572"/>
              <a:gd name="connsiteX690" fmla="*/ 1088811 w 1090712"/>
              <a:gd name="connsiteY690" fmla="*/ 335004 h 895572"/>
              <a:gd name="connsiteX691" fmla="*/ 1088099 w 1090712"/>
              <a:gd name="connsiteY691" fmla="*/ 321698 h 895572"/>
              <a:gd name="connsiteX692" fmla="*/ 1084772 w 1090712"/>
              <a:gd name="connsiteY692" fmla="*/ 295563 h 895572"/>
              <a:gd name="connsiteX693" fmla="*/ 1080971 w 1090712"/>
              <a:gd name="connsiteY693" fmla="*/ 268478 h 895572"/>
              <a:gd name="connsiteX694" fmla="*/ 1078595 w 1090712"/>
              <a:gd name="connsiteY694" fmla="*/ 258262 h 895572"/>
              <a:gd name="connsiteX695" fmla="*/ 1075981 w 1090712"/>
              <a:gd name="connsiteY695" fmla="*/ 248283 h 895572"/>
              <a:gd name="connsiteX696" fmla="*/ 1072417 w 1090712"/>
              <a:gd name="connsiteY696" fmla="*/ 238542 h 895572"/>
              <a:gd name="connsiteX697" fmla="*/ 1069329 w 1090712"/>
              <a:gd name="connsiteY697" fmla="*/ 229275 h 895572"/>
              <a:gd name="connsiteX698" fmla="*/ 1061251 w 1090712"/>
              <a:gd name="connsiteY698" fmla="*/ 210031 h 895572"/>
              <a:gd name="connsiteX699" fmla="*/ 1053173 w 1090712"/>
              <a:gd name="connsiteY699" fmla="*/ 190073 h 895572"/>
              <a:gd name="connsiteX700" fmla="*/ 1051034 w 1090712"/>
              <a:gd name="connsiteY700" fmla="*/ 186034 h 895572"/>
              <a:gd name="connsiteX701" fmla="*/ 1048896 w 1090712"/>
              <a:gd name="connsiteY701" fmla="*/ 182470 h 895572"/>
              <a:gd name="connsiteX702" fmla="*/ 1046045 w 1090712"/>
              <a:gd name="connsiteY702" fmla="*/ 179381 h 895572"/>
              <a:gd name="connsiteX703" fmla="*/ 1043906 w 1090712"/>
              <a:gd name="connsiteY703" fmla="*/ 176768 h 895572"/>
              <a:gd name="connsiteX704" fmla="*/ 1041293 w 1090712"/>
              <a:gd name="connsiteY704" fmla="*/ 174630 h 895572"/>
              <a:gd name="connsiteX705" fmla="*/ 1038680 w 1090712"/>
              <a:gd name="connsiteY705" fmla="*/ 172729 h 895572"/>
              <a:gd name="connsiteX706" fmla="*/ 1035828 w 1090712"/>
              <a:gd name="connsiteY706" fmla="*/ 171303 h 895572"/>
              <a:gd name="connsiteX707" fmla="*/ 1032740 w 1090712"/>
              <a:gd name="connsiteY707" fmla="*/ 170591 h 895572"/>
              <a:gd name="connsiteX708" fmla="*/ 1030126 w 1090712"/>
              <a:gd name="connsiteY708" fmla="*/ 170591 h 895572"/>
              <a:gd name="connsiteX709" fmla="*/ 1027038 w 1090712"/>
              <a:gd name="connsiteY709" fmla="*/ 170591 h 895572"/>
              <a:gd name="connsiteX710" fmla="*/ 1024424 w 1090712"/>
              <a:gd name="connsiteY710" fmla="*/ 171303 h 895572"/>
              <a:gd name="connsiteX711" fmla="*/ 1021335 w 1090712"/>
              <a:gd name="connsiteY711" fmla="*/ 172729 h 895572"/>
              <a:gd name="connsiteX712" fmla="*/ 1018247 w 1090712"/>
              <a:gd name="connsiteY712" fmla="*/ 174867 h 895572"/>
              <a:gd name="connsiteX713" fmla="*/ 1014920 w 1090712"/>
              <a:gd name="connsiteY713" fmla="*/ 177718 h 895572"/>
              <a:gd name="connsiteX714" fmla="*/ 1011832 w 1090712"/>
              <a:gd name="connsiteY714" fmla="*/ 180807 h 895572"/>
              <a:gd name="connsiteX715" fmla="*/ 1008743 w 1090712"/>
              <a:gd name="connsiteY715" fmla="*/ 184846 h 895572"/>
              <a:gd name="connsiteX716" fmla="*/ 991874 w 1090712"/>
              <a:gd name="connsiteY716" fmla="*/ 201240 h 895572"/>
              <a:gd name="connsiteX717" fmla="*/ 983321 w 1090712"/>
              <a:gd name="connsiteY717" fmla="*/ 209318 h 895572"/>
              <a:gd name="connsiteX718" fmla="*/ 974530 w 1090712"/>
              <a:gd name="connsiteY718" fmla="*/ 216683 h 895572"/>
              <a:gd name="connsiteX719" fmla="*/ 965739 w 1090712"/>
              <a:gd name="connsiteY719" fmla="*/ 223811 h 895572"/>
              <a:gd name="connsiteX720" fmla="*/ 956236 w 1090712"/>
              <a:gd name="connsiteY720" fmla="*/ 230226 h 895572"/>
              <a:gd name="connsiteX721" fmla="*/ 946494 w 1090712"/>
              <a:gd name="connsiteY721" fmla="*/ 235928 h 895572"/>
              <a:gd name="connsiteX722" fmla="*/ 941505 w 1090712"/>
              <a:gd name="connsiteY722" fmla="*/ 238066 h 895572"/>
              <a:gd name="connsiteX723" fmla="*/ 936753 w 1090712"/>
              <a:gd name="connsiteY723" fmla="*/ 240442 h 895572"/>
              <a:gd name="connsiteX724" fmla="*/ 932239 w 1090712"/>
              <a:gd name="connsiteY724" fmla="*/ 242581 h 895572"/>
              <a:gd name="connsiteX725" fmla="*/ 928675 w 1090712"/>
              <a:gd name="connsiteY725" fmla="*/ 245669 h 895572"/>
              <a:gd name="connsiteX726" fmla="*/ 925111 w 1090712"/>
              <a:gd name="connsiteY726" fmla="*/ 249233 h 895572"/>
              <a:gd name="connsiteX727" fmla="*/ 922022 w 1090712"/>
              <a:gd name="connsiteY727" fmla="*/ 252797 h 895572"/>
              <a:gd name="connsiteX728" fmla="*/ 919884 w 1090712"/>
              <a:gd name="connsiteY728" fmla="*/ 257311 h 895572"/>
              <a:gd name="connsiteX729" fmla="*/ 918934 w 1090712"/>
              <a:gd name="connsiteY729" fmla="*/ 259925 h 895572"/>
              <a:gd name="connsiteX730" fmla="*/ 918459 w 1090712"/>
              <a:gd name="connsiteY730" fmla="*/ 262538 h 895572"/>
              <a:gd name="connsiteX731" fmla="*/ 918459 w 1090712"/>
              <a:gd name="connsiteY731" fmla="*/ 265389 h 895572"/>
              <a:gd name="connsiteX732" fmla="*/ 918459 w 1090712"/>
              <a:gd name="connsiteY732" fmla="*/ 268003 h 895572"/>
              <a:gd name="connsiteX733" fmla="*/ 918934 w 1090712"/>
              <a:gd name="connsiteY733" fmla="*/ 271091 h 895572"/>
              <a:gd name="connsiteX734" fmla="*/ 919884 w 1090712"/>
              <a:gd name="connsiteY734" fmla="*/ 274180 h 895572"/>
              <a:gd name="connsiteX735" fmla="*/ 921547 w 1090712"/>
              <a:gd name="connsiteY735" fmla="*/ 282258 h 895572"/>
              <a:gd name="connsiteX736" fmla="*/ 922973 w 1090712"/>
              <a:gd name="connsiteY736" fmla="*/ 290574 h 895572"/>
              <a:gd name="connsiteX737" fmla="*/ 923923 w 1090712"/>
              <a:gd name="connsiteY737" fmla="*/ 299127 h 895572"/>
              <a:gd name="connsiteX738" fmla="*/ 924161 w 1090712"/>
              <a:gd name="connsiteY738" fmla="*/ 307443 h 895572"/>
              <a:gd name="connsiteX739" fmla="*/ 924161 w 1090712"/>
              <a:gd name="connsiteY739" fmla="*/ 315996 h 895572"/>
              <a:gd name="connsiteX740" fmla="*/ 923923 w 1090712"/>
              <a:gd name="connsiteY740" fmla="*/ 324550 h 895572"/>
              <a:gd name="connsiteX741" fmla="*/ 922973 w 1090712"/>
              <a:gd name="connsiteY741" fmla="*/ 332865 h 895572"/>
              <a:gd name="connsiteX742" fmla="*/ 922022 w 1090712"/>
              <a:gd name="connsiteY742" fmla="*/ 340943 h 895572"/>
              <a:gd name="connsiteX743" fmla="*/ 920597 w 1090712"/>
              <a:gd name="connsiteY743" fmla="*/ 349259 h 895572"/>
              <a:gd name="connsiteX744" fmla="*/ 918934 w 1090712"/>
              <a:gd name="connsiteY744" fmla="*/ 357812 h 895572"/>
              <a:gd name="connsiteX745" fmla="*/ 914420 w 1090712"/>
              <a:gd name="connsiteY745" fmla="*/ 374681 h 895572"/>
              <a:gd name="connsiteX746" fmla="*/ 909192 w 1090712"/>
              <a:gd name="connsiteY746" fmla="*/ 391075 h 895572"/>
              <a:gd name="connsiteX747" fmla="*/ 903253 w 1090712"/>
              <a:gd name="connsiteY747" fmla="*/ 408182 h 895572"/>
              <a:gd name="connsiteX748" fmla="*/ 903253 w 1090712"/>
              <a:gd name="connsiteY748" fmla="*/ 397965 h 895572"/>
              <a:gd name="connsiteX749" fmla="*/ 904203 w 1090712"/>
              <a:gd name="connsiteY749" fmla="*/ 387274 h 895572"/>
              <a:gd name="connsiteX750" fmla="*/ 906104 w 1090712"/>
              <a:gd name="connsiteY750" fmla="*/ 367078 h 895572"/>
              <a:gd name="connsiteX751" fmla="*/ 907767 w 1090712"/>
              <a:gd name="connsiteY751" fmla="*/ 347596 h 895572"/>
              <a:gd name="connsiteX752" fmla="*/ 908717 w 1090712"/>
              <a:gd name="connsiteY752" fmla="*/ 338567 h 895572"/>
              <a:gd name="connsiteX753" fmla="*/ 908717 w 1090712"/>
              <a:gd name="connsiteY753" fmla="*/ 329777 h 895572"/>
              <a:gd name="connsiteX754" fmla="*/ 908717 w 1090712"/>
              <a:gd name="connsiteY754" fmla="*/ 325738 h 895572"/>
              <a:gd name="connsiteX755" fmla="*/ 907767 w 1090712"/>
              <a:gd name="connsiteY755" fmla="*/ 322649 h 895572"/>
              <a:gd name="connsiteX756" fmla="*/ 906817 w 1090712"/>
              <a:gd name="connsiteY756" fmla="*/ 319560 h 895572"/>
              <a:gd name="connsiteX757" fmla="*/ 905154 w 1090712"/>
              <a:gd name="connsiteY757" fmla="*/ 316471 h 895572"/>
              <a:gd name="connsiteX758" fmla="*/ 903728 w 1090712"/>
              <a:gd name="connsiteY758" fmla="*/ 314096 h 895572"/>
              <a:gd name="connsiteX759" fmla="*/ 901590 w 1090712"/>
              <a:gd name="connsiteY759" fmla="*/ 311957 h 895572"/>
              <a:gd name="connsiteX760" fmla="*/ 897551 w 1090712"/>
              <a:gd name="connsiteY760" fmla="*/ 307443 h 895572"/>
              <a:gd name="connsiteX761" fmla="*/ 895412 w 1090712"/>
              <a:gd name="connsiteY761" fmla="*/ 309344 h 895572"/>
              <a:gd name="connsiteX762" fmla="*/ 892561 w 1090712"/>
              <a:gd name="connsiteY762" fmla="*/ 310769 h 895572"/>
              <a:gd name="connsiteX763" fmla="*/ 887334 w 1090712"/>
              <a:gd name="connsiteY763" fmla="*/ 313383 h 895572"/>
              <a:gd name="connsiteX764" fmla="*/ 884721 w 1090712"/>
              <a:gd name="connsiteY764" fmla="*/ 314096 h 895572"/>
              <a:gd name="connsiteX765" fmla="*/ 882820 w 1090712"/>
              <a:gd name="connsiteY765" fmla="*/ 315521 h 895572"/>
              <a:gd name="connsiteX766" fmla="*/ 881632 w 1090712"/>
              <a:gd name="connsiteY766" fmla="*/ 316947 h 895572"/>
              <a:gd name="connsiteX767" fmla="*/ 881157 w 1090712"/>
              <a:gd name="connsiteY767" fmla="*/ 318610 h 895572"/>
              <a:gd name="connsiteX768" fmla="*/ 872604 w 1090712"/>
              <a:gd name="connsiteY768" fmla="*/ 331915 h 895572"/>
              <a:gd name="connsiteX769" fmla="*/ 864288 w 1090712"/>
              <a:gd name="connsiteY769" fmla="*/ 346646 h 895572"/>
              <a:gd name="connsiteX770" fmla="*/ 856210 w 1090712"/>
              <a:gd name="connsiteY770" fmla="*/ 361376 h 895572"/>
              <a:gd name="connsiteX771" fmla="*/ 847656 w 1090712"/>
              <a:gd name="connsiteY771" fmla="*/ 374681 h 895572"/>
              <a:gd name="connsiteX772" fmla="*/ 841954 w 1090712"/>
              <a:gd name="connsiteY772" fmla="*/ 374681 h 895572"/>
              <a:gd name="connsiteX773" fmla="*/ 846468 w 1090712"/>
              <a:gd name="connsiteY773" fmla="*/ 357812 h 895572"/>
              <a:gd name="connsiteX774" fmla="*/ 850508 w 1090712"/>
              <a:gd name="connsiteY774" fmla="*/ 339518 h 895572"/>
              <a:gd name="connsiteX775" fmla="*/ 854784 w 1090712"/>
              <a:gd name="connsiteY775" fmla="*/ 319560 h 895572"/>
              <a:gd name="connsiteX776" fmla="*/ 858823 w 1090712"/>
              <a:gd name="connsiteY776" fmla="*/ 296514 h 895572"/>
              <a:gd name="connsiteX777" fmla="*/ 848132 w 1090712"/>
              <a:gd name="connsiteY777" fmla="*/ 303879 h 895572"/>
              <a:gd name="connsiteX778" fmla="*/ 840054 w 1090712"/>
              <a:gd name="connsiteY778" fmla="*/ 310294 h 895572"/>
              <a:gd name="connsiteX779" fmla="*/ 833163 w 1090712"/>
              <a:gd name="connsiteY779" fmla="*/ 316947 h 895572"/>
              <a:gd name="connsiteX780" fmla="*/ 825560 w 1090712"/>
              <a:gd name="connsiteY780" fmla="*/ 324550 h 895572"/>
              <a:gd name="connsiteX781" fmla="*/ 823185 w 1090712"/>
              <a:gd name="connsiteY781" fmla="*/ 326688 h 895572"/>
              <a:gd name="connsiteX782" fmla="*/ 821522 w 1090712"/>
              <a:gd name="connsiteY782" fmla="*/ 329301 h 895572"/>
              <a:gd name="connsiteX783" fmla="*/ 817007 w 1090712"/>
              <a:gd name="connsiteY783" fmla="*/ 335954 h 895572"/>
              <a:gd name="connsiteX784" fmla="*/ 812968 w 1090712"/>
              <a:gd name="connsiteY784" fmla="*/ 344032 h 895572"/>
              <a:gd name="connsiteX785" fmla="*/ 808929 w 1090712"/>
              <a:gd name="connsiteY785" fmla="*/ 352585 h 895572"/>
              <a:gd name="connsiteX786" fmla="*/ 809880 w 1090712"/>
              <a:gd name="connsiteY786" fmla="*/ 343557 h 895572"/>
              <a:gd name="connsiteX787" fmla="*/ 811305 w 1090712"/>
              <a:gd name="connsiteY787" fmla="*/ 335479 h 895572"/>
              <a:gd name="connsiteX788" fmla="*/ 812493 w 1090712"/>
              <a:gd name="connsiteY788" fmla="*/ 328826 h 895572"/>
              <a:gd name="connsiteX789" fmla="*/ 814394 w 1090712"/>
              <a:gd name="connsiteY789" fmla="*/ 323124 h 895572"/>
              <a:gd name="connsiteX790" fmla="*/ 816532 w 1090712"/>
              <a:gd name="connsiteY790" fmla="*/ 317659 h 895572"/>
              <a:gd name="connsiteX791" fmla="*/ 819146 w 1090712"/>
              <a:gd name="connsiteY791" fmla="*/ 313383 h 895572"/>
              <a:gd name="connsiteX792" fmla="*/ 822709 w 1090712"/>
              <a:gd name="connsiteY792" fmla="*/ 309344 h 895572"/>
              <a:gd name="connsiteX793" fmla="*/ 826748 w 1090712"/>
              <a:gd name="connsiteY793" fmla="*/ 306255 h 895572"/>
              <a:gd name="connsiteX794" fmla="*/ 832213 w 1090712"/>
              <a:gd name="connsiteY794" fmla="*/ 303166 h 895572"/>
              <a:gd name="connsiteX795" fmla="*/ 838390 w 1090712"/>
              <a:gd name="connsiteY795" fmla="*/ 300315 h 895572"/>
              <a:gd name="connsiteX796" fmla="*/ 845518 w 1090712"/>
              <a:gd name="connsiteY796" fmla="*/ 298177 h 895572"/>
              <a:gd name="connsiteX797" fmla="*/ 854071 w 1090712"/>
              <a:gd name="connsiteY797" fmla="*/ 295563 h 895572"/>
              <a:gd name="connsiteX798" fmla="*/ 875217 w 1090712"/>
              <a:gd name="connsiteY798" fmla="*/ 290574 h 895572"/>
              <a:gd name="connsiteX799" fmla="*/ 903253 w 1090712"/>
              <a:gd name="connsiteY799" fmla="*/ 285347 h 895572"/>
              <a:gd name="connsiteX800" fmla="*/ 886384 w 1090712"/>
              <a:gd name="connsiteY800" fmla="*/ 268478 h 895572"/>
              <a:gd name="connsiteX801" fmla="*/ 879731 w 1090712"/>
              <a:gd name="connsiteY801" fmla="*/ 270141 h 895572"/>
              <a:gd name="connsiteX802" fmla="*/ 873079 w 1090712"/>
              <a:gd name="connsiteY802" fmla="*/ 271091 h 895572"/>
              <a:gd name="connsiteX803" fmla="*/ 867376 w 1090712"/>
              <a:gd name="connsiteY803" fmla="*/ 271567 h 895572"/>
              <a:gd name="connsiteX804" fmla="*/ 862387 w 1090712"/>
              <a:gd name="connsiteY804" fmla="*/ 271091 h 895572"/>
              <a:gd name="connsiteX805" fmla="*/ 857398 w 1090712"/>
              <a:gd name="connsiteY805" fmla="*/ 269666 h 895572"/>
              <a:gd name="connsiteX806" fmla="*/ 853596 w 1090712"/>
              <a:gd name="connsiteY806" fmla="*/ 268003 h 895572"/>
              <a:gd name="connsiteX807" fmla="*/ 849557 w 1090712"/>
              <a:gd name="connsiteY807" fmla="*/ 265627 h 895572"/>
              <a:gd name="connsiteX808" fmla="*/ 846468 w 1090712"/>
              <a:gd name="connsiteY808" fmla="*/ 262538 h 895572"/>
              <a:gd name="connsiteX809" fmla="*/ 843380 w 1090712"/>
              <a:gd name="connsiteY809" fmla="*/ 259450 h 895572"/>
              <a:gd name="connsiteX810" fmla="*/ 840529 w 1090712"/>
              <a:gd name="connsiteY810" fmla="*/ 255411 h 895572"/>
              <a:gd name="connsiteX811" fmla="*/ 838390 w 1090712"/>
              <a:gd name="connsiteY811" fmla="*/ 251134 h 895572"/>
              <a:gd name="connsiteX812" fmla="*/ 836490 w 1090712"/>
              <a:gd name="connsiteY812" fmla="*/ 246620 h 895572"/>
              <a:gd name="connsiteX813" fmla="*/ 834827 w 1090712"/>
              <a:gd name="connsiteY813" fmla="*/ 241155 h 895572"/>
              <a:gd name="connsiteX814" fmla="*/ 833401 w 1090712"/>
              <a:gd name="connsiteY814" fmla="*/ 235453 h 895572"/>
              <a:gd name="connsiteX815" fmla="*/ 831263 w 1090712"/>
              <a:gd name="connsiteY815" fmla="*/ 223336 h 895572"/>
              <a:gd name="connsiteX816" fmla="*/ 897551 w 1090712"/>
              <a:gd name="connsiteY816" fmla="*/ 206942 h 895572"/>
              <a:gd name="connsiteX817" fmla="*/ 888997 w 1090712"/>
              <a:gd name="connsiteY817" fmla="*/ 194112 h 895572"/>
              <a:gd name="connsiteX818" fmla="*/ 880682 w 1090712"/>
              <a:gd name="connsiteY818" fmla="*/ 181282 h 895572"/>
              <a:gd name="connsiteX819" fmla="*/ 871416 w 1090712"/>
              <a:gd name="connsiteY819" fmla="*/ 168690 h 895572"/>
              <a:gd name="connsiteX820" fmla="*/ 866901 w 1090712"/>
              <a:gd name="connsiteY820" fmla="*/ 162988 h 895572"/>
              <a:gd name="connsiteX821" fmla="*/ 861437 w 1090712"/>
              <a:gd name="connsiteY821" fmla="*/ 157048 h 895572"/>
              <a:gd name="connsiteX822" fmla="*/ 856210 w 1090712"/>
              <a:gd name="connsiteY822" fmla="*/ 151821 h 895572"/>
              <a:gd name="connsiteX823" fmla="*/ 850745 w 1090712"/>
              <a:gd name="connsiteY823" fmla="*/ 146831 h 895572"/>
              <a:gd name="connsiteX824" fmla="*/ 844568 w 1090712"/>
              <a:gd name="connsiteY824" fmla="*/ 142555 h 895572"/>
              <a:gd name="connsiteX825" fmla="*/ 838390 w 1090712"/>
              <a:gd name="connsiteY825" fmla="*/ 138516 h 895572"/>
              <a:gd name="connsiteX826" fmla="*/ 831738 w 1090712"/>
              <a:gd name="connsiteY826" fmla="*/ 134952 h 895572"/>
              <a:gd name="connsiteX827" fmla="*/ 824610 w 1090712"/>
              <a:gd name="connsiteY827" fmla="*/ 132338 h 895572"/>
              <a:gd name="connsiteX828" fmla="*/ 817007 w 1090712"/>
              <a:gd name="connsiteY828" fmla="*/ 129963 h 895572"/>
              <a:gd name="connsiteX829" fmla="*/ 808929 w 1090712"/>
              <a:gd name="connsiteY829" fmla="*/ 128774 h 895572"/>
              <a:gd name="connsiteX830" fmla="*/ 806791 w 1090712"/>
              <a:gd name="connsiteY830" fmla="*/ 128299 h 895572"/>
              <a:gd name="connsiteX831" fmla="*/ 804652 w 1090712"/>
              <a:gd name="connsiteY831" fmla="*/ 127824 h 895572"/>
              <a:gd name="connsiteX832" fmla="*/ 802752 w 1090712"/>
              <a:gd name="connsiteY832" fmla="*/ 126399 h 895572"/>
              <a:gd name="connsiteX833" fmla="*/ 801089 w 1090712"/>
              <a:gd name="connsiteY833" fmla="*/ 125211 h 895572"/>
              <a:gd name="connsiteX834" fmla="*/ 799663 w 1090712"/>
              <a:gd name="connsiteY834" fmla="*/ 123310 h 895572"/>
              <a:gd name="connsiteX835" fmla="*/ 798713 w 1090712"/>
              <a:gd name="connsiteY835" fmla="*/ 121647 h 895572"/>
              <a:gd name="connsiteX836" fmla="*/ 798000 w 1090712"/>
              <a:gd name="connsiteY836" fmla="*/ 119271 h 895572"/>
              <a:gd name="connsiteX837" fmla="*/ 798000 w 1090712"/>
              <a:gd name="connsiteY837" fmla="*/ 117608 h 895572"/>
              <a:gd name="connsiteX838" fmla="*/ 785408 w 1090712"/>
              <a:gd name="connsiteY838" fmla="*/ 106916 h 895572"/>
              <a:gd name="connsiteX839" fmla="*/ 772578 w 1090712"/>
              <a:gd name="connsiteY839" fmla="*/ 95749 h 895572"/>
              <a:gd name="connsiteX840" fmla="*/ 747155 w 1090712"/>
              <a:gd name="connsiteY840" fmla="*/ 72703 h 895572"/>
              <a:gd name="connsiteX841" fmla="*/ 733850 w 1090712"/>
              <a:gd name="connsiteY841" fmla="*/ 61061 h 895572"/>
              <a:gd name="connsiteX842" fmla="*/ 720545 w 1090712"/>
              <a:gd name="connsiteY842" fmla="*/ 49894 h 895572"/>
              <a:gd name="connsiteX843" fmla="*/ 706765 w 1090712"/>
              <a:gd name="connsiteY843" fmla="*/ 38728 h 895572"/>
              <a:gd name="connsiteX844" fmla="*/ 692510 w 1090712"/>
              <a:gd name="connsiteY844" fmla="*/ 28036 h 895572"/>
              <a:gd name="connsiteX845" fmla="*/ 679442 w 1090712"/>
              <a:gd name="connsiteY845" fmla="*/ 21859 h 895572"/>
              <a:gd name="connsiteX846" fmla="*/ 666137 w 1090712"/>
              <a:gd name="connsiteY846" fmla="*/ 16632 h 895572"/>
              <a:gd name="connsiteX847" fmla="*/ 652832 w 1090712"/>
              <a:gd name="connsiteY847" fmla="*/ 11642 h 895572"/>
              <a:gd name="connsiteX848" fmla="*/ 639527 w 1090712"/>
              <a:gd name="connsiteY848" fmla="*/ 7603 h 895572"/>
              <a:gd name="connsiteX849" fmla="*/ 626222 w 1090712"/>
              <a:gd name="connsiteY849" fmla="*/ 4514 h 895572"/>
              <a:gd name="connsiteX850" fmla="*/ 612917 w 1090712"/>
              <a:gd name="connsiteY850" fmla="*/ 1901 h 895572"/>
              <a:gd name="connsiteX851" fmla="*/ 599374 w 1090712"/>
              <a:gd name="connsiteY851" fmla="*/ 475 h 8955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Lst>
            <a:rect l="l" t="t" r="r" b="b"/>
            <a:pathLst>
              <a:path w="1090712" h="895572">
                <a:moveTo>
                  <a:pt x="603413" y="721327"/>
                </a:moveTo>
                <a:lnTo>
                  <a:pt x="578466" y="770746"/>
                </a:lnTo>
                <a:lnTo>
                  <a:pt x="553519" y="818264"/>
                </a:lnTo>
                <a:lnTo>
                  <a:pt x="528334" y="865069"/>
                </a:lnTo>
                <a:lnTo>
                  <a:pt x="511825" y="895572"/>
                </a:lnTo>
                <a:lnTo>
                  <a:pt x="624528" y="895572"/>
                </a:lnTo>
                <a:lnTo>
                  <a:pt x="624796" y="894768"/>
                </a:lnTo>
                <a:lnTo>
                  <a:pt x="625271" y="891679"/>
                </a:lnTo>
                <a:lnTo>
                  <a:pt x="625747" y="889066"/>
                </a:lnTo>
                <a:lnTo>
                  <a:pt x="625747" y="860555"/>
                </a:lnTo>
                <a:lnTo>
                  <a:pt x="624796" y="833945"/>
                </a:lnTo>
                <a:lnTo>
                  <a:pt x="624321" y="820877"/>
                </a:lnTo>
                <a:lnTo>
                  <a:pt x="623608" y="808047"/>
                </a:lnTo>
                <a:lnTo>
                  <a:pt x="621708" y="795218"/>
                </a:lnTo>
                <a:lnTo>
                  <a:pt x="620044" y="782625"/>
                </a:lnTo>
                <a:lnTo>
                  <a:pt x="616005" y="766707"/>
                </a:lnTo>
                <a:lnTo>
                  <a:pt x="611966" y="751976"/>
                </a:lnTo>
                <a:lnTo>
                  <a:pt x="607452" y="737245"/>
                </a:lnTo>
                <a:close/>
                <a:moveTo>
                  <a:pt x="698212" y="530778"/>
                </a:moveTo>
                <a:lnTo>
                  <a:pt x="693460" y="534818"/>
                </a:lnTo>
                <a:lnTo>
                  <a:pt x="688471" y="538857"/>
                </a:lnTo>
                <a:lnTo>
                  <a:pt x="678254" y="546935"/>
                </a:lnTo>
                <a:lnTo>
                  <a:pt x="669226" y="553587"/>
                </a:lnTo>
                <a:lnTo>
                  <a:pt x="663048" y="558814"/>
                </a:lnTo>
                <a:lnTo>
                  <a:pt x="663048" y="556676"/>
                </a:lnTo>
                <a:lnTo>
                  <a:pt x="663523" y="554538"/>
                </a:lnTo>
                <a:lnTo>
                  <a:pt x="665424" y="550498"/>
                </a:lnTo>
                <a:lnTo>
                  <a:pt x="668038" y="546459"/>
                </a:lnTo>
                <a:lnTo>
                  <a:pt x="671602" y="542420"/>
                </a:lnTo>
                <a:lnTo>
                  <a:pt x="676829" y="538857"/>
                </a:lnTo>
                <a:lnTo>
                  <a:pt x="682768" y="535768"/>
                </a:lnTo>
                <a:lnTo>
                  <a:pt x="689896" y="533154"/>
                </a:lnTo>
                <a:close/>
                <a:moveTo>
                  <a:pt x="654257" y="302216"/>
                </a:moveTo>
                <a:lnTo>
                  <a:pt x="651882" y="302691"/>
                </a:lnTo>
                <a:lnTo>
                  <a:pt x="649268" y="303166"/>
                </a:lnTo>
                <a:lnTo>
                  <a:pt x="647130" y="304354"/>
                </a:lnTo>
                <a:lnTo>
                  <a:pt x="644516" y="306255"/>
                </a:lnTo>
                <a:lnTo>
                  <a:pt x="642140" y="307918"/>
                </a:lnTo>
                <a:lnTo>
                  <a:pt x="640002" y="310294"/>
                </a:lnTo>
                <a:lnTo>
                  <a:pt x="638101" y="312432"/>
                </a:lnTo>
                <a:lnTo>
                  <a:pt x="636913" y="314571"/>
                </a:lnTo>
                <a:lnTo>
                  <a:pt x="635963" y="316946"/>
                </a:lnTo>
                <a:lnTo>
                  <a:pt x="635963" y="319085"/>
                </a:lnTo>
                <a:lnTo>
                  <a:pt x="636913" y="321223"/>
                </a:lnTo>
                <a:lnTo>
                  <a:pt x="637626" y="324074"/>
                </a:lnTo>
                <a:lnTo>
                  <a:pt x="639527" y="326688"/>
                </a:lnTo>
                <a:lnTo>
                  <a:pt x="643091" y="331677"/>
                </a:lnTo>
                <a:lnTo>
                  <a:pt x="647130" y="335954"/>
                </a:lnTo>
                <a:lnTo>
                  <a:pt x="655920" y="330727"/>
                </a:lnTo>
                <a:lnTo>
                  <a:pt x="663999" y="324787"/>
                </a:lnTo>
                <a:lnTo>
                  <a:pt x="679917" y="313383"/>
                </a:lnTo>
                <a:lnTo>
                  <a:pt x="676354" y="311007"/>
                </a:lnTo>
                <a:lnTo>
                  <a:pt x="672790" y="308393"/>
                </a:lnTo>
                <a:lnTo>
                  <a:pt x="668988" y="306730"/>
                </a:lnTo>
                <a:lnTo>
                  <a:pt x="664949" y="304829"/>
                </a:lnTo>
                <a:lnTo>
                  <a:pt x="660910" y="303641"/>
                </a:lnTo>
                <a:lnTo>
                  <a:pt x="657346" y="302691"/>
                </a:lnTo>
                <a:close/>
                <a:moveTo>
                  <a:pt x="696549" y="252322"/>
                </a:moveTo>
                <a:lnTo>
                  <a:pt x="696786" y="259925"/>
                </a:lnTo>
                <a:lnTo>
                  <a:pt x="698212" y="266102"/>
                </a:lnTo>
                <a:lnTo>
                  <a:pt x="700113" y="272042"/>
                </a:lnTo>
                <a:lnTo>
                  <a:pt x="701776" y="276794"/>
                </a:lnTo>
                <a:lnTo>
                  <a:pt x="704389" y="280833"/>
                </a:lnTo>
                <a:lnTo>
                  <a:pt x="707240" y="284397"/>
                </a:lnTo>
                <a:lnTo>
                  <a:pt x="710329" y="287010"/>
                </a:lnTo>
                <a:lnTo>
                  <a:pt x="713418" y="289624"/>
                </a:lnTo>
                <a:lnTo>
                  <a:pt x="716506" y="291524"/>
                </a:lnTo>
                <a:lnTo>
                  <a:pt x="719595" y="293187"/>
                </a:lnTo>
                <a:lnTo>
                  <a:pt x="725772" y="295088"/>
                </a:lnTo>
                <a:lnTo>
                  <a:pt x="731237" y="296514"/>
                </a:lnTo>
                <a:lnTo>
                  <a:pt x="734801" y="296751"/>
                </a:lnTo>
                <a:lnTo>
                  <a:pt x="722209" y="303879"/>
                </a:lnTo>
                <a:lnTo>
                  <a:pt x="710804" y="311007"/>
                </a:lnTo>
                <a:lnTo>
                  <a:pt x="688471" y="324787"/>
                </a:lnTo>
                <a:lnTo>
                  <a:pt x="667563" y="339043"/>
                </a:lnTo>
                <a:lnTo>
                  <a:pt x="646179" y="352823"/>
                </a:lnTo>
                <a:lnTo>
                  <a:pt x="620044" y="313383"/>
                </a:lnTo>
                <a:lnTo>
                  <a:pt x="617668" y="312432"/>
                </a:lnTo>
                <a:lnTo>
                  <a:pt x="615055" y="312432"/>
                </a:lnTo>
                <a:lnTo>
                  <a:pt x="612441" y="313383"/>
                </a:lnTo>
                <a:lnTo>
                  <a:pt x="609353" y="314095"/>
                </a:lnTo>
                <a:lnTo>
                  <a:pt x="602938" y="316946"/>
                </a:lnTo>
                <a:lnTo>
                  <a:pt x="599849" y="317659"/>
                </a:lnTo>
                <a:lnTo>
                  <a:pt x="596760" y="318610"/>
                </a:lnTo>
                <a:lnTo>
                  <a:pt x="607927" y="307205"/>
                </a:lnTo>
                <a:lnTo>
                  <a:pt x="618619" y="295088"/>
                </a:lnTo>
                <a:lnTo>
                  <a:pt x="623846" y="289386"/>
                </a:lnTo>
                <a:lnTo>
                  <a:pt x="629786" y="283921"/>
                </a:lnTo>
                <a:lnTo>
                  <a:pt x="635963" y="278694"/>
                </a:lnTo>
                <a:lnTo>
                  <a:pt x="642140" y="273705"/>
                </a:lnTo>
                <a:lnTo>
                  <a:pt x="648793" y="269191"/>
                </a:lnTo>
                <a:lnTo>
                  <a:pt x="655446" y="265627"/>
                </a:lnTo>
                <a:lnTo>
                  <a:pt x="662098" y="263013"/>
                </a:lnTo>
                <a:lnTo>
                  <a:pt x="668988" y="260400"/>
                </a:lnTo>
                <a:lnTo>
                  <a:pt x="682768" y="256361"/>
                </a:lnTo>
                <a:close/>
                <a:moveTo>
                  <a:pt x="1030602" y="200289"/>
                </a:moveTo>
                <a:lnTo>
                  <a:pt x="1027513" y="207892"/>
                </a:lnTo>
                <a:lnTo>
                  <a:pt x="1023949" y="214545"/>
                </a:lnTo>
                <a:lnTo>
                  <a:pt x="1019910" y="221197"/>
                </a:lnTo>
                <a:lnTo>
                  <a:pt x="1015396" y="226899"/>
                </a:lnTo>
                <a:lnTo>
                  <a:pt x="1011119" y="232839"/>
                </a:lnTo>
                <a:lnTo>
                  <a:pt x="1006130" y="237591"/>
                </a:lnTo>
                <a:lnTo>
                  <a:pt x="1001140" y="242105"/>
                </a:lnTo>
                <a:lnTo>
                  <a:pt x="996388" y="246144"/>
                </a:lnTo>
                <a:lnTo>
                  <a:pt x="990924" y="249708"/>
                </a:lnTo>
                <a:lnTo>
                  <a:pt x="985697" y="252797"/>
                </a:lnTo>
                <a:lnTo>
                  <a:pt x="980232" y="254935"/>
                </a:lnTo>
                <a:lnTo>
                  <a:pt x="975005" y="256836"/>
                </a:lnTo>
                <a:lnTo>
                  <a:pt x="969541" y="258262"/>
                </a:lnTo>
                <a:lnTo>
                  <a:pt x="963839" y="258499"/>
                </a:lnTo>
                <a:lnTo>
                  <a:pt x="958612" y="258499"/>
                </a:lnTo>
                <a:lnTo>
                  <a:pt x="953622" y="257786"/>
                </a:lnTo>
                <a:lnTo>
                  <a:pt x="970966" y="244006"/>
                </a:lnTo>
                <a:lnTo>
                  <a:pt x="990211" y="229275"/>
                </a:lnTo>
                <a:lnTo>
                  <a:pt x="1010169" y="214069"/>
                </a:lnTo>
                <a:lnTo>
                  <a:pt x="1020385" y="206942"/>
                </a:lnTo>
                <a:close/>
                <a:moveTo>
                  <a:pt x="389581" y="176768"/>
                </a:moveTo>
                <a:lnTo>
                  <a:pt x="397422" y="177243"/>
                </a:lnTo>
                <a:lnTo>
                  <a:pt x="414766" y="178906"/>
                </a:lnTo>
                <a:lnTo>
                  <a:pt x="405500" y="179856"/>
                </a:lnTo>
                <a:lnTo>
                  <a:pt x="396946" y="181995"/>
                </a:lnTo>
                <a:lnTo>
                  <a:pt x="389581" y="184371"/>
                </a:lnTo>
                <a:lnTo>
                  <a:pt x="381978" y="186984"/>
                </a:lnTo>
                <a:lnTo>
                  <a:pt x="375326" y="190548"/>
                </a:lnTo>
                <a:lnTo>
                  <a:pt x="368911" y="194112"/>
                </a:lnTo>
                <a:lnTo>
                  <a:pt x="363208" y="198626"/>
                </a:lnTo>
                <a:lnTo>
                  <a:pt x="357981" y="202903"/>
                </a:lnTo>
                <a:lnTo>
                  <a:pt x="352517" y="208367"/>
                </a:lnTo>
                <a:lnTo>
                  <a:pt x="348003" y="214070"/>
                </a:lnTo>
                <a:lnTo>
                  <a:pt x="343726" y="220247"/>
                </a:lnTo>
                <a:lnTo>
                  <a:pt x="339687" y="226662"/>
                </a:lnTo>
                <a:lnTo>
                  <a:pt x="335648" y="233790"/>
                </a:lnTo>
                <a:lnTo>
                  <a:pt x="332559" y="240917"/>
                </a:lnTo>
                <a:lnTo>
                  <a:pt x="328995" y="248758"/>
                </a:lnTo>
                <a:lnTo>
                  <a:pt x="325907" y="256836"/>
                </a:lnTo>
                <a:lnTo>
                  <a:pt x="325432" y="252797"/>
                </a:lnTo>
                <a:lnTo>
                  <a:pt x="324956" y="248283"/>
                </a:lnTo>
                <a:lnTo>
                  <a:pt x="323056" y="239492"/>
                </a:lnTo>
                <a:lnTo>
                  <a:pt x="320917" y="229275"/>
                </a:lnTo>
                <a:lnTo>
                  <a:pt x="320442" y="223811"/>
                </a:lnTo>
                <a:lnTo>
                  <a:pt x="319967" y="217633"/>
                </a:lnTo>
                <a:lnTo>
                  <a:pt x="314740" y="217633"/>
                </a:lnTo>
                <a:lnTo>
                  <a:pt x="302148" y="243056"/>
                </a:lnTo>
                <a:lnTo>
                  <a:pt x="289793" y="267528"/>
                </a:lnTo>
                <a:lnTo>
                  <a:pt x="277438" y="291049"/>
                </a:lnTo>
                <a:lnTo>
                  <a:pt x="264371" y="312907"/>
                </a:lnTo>
                <a:lnTo>
                  <a:pt x="267459" y="295088"/>
                </a:lnTo>
                <a:lnTo>
                  <a:pt x="271023" y="279170"/>
                </a:lnTo>
                <a:lnTo>
                  <a:pt x="274587" y="263964"/>
                </a:lnTo>
                <a:lnTo>
                  <a:pt x="279101" y="250183"/>
                </a:lnTo>
                <a:lnTo>
                  <a:pt x="284091" y="238066"/>
                </a:lnTo>
                <a:lnTo>
                  <a:pt x="289318" y="226900"/>
                </a:lnTo>
                <a:lnTo>
                  <a:pt x="292406" y="221673"/>
                </a:lnTo>
                <a:lnTo>
                  <a:pt x="295495" y="217158"/>
                </a:lnTo>
                <a:lnTo>
                  <a:pt x="298584" y="212406"/>
                </a:lnTo>
                <a:lnTo>
                  <a:pt x="302148" y="208367"/>
                </a:lnTo>
                <a:lnTo>
                  <a:pt x="305711" y="204328"/>
                </a:lnTo>
                <a:lnTo>
                  <a:pt x="309275" y="200765"/>
                </a:lnTo>
                <a:lnTo>
                  <a:pt x="313314" y="197201"/>
                </a:lnTo>
                <a:lnTo>
                  <a:pt x="317354" y="194112"/>
                </a:lnTo>
                <a:lnTo>
                  <a:pt x="321868" y="191498"/>
                </a:lnTo>
                <a:lnTo>
                  <a:pt x="326382" y="188647"/>
                </a:lnTo>
                <a:lnTo>
                  <a:pt x="330659" y="186509"/>
                </a:lnTo>
                <a:lnTo>
                  <a:pt x="335648" y="184371"/>
                </a:lnTo>
                <a:lnTo>
                  <a:pt x="340637" y="182470"/>
                </a:lnTo>
                <a:lnTo>
                  <a:pt x="345864" y="181282"/>
                </a:lnTo>
                <a:lnTo>
                  <a:pt x="351091" y="179856"/>
                </a:lnTo>
                <a:lnTo>
                  <a:pt x="357031" y="178431"/>
                </a:lnTo>
                <a:lnTo>
                  <a:pt x="368911" y="177243"/>
                </a:lnTo>
                <a:lnTo>
                  <a:pt x="381978" y="176768"/>
                </a:lnTo>
                <a:close/>
                <a:moveTo>
                  <a:pt x="609353" y="174629"/>
                </a:moveTo>
                <a:lnTo>
                  <a:pt x="602463" y="180807"/>
                </a:lnTo>
                <a:lnTo>
                  <a:pt x="596285" y="187459"/>
                </a:lnTo>
                <a:lnTo>
                  <a:pt x="583931" y="201715"/>
                </a:lnTo>
                <a:lnTo>
                  <a:pt x="571101" y="215495"/>
                </a:lnTo>
                <a:lnTo>
                  <a:pt x="564686" y="222148"/>
                </a:lnTo>
                <a:lnTo>
                  <a:pt x="558508" y="228325"/>
                </a:lnTo>
                <a:lnTo>
                  <a:pt x="557558" y="223335"/>
                </a:lnTo>
                <a:lnTo>
                  <a:pt x="557083" y="219059"/>
                </a:lnTo>
                <a:lnTo>
                  <a:pt x="557083" y="215020"/>
                </a:lnTo>
                <a:lnTo>
                  <a:pt x="557558" y="210981"/>
                </a:lnTo>
                <a:lnTo>
                  <a:pt x="558508" y="207417"/>
                </a:lnTo>
                <a:lnTo>
                  <a:pt x="560409" y="203853"/>
                </a:lnTo>
                <a:lnTo>
                  <a:pt x="562072" y="200764"/>
                </a:lnTo>
                <a:lnTo>
                  <a:pt x="564686" y="197676"/>
                </a:lnTo>
                <a:lnTo>
                  <a:pt x="567774" y="194587"/>
                </a:lnTo>
                <a:lnTo>
                  <a:pt x="571813" y="191973"/>
                </a:lnTo>
                <a:lnTo>
                  <a:pt x="576328" y="188647"/>
                </a:lnTo>
                <a:lnTo>
                  <a:pt x="581317" y="186034"/>
                </a:lnTo>
                <a:lnTo>
                  <a:pt x="587019" y="183420"/>
                </a:lnTo>
                <a:lnTo>
                  <a:pt x="593672" y="180332"/>
                </a:lnTo>
                <a:close/>
                <a:moveTo>
                  <a:pt x="586544" y="0"/>
                </a:moveTo>
                <a:lnTo>
                  <a:pt x="570150" y="2851"/>
                </a:lnTo>
                <a:lnTo>
                  <a:pt x="553519" y="5940"/>
                </a:lnTo>
                <a:lnTo>
                  <a:pt x="536650" y="10454"/>
                </a:lnTo>
                <a:lnTo>
                  <a:pt x="520256" y="14731"/>
                </a:lnTo>
                <a:lnTo>
                  <a:pt x="486993" y="24472"/>
                </a:lnTo>
                <a:lnTo>
                  <a:pt x="469887" y="28986"/>
                </a:lnTo>
                <a:lnTo>
                  <a:pt x="453493" y="33500"/>
                </a:lnTo>
                <a:lnTo>
                  <a:pt x="438762" y="40153"/>
                </a:lnTo>
                <a:lnTo>
                  <a:pt x="424507" y="47281"/>
                </a:lnTo>
                <a:lnTo>
                  <a:pt x="417379" y="51320"/>
                </a:lnTo>
                <a:lnTo>
                  <a:pt x="410727" y="55834"/>
                </a:lnTo>
                <a:lnTo>
                  <a:pt x="403599" y="60111"/>
                </a:lnTo>
                <a:lnTo>
                  <a:pt x="397422" y="65100"/>
                </a:lnTo>
                <a:lnTo>
                  <a:pt x="390769" y="69852"/>
                </a:lnTo>
                <a:lnTo>
                  <a:pt x="384592" y="75792"/>
                </a:lnTo>
                <a:lnTo>
                  <a:pt x="378889" y="81494"/>
                </a:lnTo>
                <a:lnTo>
                  <a:pt x="372950" y="87671"/>
                </a:lnTo>
                <a:lnTo>
                  <a:pt x="367723" y="94324"/>
                </a:lnTo>
                <a:lnTo>
                  <a:pt x="362733" y="101452"/>
                </a:lnTo>
                <a:lnTo>
                  <a:pt x="357981" y="109055"/>
                </a:lnTo>
                <a:lnTo>
                  <a:pt x="353467" y="117608"/>
                </a:lnTo>
                <a:lnTo>
                  <a:pt x="409064" y="117608"/>
                </a:lnTo>
                <a:lnTo>
                  <a:pt x="406925" y="119271"/>
                </a:lnTo>
                <a:lnTo>
                  <a:pt x="404074" y="121647"/>
                </a:lnTo>
                <a:lnTo>
                  <a:pt x="400510" y="123310"/>
                </a:lnTo>
                <a:lnTo>
                  <a:pt x="397422" y="125211"/>
                </a:lnTo>
                <a:lnTo>
                  <a:pt x="393383" y="126399"/>
                </a:lnTo>
                <a:lnTo>
                  <a:pt x="389581" y="127824"/>
                </a:lnTo>
                <a:lnTo>
                  <a:pt x="385542" y="128299"/>
                </a:lnTo>
                <a:lnTo>
                  <a:pt x="381503" y="128774"/>
                </a:lnTo>
                <a:lnTo>
                  <a:pt x="375326" y="130438"/>
                </a:lnTo>
                <a:lnTo>
                  <a:pt x="368435" y="131863"/>
                </a:lnTo>
                <a:lnTo>
                  <a:pt x="361783" y="133051"/>
                </a:lnTo>
                <a:lnTo>
                  <a:pt x="355606" y="134001"/>
                </a:lnTo>
                <a:lnTo>
                  <a:pt x="342300" y="135427"/>
                </a:lnTo>
                <a:lnTo>
                  <a:pt x="329471" y="137090"/>
                </a:lnTo>
                <a:lnTo>
                  <a:pt x="322818" y="138040"/>
                </a:lnTo>
                <a:lnTo>
                  <a:pt x="316403" y="139704"/>
                </a:lnTo>
                <a:lnTo>
                  <a:pt x="310226" y="141604"/>
                </a:lnTo>
                <a:lnTo>
                  <a:pt x="304048" y="144218"/>
                </a:lnTo>
                <a:lnTo>
                  <a:pt x="298346" y="147307"/>
                </a:lnTo>
                <a:lnTo>
                  <a:pt x="292406" y="151346"/>
                </a:lnTo>
                <a:lnTo>
                  <a:pt x="286704" y="156335"/>
                </a:lnTo>
                <a:lnTo>
                  <a:pt x="281240" y="162037"/>
                </a:lnTo>
                <a:lnTo>
                  <a:pt x="262232" y="182945"/>
                </a:lnTo>
                <a:lnTo>
                  <a:pt x="242987" y="203378"/>
                </a:lnTo>
                <a:lnTo>
                  <a:pt x="203547" y="244006"/>
                </a:lnTo>
                <a:lnTo>
                  <a:pt x="183827" y="264439"/>
                </a:lnTo>
                <a:lnTo>
                  <a:pt x="164345" y="285822"/>
                </a:lnTo>
                <a:lnTo>
                  <a:pt x="144862" y="307443"/>
                </a:lnTo>
                <a:lnTo>
                  <a:pt x="126093" y="329777"/>
                </a:lnTo>
                <a:lnTo>
                  <a:pt x="122054" y="335004"/>
                </a:lnTo>
                <a:lnTo>
                  <a:pt x="118015" y="340468"/>
                </a:lnTo>
                <a:lnTo>
                  <a:pt x="110887" y="352110"/>
                </a:lnTo>
                <a:lnTo>
                  <a:pt x="104709" y="363514"/>
                </a:lnTo>
                <a:lnTo>
                  <a:pt x="99007" y="375156"/>
                </a:lnTo>
                <a:lnTo>
                  <a:pt x="87840" y="400103"/>
                </a:lnTo>
                <a:lnTo>
                  <a:pt x="82138" y="412458"/>
                </a:lnTo>
                <a:lnTo>
                  <a:pt x="75723" y="425050"/>
                </a:lnTo>
                <a:lnTo>
                  <a:pt x="75723" y="429802"/>
                </a:lnTo>
                <a:lnTo>
                  <a:pt x="76674" y="436217"/>
                </a:lnTo>
                <a:lnTo>
                  <a:pt x="77149" y="439306"/>
                </a:lnTo>
                <a:lnTo>
                  <a:pt x="78574" y="442395"/>
                </a:lnTo>
                <a:lnTo>
                  <a:pt x="79762" y="445008"/>
                </a:lnTo>
                <a:lnTo>
                  <a:pt x="81663" y="447147"/>
                </a:lnTo>
                <a:lnTo>
                  <a:pt x="94018" y="468055"/>
                </a:lnTo>
                <a:lnTo>
                  <a:pt x="106848" y="488963"/>
                </a:lnTo>
                <a:lnTo>
                  <a:pt x="113975" y="499654"/>
                </a:lnTo>
                <a:lnTo>
                  <a:pt x="121103" y="510346"/>
                </a:lnTo>
                <a:lnTo>
                  <a:pt x="128706" y="520562"/>
                </a:lnTo>
                <a:lnTo>
                  <a:pt x="137259" y="531254"/>
                </a:lnTo>
                <a:lnTo>
                  <a:pt x="149614" y="514385"/>
                </a:lnTo>
                <a:lnTo>
                  <a:pt x="162206" y="498466"/>
                </a:lnTo>
                <a:lnTo>
                  <a:pt x="174561" y="483260"/>
                </a:lnTo>
                <a:lnTo>
                  <a:pt x="180739" y="476133"/>
                </a:lnTo>
                <a:lnTo>
                  <a:pt x="186916" y="469480"/>
                </a:lnTo>
                <a:lnTo>
                  <a:pt x="182639" y="482310"/>
                </a:lnTo>
                <a:lnTo>
                  <a:pt x="178125" y="495615"/>
                </a:lnTo>
                <a:lnTo>
                  <a:pt x="172423" y="509871"/>
                </a:lnTo>
                <a:lnTo>
                  <a:pt x="164820" y="525552"/>
                </a:lnTo>
                <a:lnTo>
                  <a:pt x="156267" y="538381"/>
                </a:lnTo>
                <a:lnTo>
                  <a:pt x="152703" y="544559"/>
                </a:lnTo>
                <a:lnTo>
                  <a:pt x="148664" y="551449"/>
                </a:lnTo>
                <a:lnTo>
                  <a:pt x="145100" y="558339"/>
                </a:lnTo>
                <a:lnTo>
                  <a:pt x="142011" y="565467"/>
                </a:lnTo>
                <a:lnTo>
                  <a:pt x="139398" y="573070"/>
                </a:lnTo>
                <a:lnTo>
                  <a:pt x="137259" y="581623"/>
                </a:lnTo>
                <a:lnTo>
                  <a:pt x="136309" y="583761"/>
                </a:lnTo>
                <a:lnTo>
                  <a:pt x="135359" y="586137"/>
                </a:lnTo>
                <a:lnTo>
                  <a:pt x="134883" y="590889"/>
                </a:lnTo>
                <a:lnTo>
                  <a:pt x="134883" y="595879"/>
                </a:lnTo>
                <a:lnTo>
                  <a:pt x="135359" y="601106"/>
                </a:lnTo>
                <a:lnTo>
                  <a:pt x="136784" y="606095"/>
                </a:lnTo>
                <a:lnTo>
                  <a:pt x="138447" y="611322"/>
                </a:lnTo>
                <a:lnTo>
                  <a:pt x="140348" y="616311"/>
                </a:lnTo>
                <a:lnTo>
                  <a:pt x="142486" y="620826"/>
                </a:lnTo>
                <a:lnTo>
                  <a:pt x="148664" y="629616"/>
                </a:lnTo>
                <a:lnTo>
                  <a:pt x="155554" y="637219"/>
                </a:lnTo>
                <a:lnTo>
                  <a:pt x="162444" y="643872"/>
                </a:lnTo>
                <a:lnTo>
                  <a:pt x="169572" y="649099"/>
                </a:lnTo>
                <a:lnTo>
                  <a:pt x="177175" y="653613"/>
                </a:lnTo>
                <a:lnTo>
                  <a:pt x="184778" y="657177"/>
                </a:lnTo>
                <a:lnTo>
                  <a:pt x="192856" y="659553"/>
                </a:lnTo>
                <a:lnTo>
                  <a:pt x="200934" y="661216"/>
                </a:lnTo>
                <a:lnTo>
                  <a:pt x="209250" y="661691"/>
                </a:lnTo>
                <a:lnTo>
                  <a:pt x="218278" y="661691"/>
                </a:lnTo>
                <a:lnTo>
                  <a:pt x="227069" y="660266"/>
                </a:lnTo>
                <a:lnTo>
                  <a:pt x="236335" y="658603"/>
                </a:lnTo>
                <a:lnTo>
                  <a:pt x="245838" y="655514"/>
                </a:lnTo>
                <a:lnTo>
                  <a:pt x="255580" y="652425"/>
                </a:lnTo>
                <a:lnTo>
                  <a:pt x="265321" y="647911"/>
                </a:lnTo>
                <a:lnTo>
                  <a:pt x="276013" y="642922"/>
                </a:lnTo>
                <a:lnTo>
                  <a:pt x="288367" y="635081"/>
                </a:lnTo>
                <a:lnTo>
                  <a:pt x="301910" y="627478"/>
                </a:lnTo>
                <a:lnTo>
                  <a:pt x="315215" y="620350"/>
                </a:lnTo>
                <a:lnTo>
                  <a:pt x="329471" y="613698"/>
                </a:lnTo>
                <a:lnTo>
                  <a:pt x="343726" y="607283"/>
                </a:lnTo>
                <a:lnTo>
                  <a:pt x="357981" y="602056"/>
                </a:lnTo>
                <a:lnTo>
                  <a:pt x="371999" y="597066"/>
                </a:lnTo>
                <a:lnTo>
                  <a:pt x="386730" y="592790"/>
                </a:lnTo>
                <a:lnTo>
                  <a:pt x="394808" y="590414"/>
                </a:lnTo>
                <a:lnTo>
                  <a:pt x="402411" y="587325"/>
                </a:lnTo>
                <a:lnTo>
                  <a:pt x="409064" y="583761"/>
                </a:lnTo>
                <a:lnTo>
                  <a:pt x="411677" y="581623"/>
                </a:lnTo>
                <a:lnTo>
                  <a:pt x="414766" y="579247"/>
                </a:lnTo>
                <a:lnTo>
                  <a:pt x="417142" y="577109"/>
                </a:lnTo>
                <a:lnTo>
                  <a:pt x="419280" y="574495"/>
                </a:lnTo>
                <a:lnTo>
                  <a:pt x="420943" y="571407"/>
                </a:lnTo>
                <a:lnTo>
                  <a:pt x="422844" y="568318"/>
                </a:lnTo>
                <a:lnTo>
                  <a:pt x="424269" y="565229"/>
                </a:lnTo>
                <a:lnTo>
                  <a:pt x="424982" y="561665"/>
                </a:lnTo>
                <a:lnTo>
                  <a:pt x="425457" y="557626"/>
                </a:lnTo>
                <a:lnTo>
                  <a:pt x="425932" y="553587"/>
                </a:lnTo>
                <a:lnTo>
                  <a:pt x="425932" y="413884"/>
                </a:lnTo>
                <a:lnTo>
                  <a:pt x="425932" y="285347"/>
                </a:lnTo>
                <a:lnTo>
                  <a:pt x="429496" y="300078"/>
                </a:lnTo>
                <a:lnTo>
                  <a:pt x="433060" y="314096"/>
                </a:lnTo>
                <a:lnTo>
                  <a:pt x="436149" y="328826"/>
                </a:lnTo>
                <a:lnTo>
                  <a:pt x="438762" y="343082"/>
                </a:lnTo>
                <a:lnTo>
                  <a:pt x="443752" y="370642"/>
                </a:lnTo>
                <a:lnTo>
                  <a:pt x="447791" y="397015"/>
                </a:lnTo>
                <a:lnTo>
                  <a:pt x="451830" y="421962"/>
                </a:lnTo>
                <a:lnTo>
                  <a:pt x="454919" y="446434"/>
                </a:lnTo>
                <a:lnTo>
                  <a:pt x="456106" y="458313"/>
                </a:lnTo>
                <a:lnTo>
                  <a:pt x="457057" y="470430"/>
                </a:lnTo>
                <a:lnTo>
                  <a:pt x="457532" y="482310"/>
                </a:lnTo>
                <a:lnTo>
                  <a:pt x="457532" y="493952"/>
                </a:lnTo>
                <a:lnTo>
                  <a:pt x="457532" y="506069"/>
                </a:lnTo>
                <a:lnTo>
                  <a:pt x="456582" y="517473"/>
                </a:lnTo>
                <a:lnTo>
                  <a:pt x="455869" y="529116"/>
                </a:lnTo>
                <a:lnTo>
                  <a:pt x="453968" y="540757"/>
                </a:lnTo>
                <a:lnTo>
                  <a:pt x="452305" y="552162"/>
                </a:lnTo>
                <a:lnTo>
                  <a:pt x="449454" y="563804"/>
                </a:lnTo>
                <a:lnTo>
                  <a:pt x="446365" y="575446"/>
                </a:lnTo>
                <a:lnTo>
                  <a:pt x="442326" y="586850"/>
                </a:lnTo>
                <a:lnTo>
                  <a:pt x="440188" y="591364"/>
                </a:lnTo>
                <a:lnTo>
                  <a:pt x="437574" y="595403"/>
                </a:lnTo>
                <a:lnTo>
                  <a:pt x="434486" y="598967"/>
                </a:lnTo>
                <a:lnTo>
                  <a:pt x="431397" y="602531"/>
                </a:lnTo>
                <a:lnTo>
                  <a:pt x="428071" y="605145"/>
                </a:lnTo>
                <a:lnTo>
                  <a:pt x="424982" y="607283"/>
                </a:lnTo>
                <a:lnTo>
                  <a:pt x="422369" y="608708"/>
                </a:lnTo>
                <a:lnTo>
                  <a:pt x="420230" y="609659"/>
                </a:lnTo>
                <a:lnTo>
                  <a:pt x="410727" y="610847"/>
                </a:lnTo>
                <a:lnTo>
                  <a:pt x="401461" y="612748"/>
                </a:lnTo>
                <a:lnTo>
                  <a:pt x="392670" y="614886"/>
                </a:lnTo>
                <a:lnTo>
                  <a:pt x="383641" y="617262"/>
                </a:lnTo>
                <a:lnTo>
                  <a:pt x="374850" y="620350"/>
                </a:lnTo>
                <a:lnTo>
                  <a:pt x="365822" y="623914"/>
                </a:lnTo>
                <a:lnTo>
                  <a:pt x="348478" y="631042"/>
                </a:lnTo>
                <a:lnTo>
                  <a:pt x="331609" y="639358"/>
                </a:lnTo>
                <a:lnTo>
                  <a:pt x="314740" y="647911"/>
                </a:lnTo>
                <a:lnTo>
                  <a:pt x="281240" y="665255"/>
                </a:lnTo>
                <a:lnTo>
                  <a:pt x="274587" y="669294"/>
                </a:lnTo>
                <a:lnTo>
                  <a:pt x="267935" y="672858"/>
                </a:lnTo>
                <a:lnTo>
                  <a:pt x="261757" y="675947"/>
                </a:lnTo>
                <a:lnTo>
                  <a:pt x="255105" y="679035"/>
                </a:lnTo>
                <a:lnTo>
                  <a:pt x="248927" y="681174"/>
                </a:lnTo>
                <a:lnTo>
                  <a:pt x="242987" y="683075"/>
                </a:lnTo>
                <a:lnTo>
                  <a:pt x="236810" y="684738"/>
                </a:lnTo>
                <a:lnTo>
                  <a:pt x="231108" y="686163"/>
                </a:lnTo>
                <a:lnTo>
                  <a:pt x="225406" y="687114"/>
                </a:lnTo>
                <a:lnTo>
                  <a:pt x="219466" y="687589"/>
                </a:lnTo>
                <a:lnTo>
                  <a:pt x="213764" y="687589"/>
                </a:lnTo>
                <a:lnTo>
                  <a:pt x="208299" y="687589"/>
                </a:lnTo>
                <a:lnTo>
                  <a:pt x="203072" y="687114"/>
                </a:lnTo>
                <a:lnTo>
                  <a:pt x="197607" y="686163"/>
                </a:lnTo>
                <a:lnTo>
                  <a:pt x="192380" y="684738"/>
                </a:lnTo>
                <a:lnTo>
                  <a:pt x="186916" y="683550"/>
                </a:lnTo>
                <a:lnTo>
                  <a:pt x="181689" y="681649"/>
                </a:lnTo>
                <a:lnTo>
                  <a:pt x="176699" y="679986"/>
                </a:lnTo>
                <a:lnTo>
                  <a:pt x="171472" y="677610"/>
                </a:lnTo>
                <a:lnTo>
                  <a:pt x="166483" y="674996"/>
                </a:lnTo>
                <a:lnTo>
                  <a:pt x="156742" y="669294"/>
                </a:lnTo>
                <a:lnTo>
                  <a:pt x="147001" y="662167"/>
                </a:lnTo>
                <a:lnTo>
                  <a:pt x="137735" y="654564"/>
                </a:lnTo>
                <a:lnTo>
                  <a:pt x="127756" y="645535"/>
                </a:lnTo>
                <a:lnTo>
                  <a:pt x="118490" y="636269"/>
                </a:lnTo>
                <a:lnTo>
                  <a:pt x="109224" y="626053"/>
                </a:lnTo>
                <a:lnTo>
                  <a:pt x="107323" y="623914"/>
                </a:lnTo>
                <a:lnTo>
                  <a:pt x="106135" y="620350"/>
                </a:lnTo>
                <a:lnTo>
                  <a:pt x="105185" y="616311"/>
                </a:lnTo>
                <a:lnTo>
                  <a:pt x="105185" y="612272"/>
                </a:lnTo>
                <a:lnTo>
                  <a:pt x="105185" y="608233"/>
                </a:lnTo>
                <a:lnTo>
                  <a:pt x="106135" y="604194"/>
                </a:lnTo>
                <a:lnTo>
                  <a:pt x="107323" y="600630"/>
                </a:lnTo>
                <a:lnTo>
                  <a:pt x="109224" y="598017"/>
                </a:lnTo>
                <a:lnTo>
                  <a:pt x="111837" y="591840"/>
                </a:lnTo>
                <a:lnTo>
                  <a:pt x="113975" y="586137"/>
                </a:lnTo>
                <a:lnTo>
                  <a:pt x="115401" y="579722"/>
                </a:lnTo>
                <a:lnTo>
                  <a:pt x="115876" y="574020"/>
                </a:lnTo>
                <a:lnTo>
                  <a:pt x="115876" y="568318"/>
                </a:lnTo>
                <a:lnTo>
                  <a:pt x="115401" y="562378"/>
                </a:lnTo>
                <a:lnTo>
                  <a:pt x="114451" y="557151"/>
                </a:lnTo>
                <a:lnTo>
                  <a:pt x="112788" y="551449"/>
                </a:lnTo>
                <a:lnTo>
                  <a:pt x="110412" y="545984"/>
                </a:lnTo>
                <a:lnTo>
                  <a:pt x="108273" y="540757"/>
                </a:lnTo>
                <a:lnTo>
                  <a:pt x="105185" y="535293"/>
                </a:lnTo>
                <a:lnTo>
                  <a:pt x="102096" y="530066"/>
                </a:lnTo>
                <a:lnTo>
                  <a:pt x="94968" y="519374"/>
                </a:lnTo>
                <a:lnTo>
                  <a:pt x="86890" y="508683"/>
                </a:lnTo>
                <a:lnTo>
                  <a:pt x="78812" y="497991"/>
                </a:lnTo>
                <a:lnTo>
                  <a:pt x="70972" y="486824"/>
                </a:lnTo>
                <a:lnTo>
                  <a:pt x="67408" y="481122"/>
                </a:lnTo>
                <a:lnTo>
                  <a:pt x="64319" y="474707"/>
                </a:lnTo>
                <a:lnTo>
                  <a:pt x="61230" y="469005"/>
                </a:lnTo>
                <a:lnTo>
                  <a:pt x="58379" y="462828"/>
                </a:lnTo>
                <a:lnTo>
                  <a:pt x="56716" y="456175"/>
                </a:lnTo>
                <a:lnTo>
                  <a:pt x="54815" y="449998"/>
                </a:lnTo>
                <a:lnTo>
                  <a:pt x="54103" y="443345"/>
                </a:lnTo>
                <a:lnTo>
                  <a:pt x="53627" y="436455"/>
                </a:lnTo>
                <a:lnTo>
                  <a:pt x="53627" y="429327"/>
                </a:lnTo>
                <a:lnTo>
                  <a:pt x="54815" y="422675"/>
                </a:lnTo>
                <a:lnTo>
                  <a:pt x="56716" y="415547"/>
                </a:lnTo>
                <a:lnTo>
                  <a:pt x="59330" y="408182"/>
                </a:lnTo>
                <a:lnTo>
                  <a:pt x="60280" y="403192"/>
                </a:lnTo>
                <a:lnTo>
                  <a:pt x="61943" y="397965"/>
                </a:lnTo>
                <a:lnTo>
                  <a:pt x="65507" y="387986"/>
                </a:lnTo>
                <a:lnTo>
                  <a:pt x="69546" y="378720"/>
                </a:lnTo>
                <a:lnTo>
                  <a:pt x="74535" y="369929"/>
                </a:lnTo>
                <a:lnTo>
                  <a:pt x="79762" y="360901"/>
                </a:lnTo>
                <a:lnTo>
                  <a:pt x="85940" y="352585"/>
                </a:lnTo>
                <a:lnTo>
                  <a:pt x="98057" y="335479"/>
                </a:lnTo>
                <a:lnTo>
                  <a:pt x="102571" y="328113"/>
                </a:lnTo>
                <a:lnTo>
                  <a:pt x="106848" y="320986"/>
                </a:lnTo>
                <a:lnTo>
                  <a:pt x="116827" y="307205"/>
                </a:lnTo>
                <a:lnTo>
                  <a:pt x="127043" y="293188"/>
                </a:lnTo>
                <a:lnTo>
                  <a:pt x="137735" y="279407"/>
                </a:lnTo>
                <a:lnTo>
                  <a:pt x="159831" y="251847"/>
                </a:lnTo>
                <a:lnTo>
                  <a:pt x="170522" y="238066"/>
                </a:lnTo>
                <a:lnTo>
                  <a:pt x="181214" y="223336"/>
                </a:lnTo>
                <a:lnTo>
                  <a:pt x="164820" y="223336"/>
                </a:lnTo>
                <a:lnTo>
                  <a:pt x="137972" y="230226"/>
                </a:lnTo>
                <a:lnTo>
                  <a:pt x="125142" y="233790"/>
                </a:lnTo>
                <a:lnTo>
                  <a:pt x="112788" y="237591"/>
                </a:lnTo>
                <a:lnTo>
                  <a:pt x="100195" y="241630"/>
                </a:lnTo>
                <a:lnTo>
                  <a:pt x="87840" y="245669"/>
                </a:lnTo>
                <a:lnTo>
                  <a:pt x="75723" y="250183"/>
                </a:lnTo>
                <a:lnTo>
                  <a:pt x="64319" y="254935"/>
                </a:lnTo>
                <a:lnTo>
                  <a:pt x="52677" y="260400"/>
                </a:lnTo>
                <a:lnTo>
                  <a:pt x="41035" y="265627"/>
                </a:lnTo>
                <a:lnTo>
                  <a:pt x="29868" y="271567"/>
                </a:lnTo>
                <a:lnTo>
                  <a:pt x="18939" y="277744"/>
                </a:lnTo>
                <a:lnTo>
                  <a:pt x="7772" y="284397"/>
                </a:lnTo>
                <a:lnTo>
                  <a:pt x="0" y="289924"/>
                </a:lnTo>
                <a:lnTo>
                  <a:pt x="0" y="895572"/>
                </a:lnTo>
                <a:lnTo>
                  <a:pt x="125653" y="895572"/>
                </a:lnTo>
                <a:lnTo>
                  <a:pt x="127756" y="892155"/>
                </a:lnTo>
                <a:lnTo>
                  <a:pt x="131082" y="885502"/>
                </a:lnTo>
                <a:lnTo>
                  <a:pt x="133696" y="878374"/>
                </a:lnTo>
                <a:lnTo>
                  <a:pt x="135834" y="871722"/>
                </a:lnTo>
                <a:lnTo>
                  <a:pt x="137735" y="864594"/>
                </a:lnTo>
                <a:lnTo>
                  <a:pt x="138923" y="857466"/>
                </a:lnTo>
                <a:lnTo>
                  <a:pt x="140348" y="850339"/>
                </a:lnTo>
                <a:lnTo>
                  <a:pt x="141298" y="843211"/>
                </a:lnTo>
                <a:lnTo>
                  <a:pt x="142011" y="828955"/>
                </a:lnTo>
                <a:lnTo>
                  <a:pt x="142486" y="814225"/>
                </a:lnTo>
                <a:lnTo>
                  <a:pt x="142486" y="799494"/>
                </a:lnTo>
                <a:lnTo>
                  <a:pt x="142486" y="782625"/>
                </a:lnTo>
                <a:lnTo>
                  <a:pt x="142486" y="771458"/>
                </a:lnTo>
                <a:lnTo>
                  <a:pt x="143912" y="778586"/>
                </a:lnTo>
                <a:lnTo>
                  <a:pt x="145100" y="784526"/>
                </a:lnTo>
                <a:lnTo>
                  <a:pt x="147476" y="789753"/>
                </a:lnTo>
                <a:lnTo>
                  <a:pt x="149614" y="794267"/>
                </a:lnTo>
                <a:lnTo>
                  <a:pt x="152228" y="797831"/>
                </a:lnTo>
                <a:lnTo>
                  <a:pt x="155554" y="801395"/>
                </a:lnTo>
                <a:lnTo>
                  <a:pt x="158643" y="803533"/>
                </a:lnTo>
                <a:lnTo>
                  <a:pt x="162206" y="805909"/>
                </a:lnTo>
                <a:lnTo>
                  <a:pt x="165770" y="807572"/>
                </a:lnTo>
                <a:lnTo>
                  <a:pt x="169572" y="808523"/>
                </a:lnTo>
                <a:lnTo>
                  <a:pt x="174086" y="809473"/>
                </a:lnTo>
                <a:lnTo>
                  <a:pt x="178600" y="810186"/>
                </a:lnTo>
                <a:lnTo>
                  <a:pt x="187866" y="810661"/>
                </a:lnTo>
                <a:lnTo>
                  <a:pt x="198083" y="810661"/>
                </a:lnTo>
                <a:lnTo>
                  <a:pt x="236810" y="810661"/>
                </a:lnTo>
                <a:lnTo>
                  <a:pt x="249640" y="811136"/>
                </a:lnTo>
                <a:lnTo>
                  <a:pt x="263183" y="811611"/>
                </a:lnTo>
                <a:lnTo>
                  <a:pt x="270310" y="811611"/>
                </a:lnTo>
                <a:lnTo>
                  <a:pt x="276963" y="811136"/>
                </a:lnTo>
                <a:lnTo>
                  <a:pt x="283140" y="810186"/>
                </a:lnTo>
                <a:lnTo>
                  <a:pt x="289793" y="808523"/>
                </a:lnTo>
                <a:lnTo>
                  <a:pt x="295495" y="806147"/>
                </a:lnTo>
                <a:lnTo>
                  <a:pt x="301435" y="803058"/>
                </a:lnTo>
                <a:lnTo>
                  <a:pt x="304524" y="801395"/>
                </a:lnTo>
                <a:lnTo>
                  <a:pt x="307137" y="799256"/>
                </a:lnTo>
                <a:lnTo>
                  <a:pt x="309275" y="796881"/>
                </a:lnTo>
                <a:lnTo>
                  <a:pt x="312126" y="794267"/>
                </a:lnTo>
                <a:lnTo>
                  <a:pt x="314265" y="791178"/>
                </a:lnTo>
                <a:lnTo>
                  <a:pt x="316403" y="788090"/>
                </a:lnTo>
                <a:lnTo>
                  <a:pt x="318304" y="784051"/>
                </a:lnTo>
                <a:lnTo>
                  <a:pt x="319967" y="780012"/>
                </a:lnTo>
                <a:lnTo>
                  <a:pt x="321868" y="775973"/>
                </a:lnTo>
                <a:lnTo>
                  <a:pt x="323056" y="771221"/>
                </a:lnTo>
                <a:lnTo>
                  <a:pt x="324481" y="765756"/>
                </a:lnTo>
                <a:lnTo>
                  <a:pt x="325907" y="760529"/>
                </a:lnTo>
                <a:lnTo>
                  <a:pt x="325907" y="827530"/>
                </a:lnTo>
                <a:lnTo>
                  <a:pt x="310226" y="835608"/>
                </a:lnTo>
                <a:lnTo>
                  <a:pt x="295970" y="843686"/>
                </a:lnTo>
                <a:lnTo>
                  <a:pt x="282665" y="850339"/>
                </a:lnTo>
                <a:lnTo>
                  <a:pt x="276488" y="852952"/>
                </a:lnTo>
                <a:lnTo>
                  <a:pt x="270310" y="855565"/>
                </a:lnTo>
                <a:lnTo>
                  <a:pt x="266271" y="857942"/>
                </a:lnTo>
                <a:lnTo>
                  <a:pt x="262708" y="860080"/>
                </a:lnTo>
                <a:lnTo>
                  <a:pt x="259619" y="862693"/>
                </a:lnTo>
                <a:lnTo>
                  <a:pt x="256768" y="865544"/>
                </a:lnTo>
                <a:lnTo>
                  <a:pt x="254154" y="868633"/>
                </a:lnTo>
                <a:lnTo>
                  <a:pt x="252491" y="871722"/>
                </a:lnTo>
                <a:lnTo>
                  <a:pt x="250590" y="874810"/>
                </a:lnTo>
                <a:lnTo>
                  <a:pt x="249402" y="877899"/>
                </a:lnTo>
                <a:lnTo>
                  <a:pt x="248452" y="880988"/>
                </a:lnTo>
                <a:lnTo>
                  <a:pt x="247977" y="884076"/>
                </a:lnTo>
                <a:lnTo>
                  <a:pt x="247977" y="887165"/>
                </a:lnTo>
                <a:lnTo>
                  <a:pt x="248452" y="890016"/>
                </a:lnTo>
                <a:lnTo>
                  <a:pt x="249402" y="893105"/>
                </a:lnTo>
                <a:lnTo>
                  <a:pt x="250075" y="895572"/>
                </a:lnTo>
                <a:lnTo>
                  <a:pt x="474750" y="895572"/>
                </a:lnTo>
                <a:lnTo>
                  <a:pt x="475827" y="894768"/>
                </a:lnTo>
                <a:lnTo>
                  <a:pt x="486993" y="882889"/>
                </a:lnTo>
                <a:lnTo>
                  <a:pt x="497210" y="870296"/>
                </a:lnTo>
                <a:lnTo>
                  <a:pt x="506951" y="857942"/>
                </a:lnTo>
                <a:lnTo>
                  <a:pt x="515742" y="844636"/>
                </a:lnTo>
                <a:lnTo>
                  <a:pt x="523820" y="831094"/>
                </a:lnTo>
                <a:lnTo>
                  <a:pt x="531898" y="816838"/>
                </a:lnTo>
                <a:lnTo>
                  <a:pt x="539026" y="802583"/>
                </a:lnTo>
                <a:lnTo>
                  <a:pt x="545678" y="788565"/>
                </a:lnTo>
                <a:lnTo>
                  <a:pt x="552331" y="773359"/>
                </a:lnTo>
                <a:lnTo>
                  <a:pt x="558033" y="758628"/>
                </a:lnTo>
                <a:lnTo>
                  <a:pt x="563498" y="743185"/>
                </a:lnTo>
                <a:lnTo>
                  <a:pt x="568725" y="727979"/>
                </a:lnTo>
                <a:lnTo>
                  <a:pt x="573714" y="712298"/>
                </a:lnTo>
                <a:lnTo>
                  <a:pt x="577991" y="696855"/>
                </a:lnTo>
                <a:lnTo>
                  <a:pt x="586544" y="665255"/>
                </a:lnTo>
                <a:lnTo>
                  <a:pt x="586069" y="663117"/>
                </a:lnTo>
                <a:lnTo>
                  <a:pt x="584881" y="660266"/>
                </a:lnTo>
                <a:lnTo>
                  <a:pt x="582980" y="657177"/>
                </a:lnTo>
                <a:lnTo>
                  <a:pt x="580367" y="654088"/>
                </a:lnTo>
                <a:lnTo>
                  <a:pt x="574902" y="647911"/>
                </a:lnTo>
                <a:lnTo>
                  <a:pt x="570150" y="642922"/>
                </a:lnTo>
                <a:lnTo>
                  <a:pt x="565636" y="636744"/>
                </a:lnTo>
                <a:lnTo>
                  <a:pt x="560647" y="631517"/>
                </a:lnTo>
                <a:lnTo>
                  <a:pt x="555420" y="626053"/>
                </a:lnTo>
                <a:lnTo>
                  <a:pt x="550193" y="621301"/>
                </a:lnTo>
                <a:lnTo>
                  <a:pt x="544253" y="616787"/>
                </a:lnTo>
                <a:lnTo>
                  <a:pt x="538075" y="612272"/>
                </a:lnTo>
                <a:lnTo>
                  <a:pt x="525721" y="603719"/>
                </a:lnTo>
                <a:lnTo>
                  <a:pt x="563023" y="619875"/>
                </a:lnTo>
                <a:lnTo>
                  <a:pt x="581317" y="628191"/>
                </a:lnTo>
                <a:lnTo>
                  <a:pt x="599374" y="636744"/>
                </a:lnTo>
                <a:lnTo>
                  <a:pt x="607927" y="641259"/>
                </a:lnTo>
                <a:lnTo>
                  <a:pt x="616718" y="646010"/>
                </a:lnTo>
                <a:lnTo>
                  <a:pt x="625271" y="651000"/>
                </a:lnTo>
                <a:lnTo>
                  <a:pt x="633349" y="656227"/>
                </a:lnTo>
                <a:lnTo>
                  <a:pt x="641665" y="662167"/>
                </a:lnTo>
                <a:lnTo>
                  <a:pt x="649268" y="668344"/>
                </a:lnTo>
                <a:lnTo>
                  <a:pt x="656871" y="674996"/>
                </a:lnTo>
                <a:lnTo>
                  <a:pt x="664474" y="682124"/>
                </a:lnTo>
                <a:lnTo>
                  <a:pt x="668988" y="686163"/>
                </a:lnTo>
                <a:lnTo>
                  <a:pt x="672790" y="690202"/>
                </a:lnTo>
                <a:lnTo>
                  <a:pt x="677304" y="693291"/>
                </a:lnTo>
                <a:lnTo>
                  <a:pt x="682293" y="696855"/>
                </a:lnTo>
                <a:lnTo>
                  <a:pt x="686570" y="699468"/>
                </a:lnTo>
                <a:lnTo>
                  <a:pt x="691559" y="702082"/>
                </a:lnTo>
                <a:lnTo>
                  <a:pt x="696549" y="703983"/>
                </a:lnTo>
                <a:lnTo>
                  <a:pt x="701300" y="705646"/>
                </a:lnTo>
                <a:lnTo>
                  <a:pt x="706290" y="707071"/>
                </a:lnTo>
                <a:lnTo>
                  <a:pt x="711042" y="708497"/>
                </a:lnTo>
                <a:lnTo>
                  <a:pt x="716506" y="708734"/>
                </a:lnTo>
                <a:lnTo>
                  <a:pt x="721258" y="708734"/>
                </a:lnTo>
                <a:lnTo>
                  <a:pt x="726723" y="708497"/>
                </a:lnTo>
                <a:lnTo>
                  <a:pt x="731712" y="707546"/>
                </a:lnTo>
                <a:lnTo>
                  <a:pt x="736939" y="706121"/>
                </a:lnTo>
                <a:lnTo>
                  <a:pt x="742166" y="704458"/>
                </a:lnTo>
                <a:lnTo>
                  <a:pt x="749294" y="702082"/>
                </a:lnTo>
                <a:lnTo>
                  <a:pt x="756184" y="699468"/>
                </a:lnTo>
                <a:lnTo>
                  <a:pt x="762361" y="696380"/>
                </a:lnTo>
                <a:lnTo>
                  <a:pt x="768063" y="692816"/>
                </a:lnTo>
                <a:lnTo>
                  <a:pt x="773528" y="689252"/>
                </a:lnTo>
                <a:lnTo>
                  <a:pt x="778755" y="684738"/>
                </a:lnTo>
                <a:lnTo>
                  <a:pt x="783269" y="680461"/>
                </a:lnTo>
                <a:lnTo>
                  <a:pt x="787308" y="674996"/>
                </a:lnTo>
                <a:lnTo>
                  <a:pt x="791110" y="669769"/>
                </a:lnTo>
                <a:lnTo>
                  <a:pt x="794436" y="663830"/>
                </a:lnTo>
                <a:lnTo>
                  <a:pt x="797050" y="657652"/>
                </a:lnTo>
                <a:lnTo>
                  <a:pt x="799188" y="651000"/>
                </a:lnTo>
                <a:lnTo>
                  <a:pt x="801089" y="643872"/>
                </a:lnTo>
                <a:lnTo>
                  <a:pt x="802277" y="636744"/>
                </a:lnTo>
                <a:lnTo>
                  <a:pt x="803227" y="628666"/>
                </a:lnTo>
                <a:lnTo>
                  <a:pt x="803227" y="620826"/>
                </a:lnTo>
                <a:lnTo>
                  <a:pt x="801089" y="622489"/>
                </a:lnTo>
                <a:lnTo>
                  <a:pt x="798238" y="623914"/>
                </a:lnTo>
                <a:lnTo>
                  <a:pt x="793011" y="626053"/>
                </a:lnTo>
                <a:lnTo>
                  <a:pt x="790397" y="627478"/>
                </a:lnTo>
                <a:lnTo>
                  <a:pt x="788496" y="628191"/>
                </a:lnTo>
                <a:lnTo>
                  <a:pt x="787308" y="630092"/>
                </a:lnTo>
                <a:lnTo>
                  <a:pt x="786833" y="631755"/>
                </a:lnTo>
                <a:lnTo>
                  <a:pt x="785408" y="635794"/>
                </a:lnTo>
                <a:lnTo>
                  <a:pt x="784220" y="639833"/>
                </a:lnTo>
                <a:lnTo>
                  <a:pt x="780656" y="646485"/>
                </a:lnTo>
                <a:lnTo>
                  <a:pt x="776617" y="653138"/>
                </a:lnTo>
                <a:lnTo>
                  <a:pt x="772103" y="659078"/>
                </a:lnTo>
                <a:lnTo>
                  <a:pt x="762361" y="670007"/>
                </a:lnTo>
                <a:lnTo>
                  <a:pt x="757847" y="675947"/>
                </a:lnTo>
                <a:lnTo>
                  <a:pt x="753333" y="682124"/>
                </a:lnTo>
                <a:lnTo>
                  <a:pt x="750244" y="684738"/>
                </a:lnTo>
                <a:lnTo>
                  <a:pt x="747155" y="687589"/>
                </a:lnTo>
                <a:lnTo>
                  <a:pt x="744067" y="689252"/>
                </a:lnTo>
                <a:lnTo>
                  <a:pt x="740978" y="690915"/>
                </a:lnTo>
                <a:lnTo>
                  <a:pt x="737890" y="691865"/>
                </a:lnTo>
                <a:lnTo>
                  <a:pt x="734801" y="692816"/>
                </a:lnTo>
                <a:lnTo>
                  <a:pt x="731950" y="693291"/>
                </a:lnTo>
                <a:lnTo>
                  <a:pt x="728861" y="693291"/>
                </a:lnTo>
                <a:lnTo>
                  <a:pt x="723634" y="692816"/>
                </a:lnTo>
                <a:lnTo>
                  <a:pt x="718169" y="691390"/>
                </a:lnTo>
                <a:lnTo>
                  <a:pt x="713418" y="689727"/>
                </a:lnTo>
                <a:lnTo>
                  <a:pt x="708903" y="687826"/>
                </a:lnTo>
                <a:lnTo>
                  <a:pt x="706765" y="687589"/>
                </a:lnTo>
                <a:lnTo>
                  <a:pt x="704864" y="687114"/>
                </a:lnTo>
                <a:lnTo>
                  <a:pt x="703201" y="686163"/>
                </a:lnTo>
                <a:lnTo>
                  <a:pt x="701776" y="684738"/>
                </a:lnTo>
                <a:lnTo>
                  <a:pt x="698687" y="681649"/>
                </a:lnTo>
                <a:lnTo>
                  <a:pt x="696549" y="678085"/>
                </a:lnTo>
                <a:lnTo>
                  <a:pt x="694648" y="673571"/>
                </a:lnTo>
                <a:lnTo>
                  <a:pt x="693460" y="668819"/>
                </a:lnTo>
                <a:lnTo>
                  <a:pt x="692510" y="664305"/>
                </a:lnTo>
                <a:lnTo>
                  <a:pt x="692510" y="659790"/>
                </a:lnTo>
                <a:lnTo>
                  <a:pt x="692510" y="647436"/>
                </a:lnTo>
                <a:lnTo>
                  <a:pt x="693460" y="635319"/>
                </a:lnTo>
                <a:lnTo>
                  <a:pt x="694173" y="624389"/>
                </a:lnTo>
                <a:lnTo>
                  <a:pt x="695598" y="612748"/>
                </a:lnTo>
                <a:lnTo>
                  <a:pt x="699162" y="591364"/>
                </a:lnTo>
                <a:lnTo>
                  <a:pt x="703676" y="570456"/>
                </a:lnTo>
                <a:lnTo>
                  <a:pt x="720070" y="574971"/>
                </a:lnTo>
                <a:lnTo>
                  <a:pt x="736939" y="579247"/>
                </a:lnTo>
                <a:lnTo>
                  <a:pt x="770677" y="589226"/>
                </a:lnTo>
                <a:lnTo>
                  <a:pt x="788021" y="593503"/>
                </a:lnTo>
                <a:lnTo>
                  <a:pt x="805365" y="597542"/>
                </a:lnTo>
                <a:lnTo>
                  <a:pt x="823660" y="601106"/>
                </a:lnTo>
                <a:lnTo>
                  <a:pt x="841954" y="603719"/>
                </a:lnTo>
                <a:lnTo>
                  <a:pt x="861437" y="606570"/>
                </a:lnTo>
                <a:lnTo>
                  <a:pt x="880682" y="608233"/>
                </a:lnTo>
                <a:lnTo>
                  <a:pt x="889948" y="608708"/>
                </a:lnTo>
                <a:lnTo>
                  <a:pt x="898976" y="608708"/>
                </a:lnTo>
                <a:lnTo>
                  <a:pt x="908242" y="608708"/>
                </a:lnTo>
                <a:lnTo>
                  <a:pt x="916795" y="608233"/>
                </a:lnTo>
                <a:lnTo>
                  <a:pt x="925586" y="607283"/>
                </a:lnTo>
                <a:lnTo>
                  <a:pt x="934140" y="606095"/>
                </a:lnTo>
                <a:lnTo>
                  <a:pt x="942455" y="604669"/>
                </a:lnTo>
                <a:lnTo>
                  <a:pt x="950533" y="603006"/>
                </a:lnTo>
                <a:lnTo>
                  <a:pt x="958611" y="600630"/>
                </a:lnTo>
                <a:lnTo>
                  <a:pt x="966452" y="598017"/>
                </a:lnTo>
                <a:lnTo>
                  <a:pt x="974055" y="595403"/>
                </a:lnTo>
                <a:lnTo>
                  <a:pt x="981658" y="591840"/>
                </a:lnTo>
                <a:lnTo>
                  <a:pt x="989261" y="588276"/>
                </a:lnTo>
                <a:lnTo>
                  <a:pt x="996388" y="584237"/>
                </a:lnTo>
                <a:lnTo>
                  <a:pt x="1003041" y="579247"/>
                </a:lnTo>
                <a:lnTo>
                  <a:pt x="1009694" y="574495"/>
                </a:lnTo>
                <a:lnTo>
                  <a:pt x="1016346" y="569031"/>
                </a:lnTo>
                <a:lnTo>
                  <a:pt x="1022998" y="562853"/>
                </a:lnTo>
                <a:lnTo>
                  <a:pt x="1029176" y="556676"/>
                </a:lnTo>
                <a:lnTo>
                  <a:pt x="1035116" y="549548"/>
                </a:lnTo>
                <a:lnTo>
                  <a:pt x="1040818" y="541945"/>
                </a:lnTo>
                <a:lnTo>
                  <a:pt x="1046520" y="534342"/>
                </a:lnTo>
                <a:lnTo>
                  <a:pt x="1051985" y="526027"/>
                </a:lnTo>
                <a:lnTo>
                  <a:pt x="1056737" y="516523"/>
                </a:lnTo>
                <a:lnTo>
                  <a:pt x="1061726" y="507257"/>
                </a:lnTo>
                <a:lnTo>
                  <a:pt x="1066715" y="497041"/>
                </a:lnTo>
                <a:lnTo>
                  <a:pt x="1070992" y="486349"/>
                </a:lnTo>
                <a:lnTo>
                  <a:pt x="1075506" y="475182"/>
                </a:lnTo>
                <a:lnTo>
                  <a:pt x="1079070" y="462828"/>
                </a:lnTo>
                <a:lnTo>
                  <a:pt x="1082634" y="449998"/>
                </a:lnTo>
                <a:lnTo>
                  <a:pt x="1084772" y="437405"/>
                </a:lnTo>
                <a:lnTo>
                  <a:pt x="1087148" y="425050"/>
                </a:lnTo>
                <a:lnTo>
                  <a:pt x="1088811" y="411983"/>
                </a:lnTo>
                <a:lnTo>
                  <a:pt x="1089762" y="399628"/>
                </a:lnTo>
                <a:lnTo>
                  <a:pt x="1090712" y="386798"/>
                </a:lnTo>
                <a:lnTo>
                  <a:pt x="1090712" y="373731"/>
                </a:lnTo>
                <a:lnTo>
                  <a:pt x="1090712" y="360901"/>
                </a:lnTo>
                <a:lnTo>
                  <a:pt x="1089762" y="348071"/>
                </a:lnTo>
                <a:lnTo>
                  <a:pt x="1088811" y="335004"/>
                </a:lnTo>
                <a:lnTo>
                  <a:pt x="1088099" y="321698"/>
                </a:lnTo>
                <a:lnTo>
                  <a:pt x="1084772" y="295563"/>
                </a:lnTo>
                <a:lnTo>
                  <a:pt x="1080971" y="268478"/>
                </a:lnTo>
                <a:lnTo>
                  <a:pt x="1078595" y="258262"/>
                </a:lnTo>
                <a:lnTo>
                  <a:pt x="1075981" y="248283"/>
                </a:lnTo>
                <a:lnTo>
                  <a:pt x="1072417" y="238542"/>
                </a:lnTo>
                <a:lnTo>
                  <a:pt x="1069329" y="229275"/>
                </a:lnTo>
                <a:lnTo>
                  <a:pt x="1061251" y="210031"/>
                </a:lnTo>
                <a:lnTo>
                  <a:pt x="1053173" y="190073"/>
                </a:lnTo>
                <a:lnTo>
                  <a:pt x="1051034" y="186034"/>
                </a:lnTo>
                <a:lnTo>
                  <a:pt x="1048896" y="182470"/>
                </a:lnTo>
                <a:lnTo>
                  <a:pt x="1046045" y="179381"/>
                </a:lnTo>
                <a:lnTo>
                  <a:pt x="1043906" y="176768"/>
                </a:lnTo>
                <a:lnTo>
                  <a:pt x="1041293" y="174630"/>
                </a:lnTo>
                <a:lnTo>
                  <a:pt x="1038680" y="172729"/>
                </a:lnTo>
                <a:lnTo>
                  <a:pt x="1035828" y="171303"/>
                </a:lnTo>
                <a:lnTo>
                  <a:pt x="1032740" y="170591"/>
                </a:lnTo>
                <a:lnTo>
                  <a:pt x="1030126" y="170591"/>
                </a:lnTo>
                <a:lnTo>
                  <a:pt x="1027038" y="170591"/>
                </a:lnTo>
                <a:lnTo>
                  <a:pt x="1024424" y="171303"/>
                </a:lnTo>
                <a:lnTo>
                  <a:pt x="1021335" y="172729"/>
                </a:lnTo>
                <a:lnTo>
                  <a:pt x="1018247" y="174867"/>
                </a:lnTo>
                <a:lnTo>
                  <a:pt x="1014920" y="177718"/>
                </a:lnTo>
                <a:lnTo>
                  <a:pt x="1011832" y="180807"/>
                </a:lnTo>
                <a:lnTo>
                  <a:pt x="1008743" y="184846"/>
                </a:lnTo>
                <a:lnTo>
                  <a:pt x="991874" y="201240"/>
                </a:lnTo>
                <a:lnTo>
                  <a:pt x="983321" y="209318"/>
                </a:lnTo>
                <a:lnTo>
                  <a:pt x="974530" y="216683"/>
                </a:lnTo>
                <a:lnTo>
                  <a:pt x="965739" y="223811"/>
                </a:lnTo>
                <a:lnTo>
                  <a:pt x="956236" y="230226"/>
                </a:lnTo>
                <a:lnTo>
                  <a:pt x="946494" y="235928"/>
                </a:lnTo>
                <a:lnTo>
                  <a:pt x="941505" y="238066"/>
                </a:lnTo>
                <a:lnTo>
                  <a:pt x="936753" y="240442"/>
                </a:lnTo>
                <a:lnTo>
                  <a:pt x="932239" y="242581"/>
                </a:lnTo>
                <a:lnTo>
                  <a:pt x="928675" y="245669"/>
                </a:lnTo>
                <a:lnTo>
                  <a:pt x="925111" y="249233"/>
                </a:lnTo>
                <a:lnTo>
                  <a:pt x="922022" y="252797"/>
                </a:lnTo>
                <a:lnTo>
                  <a:pt x="919884" y="257311"/>
                </a:lnTo>
                <a:lnTo>
                  <a:pt x="918934" y="259925"/>
                </a:lnTo>
                <a:lnTo>
                  <a:pt x="918459" y="262538"/>
                </a:lnTo>
                <a:lnTo>
                  <a:pt x="918459" y="265389"/>
                </a:lnTo>
                <a:lnTo>
                  <a:pt x="918459" y="268003"/>
                </a:lnTo>
                <a:lnTo>
                  <a:pt x="918934" y="271091"/>
                </a:lnTo>
                <a:lnTo>
                  <a:pt x="919884" y="274180"/>
                </a:lnTo>
                <a:lnTo>
                  <a:pt x="921547" y="282258"/>
                </a:lnTo>
                <a:lnTo>
                  <a:pt x="922973" y="290574"/>
                </a:lnTo>
                <a:lnTo>
                  <a:pt x="923923" y="299127"/>
                </a:lnTo>
                <a:lnTo>
                  <a:pt x="924161" y="307443"/>
                </a:lnTo>
                <a:lnTo>
                  <a:pt x="924161" y="315996"/>
                </a:lnTo>
                <a:lnTo>
                  <a:pt x="923923" y="324550"/>
                </a:lnTo>
                <a:lnTo>
                  <a:pt x="922973" y="332865"/>
                </a:lnTo>
                <a:lnTo>
                  <a:pt x="922022" y="340943"/>
                </a:lnTo>
                <a:lnTo>
                  <a:pt x="920597" y="349259"/>
                </a:lnTo>
                <a:lnTo>
                  <a:pt x="918934" y="357812"/>
                </a:lnTo>
                <a:lnTo>
                  <a:pt x="914420" y="374681"/>
                </a:lnTo>
                <a:lnTo>
                  <a:pt x="909192" y="391075"/>
                </a:lnTo>
                <a:lnTo>
                  <a:pt x="903253" y="408182"/>
                </a:lnTo>
                <a:lnTo>
                  <a:pt x="903253" y="397965"/>
                </a:lnTo>
                <a:lnTo>
                  <a:pt x="904203" y="387274"/>
                </a:lnTo>
                <a:lnTo>
                  <a:pt x="906104" y="367078"/>
                </a:lnTo>
                <a:lnTo>
                  <a:pt x="907767" y="347596"/>
                </a:lnTo>
                <a:lnTo>
                  <a:pt x="908717" y="338567"/>
                </a:lnTo>
                <a:lnTo>
                  <a:pt x="908717" y="329777"/>
                </a:lnTo>
                <a:lnTo>
                  <a:pt x="908717" y="325738"/>
                </a:lnTo>
                <a:lnTo>
                  <a:pt x="907767" y="322649"/>
                </a:lnTo>
                <a:lnTo>
                  <a:pt x="906817" y="319560"/>
                </a:lnTo>
                <a:lnTo>
                  <a:pt x="905154" y="316471"/>
                </a:lnTo>
                <a:lnTo>
                  <a:pt x="903728" y="314096"/>
                </a:lnTo>
                <a:lnTo>
                  <a:pt x="901590" y="311957"/>
                </a:lnTo>
                <a:lnTo>
                  <a:pt x="897551" y="307443"/>
                </a:lnTo>
                <a:lnTo>
                  <a:pt x="895412" y="309344"/>
                </a:lnTo>
                <a:lnTo>
                  <a:pt x="892561" y="310769"/>
                </a:lnTo>
                <a:lnTo>
                  <a:pt x="887334" y="313383"/>
                </a:lnTo>
                <a:lnTo>
                  <a:pt x="884721" y="314096"/>
                </a:lnTo>
                <a:lnTo>
                  <a:pt x="882820" y="315521"/>
                </a:lnTo>
                <a:lnTo>
                  <a:pt x="881632" y="316947"/>
                </a:lnTo>
                <a:lnTo>
                  <a:pt x="881157" y="318610"/>
                </a:lnTo>
                <a:lnTo>
                  <a:pt x="872604" y="331915"/>
                </a:lnTo>
                <a:lnTo>
                  <a:pt x="864288" y="346646"/>
                </a:lnTo>
                <a:lnTo>
                  <a:pt x="856210" y="361376"/>
                </a:lnTo>
                <a:lnTo>
                  <a:pt x="847656" y="374681"/>
                </a:lnTo>
                <a:lnTo>
                  <a:pt x="841954" y="374681"/>
                </a:lnTo>
                <a:lnTo>
                  <a:pt x="846468" y="357812"/>
                </a:lnTo>
                <a:lnTo>
                  <a:pt x="850508" y="339518"/>
                </a:lnTo>
                <a:lnTo>
                  <a:pt x="854784" y="319560"/>
                </a:lnTo>
                <a:lnTo>
                  <a:pt x="858823" y="296514"/>
                </a:lnTo>
                <a:lnTo>
                  <a:pt x="848132" y="303879"/>
                </a:lnTo>
                <a:lnTo>
                  <a:pt x="840054" y="310294"/>
                </a:lnTo>
                <a:lnTo>
                  <a:pt x="833163" y="316947"/>
                </a:lnTo>
                <a:lnTo>
                  <a:pt x="825560" y="324550"/>
                </a:lnTo>
                <a:lnTo>
                  <a:pt x="823185" y="326688"/>
                </a:lnTo>
                <a:lnTo>
                  <a:pt x="821522" y="329301"/>
                </a:lnTo>
                <a:lnTo>
                  <a:pt x="817007" y="335954"/>
                </a:lnTo>
                <a:lnTo>
                  <a:pt x="812968" y="344032"/>
                </a:lnTo>
                <a:lnTo>
                  <a:pt x="808929" y="352585"/>
                </a:lnTo>
                <a:lnTo>
                  <a:pt x="809880" y="343557"/>
                </a:lnTo>
                <a:lnTo>
                  <a:pt x="811305" y="335479"/>
                </a:lnTo>
                <a:lnTo>
                  <a:pt x="812493" y="328826"/>
                </a:lnTo>
                <a:lnTo>
                  <a:pt x="814394" y="323124"/>
                </a:lnTo>
                <a:lnTo>
                  <a:pt x="816532" y="317659"/>
                </a:lnTo>
                <a:lnTo>
                  <a:pt x="819146" y="313383"/>
                </a:lnTo>
                <a:lnTo>
                  <a:pt x="822709" y="309344"/>
                </a:lnTo>
                <a:lnTo>
                  <a:pt x="826748" y="306255"/>
                </a:lnTo>
                <a:lnTo>
                  <a:pt x="832213" y="303166"/>
                </a:lnTo>
                <a:lnTo>
                  <a:pt x="838390" y="300315"/>
                </a:lnTo>
                <a:lnTo>
                  <a:pt x="845518" y="298177"/>
                </a:lnTo>
                <a:lnTo>
                  <a:pt x="854071" y="295563"/>
                </a:lnTo>
                <a:lnTo>
                  <a:pt x="875217" y="290574"/>
                </a:lnTo>
                <a:lnTo>
                  <a:pt x="903253" y="285347"/>
                </a:lnTo>
                <a:lnTo>
                  <a:pt x="886384" y="268478"/>
                </a:lnTo>
                <a:lnTo>
                  <a:pt x="879731" y="270141"/>
                </a:lnTo>
                <a:lnTo>
                  <a:pt x="873079" y="271091"/>
                </a:lnTo>
                <a:lnTo>
                  <a:pt x="867376" y="271567"/>
                </a:lnTo>
                <a:lnTo>
                  <a:pt x="862387" y="271091"/>
                </a:lnTo>
                <a:lnTo>
                  <a:pt x="857398" y="269666"/>
                </a:lnTo>
                <a:lnTo>
                  <a:pt x="853596" y="268003"/>
                </a:lnTo>
                <a:lnTo>
                  <a:pt x="849557" y="265627"/>
                </a:lnTo>
                <a:lnTo>
                  <a:pt x="846468" y="262538"/>
                </a:lnTo>
                <a:lnTo>
                  <a:pt x="843380" y="259450"/>
                </a:lnTo>
                <a:lnTo>
                  <a:pt x="840529" y="255411"/>
                </a:lnTo>
                <a:lnTo>
                  <a:pt x="838390" y="251134"/>
                </a:lnTo>
                <a:lnTo>
                  <a:pt x="836490" y="246620"/>
                </a:lnTo>
                <a:lnTo>
                  <a:pt x="834827" y="241155"/>
                </a:lnTo>
                <a:lnTo>
                  <a:pt x="833401" y="235453"/>
                </a:lnTo>
                <a:lnTo>
                  <a:pt x="831263" y="223336"/>
                </a:lnTo>
                <a:lnTo>
                  <a:pt x="897551" y="206942"/>
                </a:lnTo>
                <a:lnTo>
                  <a:pt x="888997" y="194112"/>
                </a:lnTo>
                <a:lnTo>
                  <a:pt x="880682" y="181282"/>
                </a:lnTo>
                <a:lnTo>
                  <a:pt x="871416" y="168690"/>
                </a:lnTo>
                <a:lnTo>
                  <a:pt x="866901" y="162988"/>
                </a:lnTo>
                <a:lnTo>
                  <a:pt x="861437" y="157048"/>
                </a:lnTo>
                <a:lnTo>
                  <a:pt x="856210" y="151821"/>
                </a:lnTo>
                <a:lnTo>
                  <a:pt x="850745" y="146831"/>
                </a:lnTo>
                <a:lnTo>
                  <a:pt x="844568" y="142555"/>
                </a:lnTo>
                <a:lnTo>
                  <a:pt x="838390" y="138516"/>
                </a:lnTo>
                <a:lnTo>
                  <a:pt x="831738" y="134952"/>
                </a:lnTo>
                <a:lnTo>
                  <a:pt x="824610" y="132338"/>
                </a:lnTo>
                <a:lnTo>
                  <a:pt x="817007" y="129963"/>
                </a:lnTo>
                <a:lnTo>
                  <a:pt x="808929" y="128774"/>
                </a:lnTo>
                <a:lnTo>
                  <a:pt x="806791" y="128299"/>
                </a:lnTo>
                <a:lnTo>
                  <a:pt x="804652" y="127824"/>
                </a:lnTo>
                <a:lnTo>
                  <a:pt x="802752" y="126399"/>
                </a:lnTo>
                <a:lnTo>
                  <a:pt x="801089" y="125211"/>
                </a:lnTo>
                <a:lnTo>
                  <a:pt x="799663" y="123310"/>
                </a:lnTo>
                <a:lnTo>
                  <a:pt x="798713" y="121647"/>
                </a:lnTo>
                <a:lnTo>
                  <a:pt x="798000" y="119271"/>
                </a:lnTo>
                <a:lnTo>
                  <a:pt x="798000" y="117608"/>
                </a:lnTo>
                <a:lnTo>
                  <a:pt x="785408" y="106916"/>
                </a:lnTo>
                <a:lnTo>
                  <a:pt x="772578" y="95749"/>
                </a:lnTo>
                <a:lnTo>
                  <a:pt x="747155" y="72703"/>
                </a:lnTo>
                <a:lnTo>
                  <a:pt x="733850" y="61061"/>
                </a:lnTo>
                <a:lnTo>
                  <a:pt x="720545" y="49894"/>
                </a:lnTo>
                <a:lnTo>
                  <a:pt x="706765" y="38728"/>
                </a:lnTo>
                <a:lnTo>
                  <a:pt x="692510" y="28036"/>
                </a:lnTo>
                <a:lnTo>
                  <a:pt x="679442" y="21859"/>
                </a:lnTo>
                <a:lnTo>
                  <a:pt x="666137" y="16632"/>
                </a:lnTo>
                <a:lnTo>
                  <a:pt x="652832" y="11642"/>
                </a:lnTo>
                <a:lnTo>
                  <a:pt x="639527" y="7603"/>
                </a:lnTo>
                <a:lnTo>
                  <a:pt x="626222" y="4514"/>
                </a:lnTo>
                <a:lnTo>
                  <a:pt x="612917" y="1901"/>
                </a:lnTo>
                <a:lnTo>
                  <a:pt x="599374" y="475"/>
                </a:lnTo>
                <a:close/>
              </a:path>
            </a:pathLst>
          </a:custGeom>
          <a:solidFill>
            <a:schemeClr val="bg1">
              <a:alpha val="25000"/>
            </a:schemeClr>
          </a:solidFill>
          <a:ln>
            <a:noFill/>
          </a:ln>
        </p:spPr>
        <p:txBody>
          <a:bodyPr vert="horz" wrap="square" lIns="89642" tIns="44821" rIns="89642" bIns="44821" numCol="1" anchor="t" anchorCtr="0" compatLnSpc="1">
            <a:prstTxWarp prst="textNoShape">
              <a:avLst/>
            </a:prstTxWarp>
            <a:noAutofit/>
          </a:bodyPr>
          <a:lstStyle/>
          <a:p>
            <a:pPr defTabSz="914367"/>
            <a:endParaRPr lang="en-IN" sz="1765" dirty="0">
              <a:solidFill>
                <a:srgbClr val="000000"/>
              </a:solidFill>
            </a:endParaRPr>
          </a:p>
        </p:txBody>
      </p:sp>
      <p:sp>
        <p:nvSpPr>
          <p:cNvPr id="7" name="Rectangle 6"/>
          <p:cNvSpPr/>
          <p:nvPr/>
        </p:nvSpPr>
        <p:spPr>
          <a:xfrm>
            <a:off x="8929" y="1213304"/>
            <a:ext cx="5220355" cy="1558760"/>
          </a:xfrm>
          <a:prstGeom prst="rect">
            <a:avLst/>
          </a:prstGeom>
        </p:spPr>
        <p:txBody>
          <a:bodyPr wrap="square" lIns="268927">
            <a:spAutoFit/>
          </a:bodyPr>
          <a:lstStyle/>
          <a:p>
            <a:pPr defTabSz="914102" fontAlgn="base">
              <a:lnSpc>
                <a:spcPct val="90000"/>
              </a:lnSpc>
              <a:spcBef>
                <a:spcPct val="0"/>
              </a:spcBef>
              <a:spcAft>
                <a:spcPct val="0"/>
              </a:spcAft>
            </a:pPr>
            <a:r>
              <a:rPr lang="en-US" sz="5294" dirty="0" smtClean="0">
                <a:solidFill>
                  <a:srgbClr val="FFFFFF"/>
                </a:solidFill>
                <a:latin typeface="Segoe UI Light"/>
                <a:ea typeface="Segoe UI" pitchFamily="34" charset="0"/>
                <a:cs typeface="Segoe UI" pitchFamily="34" charset="0"/>
              </a:rPr>
              <a:t>Spark with Azure HDInsight</a:t>
            </a:r>
            <a:endParaRPr lang="en-US" sz="5294" dirty="0">
              <a:solidFill>
                <a:srgbClr val="FFFFFF"/>
              </a:solidFill>
              <a:latin typeface="Segoe UI Light"/>
              <a:ea typeface="Segoe UI" pitchFamily="34" charset="0"/>
              <a:cs typeface="Segoe UI" pitchFamily="34" charset="0"/>
            </a:endParaRPr>
          </a:p>
        </p:txBody>
      </p:sp>
      <p:sp>
        <p:nvSpPr>
          <p:cNvPr id="2" name="Slide Number Placeholder 1"/>
          <p:cNvSpPr>
            <a:spLocks noGrp="1"/>
          </p:cNvSpPr>
          <p:nvPr>
            <p:ph type="sldNum" sz="quarter" idx="11"/>
          </p:nvPr>
        </p:nvSpPr>
        <p:spPr/>
        <p:txBody>
          <a:bodyPr/>
          <a:lstStyle/>
          <a:p>
            <a:pPr>
              <a:defRPr/>
            </a:pPr>
            <a:fld id="{F8A0AC42-AA1D-4944-8D96-660DE70C7E1B}" type="slidenum">
              <a:rPr lang="en-IN"/>
              <a:pPr>
                <a:defRPr/>
              </a:pPr>
              <a:t>55</a:t>
            </a:fld>
            <a:endParaRPr lang="en-IN" dirty="0"/>
          </a:p>
        </p:txBody>
      </p:sp>
      <p:sp>
        <p:nvSpPr>
          <p:cNvPr id="8" name="TextBox 7"/>
          <p:cNvSpPr txBox="1"/>
          <p:nvPr/>
        </p:nvSpPr>
        <p:spPr>
          <a:xfrm>
            <a:off x="5229284" y="1637845"/>
            <a:ext cx="6553002" cy="2268438"/>
          </a:xfrm>
          <a:prstGeom prst="rect">
            <a:avLst/>
          </a:prstGeom>
          <a:noFill/>
        </p:spPr>
        <p:txBody>
          <a:bodyPr wrap="square" lIns="268927" tIns="143428" rIns="179285" bIns="143428" rtlCol="0">
            <a:noAutofit/>
          </a:bodyPr>
          <a:lstStyle/>
          <a:p>
            <a:pPr marL="52912" lvl="1" defTabSz="913770" fontAlgn="base">
              <a:spcBef>
                <a:spcPts val="1176"/>
              </a:spcBef>
              <a:buClr>
                <a:srgbClr val="68217A">
                  <a:lumMod val="50000"/>
                </a:srgbClr>
              </a:buClr>
            </a:pPr>
            <a:r>
              <a:rPr lang="en-US" sz="3137" dirty="0" smtClean="0">
                <a:ln>
                  <a:solidFill>
                    <a:srgbClr val="FFFFFF">
                      <a:alpha val="0"/>
                    </a:srgbClr>
                  </a:solidFill>
                </a:ln>
                <a:solidFill>
                  <a:srgbClr val="68217A"/>
                </a:solidFill>
                <a:latin typeface="Segoe UI Light"/>
                <a:ea typeface="Segoe UI" pitchFamily="34" charset="0"/>
                <a:cs typeface="Segoe UI" pitchFamily="34" charset="0"/>
              </a:rPr>
              <a:t>Agenda</a:t>
            </a:r>
            <a:endParaRPr lang="en-US" sz="3137" dirty="0">
              <a:ln>
                <a:solidFill>
                  <a:srgbClr val="FFFFFF">
                    <a:alpha val="0"/>
                  </a:srgbClr>
                </a:solidFill>
              </a:ln>
              <a:solidFill>
                <a:srgbClr val="68217A"/>
              </a:solidFill>
              <a:latin typeface="Segoe UI Light"/>
              <a:ea typeface="Segoe UI" pitchFamily="34" charset="0"/>
              <a:cs typeface="Segoe UI" pitchFamily="34" charset="0"/>
            </a:endParaRPr>
          </a:p>
          <a:p>
            <a:pPr marL="558686" lvl="1" indent="-448193" defTabSz="913770" fontAlgn="base">
              <a:buClr>
                <a:srgbClr val="68217A">
                  <a:lumMod val="50000"/>
                </a:srgbClr>
              </a:buClr>
              <a:buBlip>
                <a:blip r:embed="rId2"/>
              </a:buBlip>
            </a:pPr>
            <a:r>
              <a:rPr lang="en-US" sz="2400" dirty="0" smtClean="0">
                <a:ln>
                  <a:solidFill>
                    <a:srgbClr val="FFFFFF">
                      <a:alpha val="0"/>
                    </a:srgbClr>
                  </a:solidFill>
                </a:ln>
                <a:gradFill>
                  <a:gsLst>
                    <a:gs pos="85321">
                      <a:srgbClr val="505050"/>
                    </a:gs>
                    <a:gs pos="57000">
                      <a:srgbClr val="505050"/>
                    </a:gs>
                  </a:gsLst>
                </a:gradFill>
                <a:ea typeface="Segoe UI" pitchFamily="34" charset="0"/>
                <a:cs typeface="Segoe UI" pitchFamily="34" charset="0"/>
              </a:rPr>
              <a:t>Provisioning HDInsight Spark Clusters</a:t>
            </a:r>
          </a:p>
          <a:p>
            <a:pPr marL="1015886" lvl="2" indent="-448193" defTabSz="913770" fontAlgn="base">
              <a:buClr>
                <a:srgbClr val="68217A">
                  <a:lumMod val="50000"/>
                </a:srgbClr>
              </a:buClr>
              <a:buBlip>
                <a:blip r:embed="rId2"/>
              </a:buBlip>
            </a:pPr>
            <a:r>
              <a:rPr lang="en-US" sz="2000" dirty="0" smtClean="0">
                <a:ln>
                  <a:solidFill>
                    <a:srgbClr val="FFFFFF">
                      <a:alpha val="0"/>
                    </a:srgbClr>
                  </a:solidFill>
                </a:ln>
                <a:gradFill>
                  <a:gsLst>
                    <a:gs pos="85321">
                      <a:srgbClr val="505050"/>
                    </a:gs>
                    <a:gs pos="57000">
                      <a:srgbClr val="505050"/>
                    </a:gs>
                  </a:gsLst>
                </a:gradFill>
                <a:ea typeface="Segoe UI" pitchFamily="34" charset="0"/>
                <a:cs typeface="Segoe UI" pitchFamily="34" charset="0"/>
              </a:rPr>
              <a:t>Azure Portal Integration</a:t>
            </a:r>
          </a:p>
          <a:p>
            <a:pPr marL="1015886" lvl="2" indent="-448193" defTabSz="913770" fontAlgn="base">
              <a:buClr>
                <a:srgbClr val="68217A">
                  <a:lumMod val="50000"/>
                </a:srgbClr>
              </a:buClr>
              <a:buBlip>
                <a:blip r:embed="rId2"/>
              </a:buBlip>
            </a:pPr>
            <a:r>
              <a:rPr lang="en-US" sz="2000" dirty="0" smtClean="0">
                <a:ln>
                  <a:solidFill>
                    <a:srgbClr val="FFFFFF">
                      <a:alpha val="0"/>
                    </a:srgbClr>
                  </a:solidFill>
                </a:ln>
                <a:gradFill>
                  <a:gsLst>
                    <a:gs pos="85321">
                      <a:srgbClr val="505050"/>
                    </a:gs>
                    <a:gs pos="57000">
                      <a:srgbClr val="505050"/>
                    </a:gs>
                  </a:gsLst>
                </a:gradFill>
                <a:ea typeface="Segoe UI" pitchFamily="34" charset="0"/>
                <a:cs typeface="Segoe UI" pitchFamily="34" charset="0"/>
              </a:rPr>
              <a:t>Scripting</a:t>
            </a:r>
          </a:p>
          <a:p>
            <a:pPr marL="558686" lvl="1" indent="-448193" defTabSz="913770" fontAlgn="base">
              <a:buClr>
                <a:srgbClr val="68217A">
                  <a:lumMod val="50000"/>
                </a:srgbClr>
              </a:buClr>
              <a:buBlip>
                <a:blip r:embed="rId2"/>
              </a:buBlip>
            </a:pPr>
            <a:r>
              <a:rPr lang="en-US" sz="2000" dirty="0" smtClean="0">
                <a:ln>
                  <a:solidFill>
                    <a:srgbClr val="FFFFFF">
                      <a:alpha val="0"/>
                    </a:srgbClr>
                  </a:solidFill>
                </a:ln>
                <a:gradFill>
                  <a:gsLst>
                    <a:gs pos="85321">
                      <a:srgbClr val="505050"/>
                    </a:gs>
                    <a:gs pos="57000">
                      <a:srgbClr val="505050"/>
                    </a:gs>
                  </a:gsLst>
                </a:gradFill>
                <a:ea typeface="Segoe UI" pitchFamily="34" charset="0"/>
                <a:cs typeface="Segoe UI" pitchFamily="34" charset="0"/>
              </a:rPr>
              <a:t>Managing HDInsight Spark Cluster</a:t>
            </a:r>
          </a:p>
          <a:p>
            <a:pPr marL="558686" lvl="1" indent="-448193" defTabSz="913770" fontAlgn="base">
              <a:buClr>
                <a:srgbClr val="68217A">
                  <a:lumMod val="50000"/>
                </a:srgbClr>
              </a:buClr>
              <a:buBlip>
                <a:blip r:embed="rId2"/>
              </a:buBlip>
            </a:pPr>
            <a:r>
              <a:rPr lang="en-US" sz="2400" dirty="0" smtClean="0">
                <a:ln>
                  <a:solidFill>
                    <a:srgbClr val="FFFFFF">
                      <a:alpha val="0"/>
                    </a:srgbClr>
                  </a:solidFill>
                </a:ln>
                <a:gradFill>
                  <a:gsLst>
                    <a:gs pos="85321">
                      <a:srgbClr val="505050"/>
                    </a:gs>
                    <a:gs pos="57000">
                      <a:srgbClr val="505050"/>
                    </a:gs>
                  </a:gsLst>
                </a:gradFill>
                <a:ea typeface="Segoe UI" pitchFamily="34" charset="0"/>
                <a:cs typeface="Segoe UI" pitchFamily="34" charset="0"/>
              </a:rPr>
              <a:t>Developing and running HDInsight Spark Applications</a:t>
            </a:r>
          </a:p>
          <a:p>
            <a:pPr marL="1015886" lvl="2" indent="-448193" defTabSz="913770" fontAlgn="base">
              <a:buClr>
                <a:srgbClr val="68217A">
                  <a:lumMod val="50000"/>
                </a:srgbClr>
              </a:buClr>
              <a:buBlip>
                <a:blip r:embed="rId2"/>
              </a:buBlip>
            </a:pPr>
            <a:r>
              <a:rPr lang="en-US" sz="2000" dirty="0" smtClean="0">
                <a:ln>
                  <a:solidFill>
                    <a:srgbClr val="FFFFFF">
                      <a:alpha val="0"/>
                    </a:srgbClr>
                  </a:solidFill>
                </a:ln>
                <a:gradFill>
                  <a:gsLst>
                    <a:gs pos="85321">
                      <a:srgbClr val="505050"/>
                    </a:gs>
                    <a:gs pos="57000">
                      <a:srgbClr val="505050"/>
                    </a:gs>
                  </a:gsLst>
                </a:gradFill>
                <a:ea typeface="Segoe UI" pitchFamily="34" charset="0"/>
                <a:cs typeface="Segoe UI" pitchFamily="34" charset="0"/>
              </a:rPr>
              <a:t>Jupytr Notebook</a:t>
            </a:r>
          </a:p>
          <a:p>
            <a:pPr marL="1015886" lvl="2" indent="-448193" defTabSz="913770" fontAlgn="base">
              <a:buClr>
                <a:srgbClr val="68217A">
                  <a:lumMod val="50000"/>
                </a:srgbClr>
              </a:buClr>
              <a:buBlip>
                <a:blip r:embed="rId2"/>
              </a:buBlip>
            </a:pPr>
            <a:r>
              <a:rPr lang="en-US" sz="2000" dirty="0" smtClean="0">
                <a:ln>
                  <a:solidFill>
                    <a:srgbClr val="FFFFFF">
                      <a:alpha val="0"/>
                    </a:srgbClr>
                  </a:solidFill>
                </a:ln>
                <a:gradFill>
                  <a:gsLst>
                    <a:gs pos="85321">
                      <a:srgbClr val="505050"/>
                    </a:gs>
                    <a:gs pos="57000">
                      <a:srgbClr val="505050"/>
                    </a:gs>
                  </a:gsLst>
                </a:gradFill>
                <a:ea typeface="Segoe UI" pitchFamily="34" charset="0"/>
                <a:cs typeface="Segoe UI" pitchFamily="34" charset="0"/>
              </a:rPr>
              <a:t>Zeppelin Notebook</a:t>
            </a:r>
          </a:p>
          <a:p>
            <a:pPr marL="1015886" lvl="2" indent="-448193" defTabSz="913770" fontAlgn="base">
              <a:buClr>
                <a:srgbClr val="68217A">
                  <a:lumMod val="50000"/>
                </a:srgbClr>
              </a:buClr>
              <a:buBlip>
                <a:blip r:embed="rId2"/>
              </a:buBlip>
            </a:pPr>
            <a:r>
              <a:rPr lang="en-US" sz="2000" dirty="0" smtClean="0">
                <a:ln>
                  <a:solidFill>
                    <a:srgbClr val="FFFFFF">
                      <a:alpha val="0"/>
                    </a:srgbClr>
                  </a:solidFill>
                </a:ln>
                <a:gradFill>
                  <a:gsLst>
                    <a:gs pos="85321">
                      <a:srgbClr val="505050"/>
                    </a:gs>
                    <a:gs pos="57000">
                      <a:srgbClr val="505050"/>
                    </a:gs>
                  </a:gsLst>
                </a:gradFill>
                <a:ea typeface="Segoe UI" pitchFamily="34" charset="0"/>
                <a:cs typeface="Segoe UI" pitchFamily="34" charset="0"/>
              </a:rPr>
              <a:t>Spark Shell</a:t>
            </a:r>
          </a:p>
          <a:p>
            <a:pPr marL="1015886" lvl="2" indent="-448193" defTabSz="913770" fontAlgn="base">
              <a:buClr>
                <a:srgbClr val="68217A">
                  <a:lumMod val="50000"/>
                </a:srgbClr>
              </a:buClr>
              <a:buBlip>
                <a:blip r:embed="rId2"/>
              </a:buBlip>
            </a:pPr>
            <a:r>
              <a:rPr lang="en-US" sz="2000" dirty="0" smtClean="0">
                <a:ln>
                  <a:solidFill>
                    <a:srgbClr val="FFFFFF">
                      <a:alpha val="0"/>
                    </a:srgbClr>
                  </a:solidFill>
                </a:ln>
                <a:gradFill>
                  <a:gsLst>
                    <a:gs pos="85321">
                      <a:srgbClr val="505050"/>
                    </a:gs>
                    <a:gs pos="57000">
                      <a:srgbClr val="505050"/>
                    </a:gs>
                  </a:gsLst>
                </a:gradFill>
                <a:ea typeface="Segoe UI" pitchFamily="34" charset="0"/>
                <a:cs typeface="Segoe UI" pitchFamily="34" charset="0"/>
              </a:rPr>
              <a:t>Stand-alone Scala Programs</a:t>
            </a:r>
          </a:p>
          <a:p>
            <a:pPr marL="558686" lvl="1" indent="-448193" defTabSz="913770" fontAlgn="base">
              <a:buClr>
                <a:srgbClr val="68217A">
                  <a:lumMod val="50000"/>
                </a:srgbClr>
              </a:buClr>
              <a:buBlip>
                <a:blip r:embed="rId2"/>
              </a:buBlip>
            </a:pPr>
            <a:r>
              <a:rPr lang="en-US" sz="2000" dirty="0" smtClean="0">
                <a:ln>
                  <a:solidFill>
                    <a:srgbClr val="FFFFFF">
                      <a:alpha val="0"/>
                    </a:srgbClr>
                  </a:solidFill>
                </a:ln>
                <a:gradFill>
                  <a:gsLst>
                    <a:gs pos="85321">
                      <a:srgbClr val="505050"/>
                    </a:gs>
                    <a:gs pos="57000">
                      <a:srgbClr val="505050"/>
                    </a:gs>
                  </a:gsLst>
                </a:gradFill>
                <a:ea typeface="Segoe UI" pitchFamily="34" charset="0"/>
                <a:cs typeface="Segoe UI" pitchFamily="34" charset="0"/>
              </a:rPr>
              <a:t>HDInsight integration with Azure Event Hubs</a:t>
            </a:r>
          </a:p>
          <a:p>
            <a:pPr marL="558686" lvl="1" indent="-448193" defTabSz="913770" fontAlgn="base">
              <a:buClr>
                <a:srgbClr val="68217A">
                  <a:lumMod val="50000"/>
                </a:srgbClr>
              </a:buClr>
              <a:buBlip>
                <a:blip r:embed="rId2"/>
              </a:buBlip>
            </a:pPr>
            <a:endParaRPr lang="en-US" sz="2353" dirty="0" smtClean="0">
              <a:ln>
                <a:solidFill>
                  <a:srgbClr val="FFFFFF">
                    <a:alpha val="0"/>
                  </a:srgbClr>
                </a:solidFill>
              </a:ln>
              <a:gradFill>
                <a:gsLst>
                  <a:gs pos="85321">
                    <a:srgbClr val="505050"/>
                  </a:gs>
                  <a:gs pos="57000">
                    <a:srgbClr val="505050"/>
                  </a:gs>
                </a:gsLst>
              </a:gradFill>
              <a:ea typeface="Segoe UI" pitchFamily="34" charset="0"/>
              <a:cs typeface="Segoe UI" pitchFamily="34" charset="0"/>
            </a:endParaRPr>
          </a:p>
        </p:txBody>
      </p:sp>
    </p:spTree>
    <p:extLst>
      <p:ext uri="{BB962C8B-B14F-4D97-AF65-F5344CB8AC3E}">
        <p14:creationId xmlns:p14="http://schemas.microsoft.com/office/powerpoint/2010/main" val="2432192280"/>
      </p:ext>
    </p:extLst>
  </p:cSld>
  <p:clrMapOvr>
    <a:masterClrMapping/>
  </p:clrMapOvr>
  <p:transition spd="med">
    <p:fade/>
  </p:transition>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reating a HDInsight Spark Cluster</a:t>
            </a:r>
            <a:endParaRPr lang="en-US" dirty="0"/>
          </a:p>
        </p:txBody>
      </p:sp>
      <p:sp>
        <p:nvSpPr>
          <p:cNvPr id="3" name="Slide Number Placeholder 2"/>
          <p:cNvSpPr>
            <a:spLocks noGrp="1"/>
          </p:cNvSpPr>
          <p:nvPr>
            <p:ph type="sldNum" sz="quarter" idx="11"/>
          </p:nvPr>
        </p:nvSpPr>
        <p:spPr/>
        <p:txBody>
          <a:bodyPr/>
          <a:lstStyle/>
          <a:p>
            <a:pPr>
              <a:defRPr/>
            </a:pPr>
            <a:fld id="{F8A0AC42-AA1D-4944-8D96-660DE70C7E1B}" type="slidenum">
              <a:rPr lang="en-US" smtClean="0"/>
              <a:pPr>
                <a:defRPr/>
              </a:pPr>
              <a:t>56</a:t>
            </a:fld>
            <a:endParaRPr lang="en-US" dirty="0"/>
          </a:p>
        </p:txBody>
      </p:sp>
      <p:pic>
        <p:nvPicPr>
          <p:cNvPr id="6" name="Picture 5"/>
          <p:cNvPicPr>
            <a:picLocks noChangeAspect="1"/>
          </p:cNvPicPr>
          <p:nvPr/>
        </p:nvPicPr>
        <p:blipFill>
          <a:blip r:embed="rId2"/>
          <a:stretch>
            <a:fillRect/>
          </a:stretch>
        </p:blipFill>
        <p:spPr>
          <a:xfrm>
            <a:off x="3230515" y="4179082"/>
            <a:ext cx="8414448" cy="2392520"/>
          </a:xfrm>
          <a:prstGeom prst="rect">
            <a:avLst/>
          </a:prstGeom>
          <a:ln>
            <a:solidFill>
              <a:schemeClr val="bg2">
                <a:lumMod val="50000"/>
              </a:schemeClr>
            </a:solidFill>
          </a:ln>
        </p:spPr>
      </p:pic>
      <p:pic>
        <p:nvPicPr>
          <p:cNvPr id="5" name="Picture 4"/>
          <p:cNvPicPr>
            <a:picLocks noChangeAspect="1"/>
          </p:cNvPicPr>
          <p:nvPr/>
        </p:nvPicPr>
        <p:blipFill>
          <a:blip r:embed="rId3"/>
          <a:stretch>
            <a:fillRect/>
          </a:stretch>
        </p:blipFill>
        <p:spPr>
          <a:xfrm>
            <a:off x="555771" y="1214321"/>
            <a:ext cx="6930251" cy="4036169"/>
          </a:xfrm>
          <a:prstGeom prst="rect">
            <a:avLst/>
          </a:prstGeom>
          <a:ln>
            <a:solidFill>
              <a:schemeClr val="bg2">
                <a:lumMod val="50000"/>
              </a:schemeClr>
            </a:solidFill>
          </a:ln>
        </p:spPr>
      </p:pic>
      <p:sp>
        <p:nvSpPr>
          <p:cNvPr id="7" name="TextBox 6"/>
          <p:cNvSpPr txBox="1"/>
          <p:nvPr/>
        </p:nvSpPr>
        <p:spPr>
          <a:xfrm>
            <a:off x="7587746" y="1222840"/>
            <a:ext cx="4074985" cy="2046714"/>
          </a:xfrm>
          <a:prstGeom prst="rect">
            <a:avLst/>
          </a:prstGeom>
          <a:noFill/>
          <a:ln>
            <a:solidFill>
              <a:schemeClr val="tx2">
                <a:lumMod val="40000"/>
                <a:lumOff val="60000"/>
              </a:schemeClr>
            </a:solidFill>
          </a:ln>
        </p:spPr>
        <p:txBody>
          <a:bodyPr wrap="square">
            <a:spAutoFit/>
          </a:bodyPr>
          <a:lstStyle>
            <a:defPPr>
              <a:defRPr lang="en-US"/>
            </a:defPPr>
            <a:lvl2pPr marL="558686" lvl="1" indent="-448193" defTabSz="913770" fontAlgn="base">
              <a:lnSpc>
                <a:spcPct val="90000"/>
              </a:lnSpc>
              <a:spcBef>
                <a:spcPts val="1200"/>
              </a:spcBef>
              <a:spcAft>
                <a:spcPts val="1200"/>
              </a:spcAft>
              <a:buClr>
                <a:srgbClr val="68217A">
                  <a:lumMod val="50000"/>
                </a:srgbClr>
              </a:buClr>
              <a:buBlip>
                <a:blip r:embed="rId4"/>
              </a:buBlip>
              <a:tabLst>
                <a:tab pos="645523" algn="l"/>
              </a:tabLst>
              <a:defRPr sz="24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vl3pPr marL="1257300" lvl="2" indent="-342900">
              <a:spcBef>
                <a:spcPts val="1200"/>
              </a:spcBef>
              <a:spcAft>
                <a:spcPts val="1200"/>
              </a:spcAft>
              <a:buFont typeface="+mj-lt"/>
              <a:buAutoNum type="arabicPeriod"/>
              <a:defRPr sz="2000">
                <a:ln>
                  <a:solidFill>
                    <a:srgbClr val="FFFFFF">
                      <a:alpha val="0"/>
                    </a:srgbClr>
                  </a:solidFill>
                </a:ln>
                <a:gradFill>
                  <a:gsLst>
                    <a:gs pos="85321">
                      <a:srgbClr val="505050"/>
                    </a:gs>
                    <a:gs pos="57000">
                      <a:srgbClr val="505050"/>
                    </a:gs>
                  </a:gsLst>
                </a:gradFill>
                <a:ea typeface="Segoe UI" pitchFamily="34" charset="0"/>
                <a:cs typeface="Segoe UI" pitchFamily="34" charset="0"/>
              </a:defRPr>
            </a:lvl3pPr>
          </a:lstStyle>
          <a:p>
            <a:pPr marL="457200" lvl="2" indent="-448193" defTabSz="913770" fontAlgn="base">
              <a:spcBef>
                <a:spcPts val="0"/>
              </a:spcBef>
              <a:spcAft>
                <a:spcPts val="600"/>
              </a:spcAft>
              <a:buClr>
                <a:srgbClr val="68217A">
                  <a:lumMod val="50000"/>
                </a:srgbClr>
              </a:buClr>
              <a:buBlip>
                <a:blip r:embed="rId4"/>
              </a:buBlip>
            </a:pPr>
            <a:r>
              <a:rPr lang="en-US" sz="1600" dirty="0"/>
              <a:t>A Spark cluster can be provisioned directly from the Azure console.</a:t>
            </a:r>
          </a:p>
          <a:p>
            <a:pPr marL="457200" lvl="2" indent="-448193" defTabSz="913770" fontAlgn="base">
              <a:spcBef>
                <a:spcPts val="0"/>
              </a:spcBef>
              <a:spcAft>
                <a:spcPts val="600"/>
              </a:spcAft>
              <a:buClr>
                <a:srgbClr val="68217A">
                  <a:lumMod val="50000"/>
                </a:srgbClr>
              </a:buClr>
              <a:buBlip>
                <a:blip r:embed="rId4"/>
              </a:buBlip>
            </a:pPr>
            <a:r>
              <a:rPr lang="en-US" sz="1600" dirty="0"/>
              <a:t>Only the number of data nodes  have to be specified (can be changed later)</a:t>
            </a:r>
          </a:p>
          <a:p>
            <a:pPr marL="457200" lvl="2" indent="-448193" defTabSz="913770" fontAlgn="base">
              <a:spcBef>
                <a:spcPts val="0"/>
              </a:spcBef>
              <a:spcAft>
                <a:spcPts val="600"/>
              </a:spcAft>
              <a:buClr>
                <a:srgbClr val="68217A">
                  <a:lumMod val="50000"/>
                </a:srgbClr>
              </a:buClr>
              <a:buBlip>
                <a:blip r:embed="rId4"/>
              </a:buBlip>
            </a:pPr>
            <a:r>
              <a:rPr lang="en-US" sz="1600" dirty="0"/>
              <a:t>Clusters can </a:t>
            </a:r>
            <a:r>
              <a:rPr lang="en-US" sz="1600" dirty="0" smtClean="0"/>
              <a:t>have up to  </a:t>
            </a:r>
            <a:r>
              <a:rPr lang="en-US" sz="1600" dirty="0"/>
              <a:t>16 </a:t>
            </a:r>
            <a:r>
              <a:rPr lang="en-US" sz="1600" dirty="0" smtClean="0"/>
              <a:t>nodes</a:t>
            </a:r>
          </a:p>
          <a:p>
            <a:pPr marL="457200" lvl="2" indent="-448193" defTabSz="913770" fontAlgn="base">
              <a:spcBef>
                <a:spcPts val="0"/>
              </a:spcBef>
              <a:spcAft>
                <a:spcPts val="600"/>
              </a:spcAft>
              <a:buClr>
                <a:srgbClr val="68217A">
                  <a:lumMod val="50000"/>
                </a:srgbClr>
              </a:buClr>
              <a:buBlip>
                <a:blip r:embed="rId4"/>
              </a:buBlip>
            </a:pPr>
            <a:r>
              <a:rPr lang="en-US" sz="1600" dirty="0"/>
              <a:t>M</a:t>
            </a:r>
            <a:r>
              <a:rPr lang="en-US" sz="1600" dirty="0" smtClean="0"/>
              <a:t>ore nodes enable more queries to be run concurrently</a:t>
            </a:r>
            <a:endParaRPr lang="en-US" sz="1600" dirty="0"/>
          </a:p>
        </p:txBody>
      </p:sp>
      <p:sp>
        <p:nvSpPr>
          <p:cNvPr id="8" name="Oval 7"/>
          <p:cNvSpPr/>
          <p:nvPr/>
        </p:nvSpPr>
        <p:spPr bwMode="auto">
          <a:xfrm>
            <a:off x="6974794" y="6035828"/>
            <a:ext cx="673240" cy="401914"/>
          </a:xfrm>
          <a:prstGeom prst="ellipse">
            <a:avLst/>
          </a:prstGeom>
          <a:noFill/>
          <a:ln w="381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smtClean="0">
              <a:solidFill>
                <a:schemeClr val="bg1"/>
              </a:solidFill>
              <a:latin typeface="+mj-lt"/>
              <a:ea typeface="Segoe UI" pitchFamily="34" charset="0"/>
              <a:cs typeface="Segoe UI" pitchFamily="34" charset="0"/>
            </a:endParaRPr>
          </a:p>
        </p:txBody>
      </p:sp>
      <p:sp>
        <p:nvSpPr>
          <p:cNvPr id="9" name="TextBox 8"/>
          <p:cNvSpPr txBox="1"/>
          <p:nvPr/>
        </p:nvSpPr>
        <p:spPr>
          <a:xfrm>
            <a:off x="555771" y="5375342"/>
            <a:ext cx="2397681" cy="954107"/>
          </a:xfrm>
          <a:prstGeom prst="rect">
            <a:avLst/>
          </a:prstGeom>
          <a:noFill/>
          <a:ln>
            <a:noFill/>
          </a:ln>
        </p:spPr>
        <p:txBody>
          <a:bodyPr wrap="square">
            <a:spAutoFit/>
          </a:bodyPr>
          <a:lstStyle>
            <a:defPPr>
              <a:defRPr lang="en-US"/>
            </a:defPPr>
            <a:lvl2pPr marL="558686" lvl="1" indent="-448193" defTabSz="913770" fontAlgn="base">
              <a:lnSpc>
                <a:spcPct val="90000"/>
              </a:lnSpc>
              <a:spcBef>
                <a:spcPts val="1200"/>
              </a:spcBef>
              <a:spcAft>
                <a:spcPts val="1200"/>
              </a:spcAft>
              <a:buClr>
                <a:srgbClr val="68217A">
                  <a:lumMod val="50000"/>
                </a:srgbClr>
              </a:buClr>
              <a:buBlip>
                <a:blip r:embed="rId4"/>
              </a:buBlip>
              <a:tabLst>
                <a:tab pos="645523" algn="l"/>
              </a:tabLst>
              <a:defRPr sz="24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vl3pPr marL="1257300" lvl="2" indent="-342900">
              <a:spcBef>
                <a:spcPts val="1200"/>
              </a:spcBef>
              <a:spcAft>
                <a:spcPts val="1200"/>
              </a:spcAft>
              <a:buFont typeface="+mj-lt"/>
              <a:buAutoNum type="arabicPeriod"/>
              <a:defRPr sz="2000">
                <a:ln>
                  <a:solidFill>
                    <a:srgbClr val="FFFFFF">
                      <a:alpha val="0"/>
                    </a:srgbClr>
                  </a:solidFill>
                </a:ln>
                <a:gradFill>
                  <a:gsLst>
                    <a:gs pos="85321">
                      <a:srgbClr val="505050"/>
                    </a:gs>
                    <a:gs pos="57000">
                      <a:srgbClr val="505050"/>
                    </a:gs>
                  </a:gsLst>
                </a:gradFill>
                <a:ea typeface="Segoe UI" pitchFamily="34" charset="0"/>
                <a:cs typeface="Segoe UI" pitchFamily="34" charset="0"/>
              </a:defRPr>
            </a:lvl3pPr>
          </a:lstStyle>
          <a:p>
            <a:pPr marL="9007" lvl="2" indent="0" defTabSz="913770" fontAlgn="base">
              <a:spcBef>
                <a:spcPts val="0"/>
              </a:spcBef>
              <a:spcAft>
                <a:spcPts val="600"/>
              </a:spcAft>
              <a:buClr>
                <a:srgbClr val="68217A">
                  <a:lumMod val="50000"/>
                </a:srgbClr>
              </a:buClr>
              <a:buNone/>
            </a:pPr>
            <a:r>
              <a:rPr lang="en-US" sz="1400" dirty="0" smtClean="0"/>
              <a:t>The </a:t>
            </a:r>
            <a:r>
              <a:rPr lang="en-US" sz="1400" dirty="0"/>
              <a:t>Azure console lists all types of HDInsight clusters (HBase, Storm, Spark etc) currently provisioned</a:t>
            </a:r>
          </a:p>
        </p:txBody>
      </p:sp>
      <p:cxnSp>
        <p:nvCxnSpPr>
          <p:cNvPr id="11" name="Straight Arrow Connector 10"/>
          <p:cNvCxnSpPr/>
          <p:nvPr/>
        </p:nvCxnSpPr>
        <p:spPr>
          <a:xfrm>
            <a:off x="2752485" y="5938576"/>
            <a:ext cx="401934" cy="0"/>
          </a:xfrm>
          <a:prstGeom prst="straightConnector1">
            <a:avLst/>
          </a:prstGeom>
          <a:ln w="28575">
            <a:solidFill>
              <a:schemeClr val="bg2">
                <a:lumMod val="50000"/>
              </a:schemeClr>
            </a:solidFill>
            <a:headEnd type="none"/>
            <a:tailEnd type="triangle"/>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975203010"/>
      </p:ext>
    </p:extLst>
  </p:cSld>
  <p:clrMapOvr>
    <a:masterClrMapping/>
  </p:clrMapOvr>
  <p:transition spd="med">
    <p:fade/>
  </p:transition>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HDInsight Spark Dashboard</a:t>
            </a:r>
            <a:endParaRPr lang="en-US" dirty="0"/>
          </a:p>
        </p:txBody>
      </p:sp>
      <p:sp>
        <p:nvSpPr>
          <p:cNvPr id="3" name="Slide Number Placeholder 2"/>
          <p:cNvSpPr>
            <a:spLocks noGrp="1"/>
          </p:cNvSpPr>
          <p:nvPr>
            <p:ph type="sldNum" sz="quarter" idx="11"/>
          </p:nvPr>
        </p:nvSpPr>
        <p:spPr/>
        <p:txBody>
          <a:bodyPr/>
          <a:lstStyle/>
          <a:p>
            <a:pPr>
              <a:defRPr/>
            </a:pPr>
            <a:fld id="{F8A0AC42-AA1D-4944-8D96-660DE70C7E1B}" type="slidenum">
              <a:rPr lang="en-US" smtClean="0"/>
              <a:pPr>
                <a:defRPr/>
              </a:pPr>
              <a:t>57</a:t>
            </a:fld>
            <a:endParaRPr lang="en-US" dirty="0"/>
          </a:p>
        </p:txBody>
      </p:sp>
      <p:sp>
        <p:nvSpPr>
          <p:cNvPr id="5" name="TextBox 4"/>
          <p:cNvSpPr txBox="1"/>
          <p:nvPr/>
        </p:nvSpPr>
        <p:spPr>
          <a:xfrm>
            <a:off x="7406138" y="2187713"/>
            <a:ext cx="4638378" cy="3539430"/>
          </a:xfrm>
          <a:prstGeom prst="rect">
            <a:avLst/>
          </a:prstGeom>
          <a:solidFill>
            <a:schemeClr val="bg1">
              <a:lumMod val="95000"/>
            </a:schemeClr>
          </a:solidFill>
          <a:ln>
            <a:noFill/>
          </a:ln>
        </p:spPr>
        <p:txBody>
          <a:bodyPr wrap="square">
            <a:spAutoFit/>
          </a:bodyPr>
          <a:lstStyle>
            <a:defPPr>
              <a:defRPr lang="en-US"/>
            </a:defPPr>
            <a:lvl2pPr marL="558686" lvl="1" indent="-448193" defTabSz="913770" fontAlgn="base">
              <a:lnSpc>
                <a:spcPct val="90000"/>
              </a:lnSpc>
              <a:spcBef>
                <a:spcPts val="1200"/>
              </a:spcBef>
              <a:spcAft>
                <a:spcPts val="1200"/>
              </a:spcAft>
              <a:buClr>
                <a:srgbClr val="68217A">
                  <a:lumMod val="50000"/>
                </a:srgbClr>
              </a:buClr>
              <a:buBlip>
                <a:blip r:embed="rId2"/>
              </a:buBlip>
              <a:tabLst>
                <a:tab pos="645523" algn="l"/>
              </a:tabLst>
              <a:defRPr sz="24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vl3pPr marL="1257300" lvl="2" indent="-342900">
              <a:spcBef>
                <a:spcPts val="1200"/>
              </a:spcBef>
              <a:spcAft>
                <a:spcPts val="1200"/>
              </a:spcAft>
              <a:buFont typeface="+mj-lt"/>
              <a:buAutoNum type="arabicPeriod"/>
              <a:defRPr sz="2000">
                <a:ln>
                  <a:solidFill>
                    <a:srgbClr val="FFFFFF">
                      <a:alpha val="0"/>
                    </a:srgbClr>
                  </a:solidFill>
                </a:ln>
                <a:gradFill>
                  <a:gsLst>
                    <a:gs pos="85321">
                      <a:srgbClr val="505050"/>
                    </a:gs>
                    <a:gs pos="57000">
                      <a:srgbClr val="505050"/>
                    </a:gs>
                  </a:gsLst>
                </a:gradFill>
                <a:ea typeface="Segoe UI" pitchFamily="34" charset="0"/>
                <a:cs typeface="Segoe UI" pitchFamily="34" charset="0"/>
              </a:defRPr>
            </a:lvl3pPr>
          </a:lstStyle>
          <a:p>
            <a:pPr lvl="1"/>
            <a:r>
              <a:rPr lang="en-US" sz="2000" dirty="0"/>
              <a:t>The HDInsight Spark Dashboard provides links to access:</a:t>
            </a:r>
          </a:p>
          <a:p>
            <a:pPr marL="1015886" lvl="2" indent="-448193" defTabSz="913770" fontAlgn="base">
              <a:buClr>
                <a:srgbClr val="68217A">
                  <a:lumMod val="50000"/>
                </a:srgbClr>
              </a:buClr>
              <a:buBlip>
                <a:blip r:embed="rId2"/>
              </a:buBlip>
            </a:pPr>
            <a:r>
              <a:rPr lang="en-US" sz="1600" dirty="0"/>
              <a:t>The </a:t>
            </a:r>
            <a:r>
              <a:rPr lang="en-US" sz="1600" b="1" dirty="0"/>
              <a:t>Spark UI </a:t>
            </a:r>
            <a:r>
              <a:rPr lang="en-US" sz="1600" dirty="0"/>
              <a:t>(the web-based UI to monitor a Spark cluster) </a:t>
            </a:r>
          </a:p>
          <a:p>
            <a:pPr marL="1015886" lvl="2" indent="-448193" defTabSz="913770" fontAlgn="base">
              <a:buClr>
                <a:srgbClr val="68217A">
                  <a:lumMod val="50000"/>
                </a:srgbClr>
              </a:buClr>
              <a:buBlip>
                <a:blip r:embed="rId2"/>
              </a:buBlip>
            </a:pPr>
            <a:r>
              <a:rPr lang="en-US" sz="1600" dirty="0"/>
              <a:t>The </a:t>
            </a:r>
            <a:r>
              <a:rPr lang="en-US" sz="1600" b="1" dirty="0"/>
              <a:t>Resource Manager </a:t>
            </a:r>
            <a:r>
              <a:rPr lang="en-US" sz="1600" dirty="0"/>
              <a:t>that controls the amount of resources allocated to various Spark cluster components</a:t>
            </a:r>
          </a:p>
          <a:p>
            <a:pPr marL="1015886" lvl="2" indent="-448193" defTabSz="913770" fontAlgn="base">
              <a:buClr>
                <a:srgbClr val="68217A">
                  <a:lumMod val="50000"/>
                </a:srgbClr>
              </a:buClr>
              <a:buBlip>
                <a:blip r:embed="rId2"/>
              </a:buBlip>
            </a:pPr>
            <a:r>
              <a:rPr lang="en-US" sz="1600" b="1" dirty="0"/>
              <a:t>Notebooks</a:t>
            </a:r>
            <a:r>
              <a:rPr lang="en-US" sz="1600" dirty="0"/>
              <a:t> – interactive web based tools to develop and run Spark programs  </a:t>
            </a:r>
          </a:p>
        </p:txBody>
      </p:sp>
      <p:pic>
        <p:nvPicPr>
          <p:cNvPr id="9" name="Picture 8"/>
          <p:cNvPicPr>
            <a:picLocks noChangeAspect="1"/>
          </p:cNvPicPr>
          <p:nvPr/>
        </p:nvPicPr>
        <p:blipFill>
          <a:blip r:embed="rId3"/>
          <a:stretch>
            <a:fillRect/>
          </a:stretch>
        </p:blipFill>
        <p:spPr>
          <a:xfrm>
            <a:off x="514462" y="1165161"/>
            <a:ext cx="6528158" cy="5187890"/>
          </a:xfrm>
          <a:prstGeom prst="rect">
            <a:avLst/>
          </a:prstGeom>
          <a:ln>
            <a:solidFill>
              <a:schemeClr val="bg2">
                <a:lumMod val="25000"/>
              </a:schemeClr>
            </a:solidFill>
          </a:ln>
        </p:spPr>
      </p:pic>
      <p:cxnSp>
        <p:nvCxnSpPr>
          <p:cNvPr id="8" name="Straight Arrow Connector 7"/>
          <p:cNvCxnSpPr/>
          <p:nvPr/>
        </p:nvCxnSpPr>
        <p:spPr>
          <a:xfrm flipH="1">
            <a:off x="6628308" y="3378299"/>
            <a:ext cx="1261405" cy="0"/>
          </a:xfrm>
          <a:prstGeom prst="straightConnector1">
            <a:avLst/>
          </a:prstGeom>
          <a:ln w="28575">
            <a:headEnd type="none"/>
            <a:tailEnd type="triangle"/>
          </a:ln>
        </p:spPr>
        <p:style>
          <a:lnRef idx="1">
            <a:schemeClr val="accent4"/>
          </a:lnRef>
          <a:fillRef idx="0">
            <a:schemeClr val="accent4"/>
          </a:fillRef>
          <a:effectRef idx="0">
            <a:schemeClr val="accent4"/>
          </a:effectRef>
          <a:fontRef idx="minor">
            <a:schemeClr val="tx1"/>
          </a:fontRef>
        </p:style>
      </p:cxnSp>
    </p:spTree>
    <p:extLst>
      <p:ext uri="{BB962C8B-B14F-4D97-AF65-F5344CB8AC3E}">
        <p14:creationId xmlns:p14="http://schemas.microsoft.com/office/powerpoint/2010/main" val="1726947712"/>
      </p:ext>
    </p:extLst>
  </p:cSld>
  <p:clrMapOvr>
    <a:masterClrMapping/>
  </p:clrMapOvr>
  <p:transition spd="med">
    <p:fade/>
  </p:transition>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HDInsight Spark Resource Manager</a:t>
            </a:r>
            <a:endParaRPr lang="en-US" dirty="0"/>
          </a:p>
        </p:txBody>
      </p:sp>
      <p:sp>
        <p:nvSpPr>
          <p:cNvPr id="3" name="Slide Number Placeholder 2"/>
          <p:cNvSpPr>
            <a:spLocks noGrp="1"/>
          </p:cNvSpPr>
          <p:nvPr>
            <p:ph type="sldNum" sz="quarter" idx="11"/>
          </p:nvPr>
        </p:nvSpPr>
        <p:spPr/>
        <p:txBody>
          <a:bodyPr/>
          <a:lstStyle/>
          <a:p>
            <a:pPr>
              <a:defRPr/>
            </a:pPr>
            <a:fld id="{F8A0AC42-AA1D-4944-8D96-660DE70C7E1B}" type="slidenum">
              <a:rPr lang="en-US" smtClean="0"/>
              <a:pPr>
                <a:defRPr/>
              </a:pPr>
              <a:t>58</a:t>
            </a:fld>
            <a:endParaRPr lang="en-US" dirty="0"/>
          </a:p>
        </p:txBody>
      </p:sp>
      <p:pic>
        <p:nvPicPr>
          <p:cNvPr id="4" name="Picture 3"/>
          <p:cNvPicPr>
            <a:picLocks noChangeAspect="1"/>
          </p:cNvPicPr>
          <p:nvPr/>
        </p:nvPicPr>
        <p:blipFill>
          <a:blip r:embed="rId2"/>
          <a:stretch>
            <a:fillRect/>
          </a:stretch>
        </p:blipFill>
        <p:spPr>
          <a:xfrm>
            <a:off x="392194" y="1586809"/>
            <a:ext cx="8252320" cy="4116660"/>
          </a:xfrm>
          <a:prstGeom prst="rect">
            <a:avLst/>
          </a:prstGeom>
          <a:ln>
            <a:solidFill>
              <a:schemeClr val="bg2">
                <a:lumMod val="50000"/>
              </a:schemeClr>
            </a:solidFill>
          </a:ln>
        </p:spPr>
      </p:pic>
      <p:sp>
        <p:nvSpPr>
          <p:cNvPr id="5" name="TextBox 4"/>
          <p:cNvSpPr txBox="1"/>
          <p:nvPr/>
        </p:nvSpPr>
        <p:spPr>
          <a:xfrm>
            <a:off x="8720523" y="1586809"/>
            <a:ext cx="3274142" cy="4093428"/>
          </a:xfrm>
          <a:prstGeom prst="rect">
            <a:avLst/>
          </a:prstGeom>
          <a:solidFill>
            <a:schemeClr val="bg1">
              <a:lumMod val="95000"/>
            </a:schemeClr>
          </a:solidFill>
          <a:ln>
            <a:noFill/>
          </a:ln>
        </p:spPr>
        <p:txBody>
          <a:bodyPr wrap="square">
            <a:spAutoFit/>
          </a:bodyPr>
          <a:lstStyle>
            <a:defPPr>
              <a:defRPr lang="en-US"/>
            </a:defPPr>
            <a:lvl2pPr marL="558686" lvl="1" indent="-448193" defTabSz="913770" fontAlgn="base">
              <a:lnSpc>
                <a:spcPct val="90000"/>
              </a:lnSpc>
              <a:spcBef>
                <a:spcPts val="1200"/>
              </a:spcBef>
              <a:spcAft>
                <a:spcPts val="1200"/>
              </a:spcAft>
              <a:buClr>
                <a:srgbClr val="68217A">
                  <a:lumMod val="50000"/>
                </a:srgbClr>
              </a:buClr>
              <a:buBlip>
                <a:blip r:embed="rId3"/>
              </a:buBlip>
              <a:tabLst>
                <a:tab pos="645523" algn="l"/>
              </a:tabLst>
              <a:defRPr sz="24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vl3pPr marL="1257300" lvl="2" indent="-342900">
              <a:spcBef>
                <a:spcPts val="1200"/>
              </a:spcBef>
              <a:spcAft>
                <a:spcPts val="1200"/>
              </a:spcAft>
              <a:buFont typeface="+mj-lt"/>
              <a:buAutoNum type="arabicPeriod"/>
              <a:defRPr sz="2000">
                <a:ln>
                  <a:solidFill>
                    <a:srgbClr val="FFFFFF">
                      <a:alpha val="0"/>
                    </a:srgbClr>
                  </a:solidFill>
                </a:ln>
                <a:gradFill>
                  <a:gsLst>
                    <a:gs pos="85321">
                      <a:srgbClr val="505050"/>
                    </a:gs>
                    <a:gs pos="57000">
                      <a:srgbClr val="505050"/>
                    </a:gs>
                  </a:gsLst>
                </a:gradFill>
                <a:ea typeface="Segoe UI" pitchFamily="34" charset="0"/>
                <a:cs typeface="Segoe UI" pitchFamily="34" charset="0"/>
              </a:defRPr>
            </a:lvl3pPr>
          </a:lstStyle>
          <a:p>
            <a:r>
              <a:rPr lang="en-US" sz="2000" dirty="0" smtClean="0">
                <a:solidFill>
                  <a:schemeClr val="bg2">
                    <a:lumMod val="50000"/>
                  </a:schemeClr>
                </a:solidFill>
              </a:rPr>
              <a:t>The Resource Manager enables you to control the number of cores and amount of memory allocated to Spark cluster components and notebooks.</a:t>
            </a:r>
          </a:p>
          <a:p>
            <a:endParaRPr lang="en-US" sz="2000" dirty="0" smtClean="0">
              <a:solidFill>
                <a:schemeClr val="bg2">
                  <a:lumMod val="50000"/>
                </a:schemeClr>
              </a:solidFill>
            </a:endParaRPr>
          </a:p>
          <a:p>
            <a:r>
              <a:rPr lang="en-US" sz="2000" dirty="0" smtClean="0">
                <a:solidFill>
                  <a:schemeClr val="bg2">
                    <a:lumMod val="50000"/>
                  </a:schemeClr>
                </a:solidFill>
              </a:rPr>
              <a:t>Increasing the resources allocated to the Thrift Server can potentially improve the performance with BI Tools</a:t>
            </a:r>
            <a:endParaRPr lang="en-US" sz="2000" dirty="0">
              <a:solidFill>
                <a:schemeClr val="bg2">
                  <a:lumMod val="50000"/>
                </a:schemeClr>
              </a:solidFill>
            </a:endParaRPr>
          </a:p>
        </p:txBody>
      </p:sp>
    </p:spTree>
    <p:extLst>
      <p:ext uri="{BB962C8B-B14F-4D97-AF65-F5344CB8AC3E}">
        <p14:creationId xmlns:p14="http://schemas.microsoft.com/office/powerpoint/2010/main" val="3650735338"/>
      </p:ext>
    </p:extLst>
  </p:cSld>
  <p:clrMapOvr>
    <a:masterClrMapping/>
  </p:clrMapOvr>
  <p:transition spd="med">
    <p:fade/>
  </p:transition>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sizing a HDInsight Spark Cluster</a:t>
            </a:r>
            <a:endParaRPr lang="en-US" dirty="0"/>
          </a:p>
        </p:txBody>
      </p:sp>
      <p:sp>
        <p:nvSpPr>
          <p:cNvPr id="3" name="Slide Number Placeholder 2"/>
          <p:cNvSpPr>
            <a:spLocks noGrp="1"/>
          </p:cNvSpPr>
          <p:nvPr>
            <p:ph type="sldNum" sz="quarter" idx="11"/>
          </p:nvPr>
        </p:nvSpPr>
        <p:spPr/>
        <p:txBody>
          <a:bodyPr/>
          <a:lstStyle/>
          <a:p>
            <a:pPr>
              <a:defRPr/>
            </a:pPr>
            <a:fld id="{F8A0AC42-AA1D-4944-8D96-660DE70C7E1B}" type="slidenum">
              <a:rPr lang="en-US" smtClean="0"/>
              <a:pPr>
                <a:defRPr/>
              </a:pPr>
              <a:t>59</a:t>
            </a:fld>
            <a:endParaRPr lang="en-US" dirty="0"/>
          </a:p>
        </p:txBody>
      </p:sp>
      <p:pic>
        <p:nvPicPr>
          <p:cNvPr id="4" name="Picture 3"/>
          <p:cNvPicPr>
            <a:picLocks noChangeAspect="1"/>
          </p:cNvPicPr>
          <p:nvPr/>
        </p:nvPicPr>
        <p:blipFill>
          <a:blip r:embed="rId2"/>
          <a:stretch>
            <a:fillRect/>
          </a:stretch>
        </p:blipFill>
        <p:spPr>
          <a:xfrm>
            <a:off x="412800" y="2380024"/>
            <a:ext cx="6754919" cy="2224979"/>
          </a:xfrm>
          <a:prstGeom prst="rect">
            <a:avLst/>
          </a:prstGeom>
          <a:ln>
            <a:solidFill>
              <a:schemeClr val="tx2">
                <a:lumMod val="40000"/>
                <a:lumOff val="60000"/>
              </a:schemeClr>
            </a:solidFill>
          </a:ln>
        </p:spPr>
      </p:pic>
      <p:sp>
        <p:nvSpPr>
          <p:cNvPr id="5" name="TextBox 4"/>
          <p:cNvSpPr txBox="1"/>
          <p:nvPr/>
        </p:nvSpPr>
        <p:spPr>
          <a:xfrm>
            <a:off x="7275871" y="2409521"/>
            <a:ext cx="4768645" cy="2182136"/>
          </a:xfrm>
          <a:prstGeom prst="rect">
            <a:avLst/>
          </a:prstGeom>
          <a:noFill/>
          <a:ln>
            <a:solidFill>
              <a:schemeClr val="tx2">
                <a:lumMod val="40000"/>
                <a:lumOff val="60000"/>
              </a:schemeClr>
            </a:solidFill>
          </a:ln>
        </p:spPr>
        <p:txBody>
          <a:bodyPr wrap="square">
            <a:spAutoFit/>
          </a:bodyPr>
          <a:lstStyle>
            <a:defPPr>
              <a:defRPr lang="en-US"/>
            </a:defPPr>
            <a:lvl2pPr marL="558686" lvl="1" indent="-448193" defTabSz="913770" fontAlgn="base">
              <a:lnSpc>
                <a:spcPct val="90000"/>
              </a:lnSpc>
              <a:spcBef>
                <a:spcPts val="1200"/>
              </a:spcBef>
              <a:spcAft>
                <a:spcPts val="1200"/>
              </a:spcAft>
              <a:buClr>
                <a:srgbClr val="68217A">
                  <a:lumMod val="50000"/>
                </a:srgbClr>
              </a:buClr>
              <a:buBlip>
                <a:blip r:embed="rId3"/>
              </a:buBlip>
              <a:tabLst>
                <a:tab pos="645523" algn="l"/>
              </a:tabLst>
              <a:defRPr sz="24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vl3pPr marL="1257300" lvl="2" indent="-342900">
              <a:spcBef>
                <a:spcPts val="1200"/>
              </a:spcBef>
              <a:spcAft>
                <a:spcPts val="1200"/>
              </a:spcAft>
              <a:buFont typeface="+mj-lt"/>
              <a:buAutoNum type="arabicPeriod"/>
              <a:defRPr sz="2000">
                <a:ln>
                  <a:solidFill>
                    <a:srgbClr val="FFFFFF">
                      <a:alpha val="0"/>
                    </a:srgbClr>
                  </a:solidFill>
                </a:ln>
                <a:gradFill>
                  <a:gsLst>
                    <a:gs pos="85321">
                      <a:srgbClr val="505050"/>
                    </a:gs>
                    <a:gs pos="57000">
                      <a:srgbClr val="505050"/>
                    </a:gs>
                  </a:gsLst>
                </a:gradFill>
                <a:ea typeface="Segoe UI" pitchFamily="34" charset="0"/>
                <a:cs typeface="Segoe UI" pitchFamily="34" charset="0"/>
              </a:defRPr>
            </a:lvl3pPr>
          </a:lstStyle>
          <a:p>
            <a:pPr lvl="1">
              <a:spcAft>
                <a:spcPts val="900"/>
              </a:spcAft>
            </a:pPr>
            <a:r>
              <a:rPr lang="en-US" sz="1600" dirty="0"/>
              <a:t>Like other HDInsight cluster types, the number of nodes in a Spark cluster can be increased dynamically</a:t>
            </a:r>
          </a:p>
          <a:p>
            <a:pPr lvl="1">
              <a:spcAft>
                <a:spcPts val="900"/>
              </a:spcAft>
            </a:pPr>
            <a:r>
              <a:rPr lang="en-US" sz="1600" dirty="0"/>
              <a:t>The cluster or the running jobs </a:t>
            </a:r>
            <a:r>
              <a:rPr lang="en-US" sz="1600" dirty="0" smtClean="0"/>
              <a:t>do </a:t>
            </a:r>
            <a:r>
              <a:rPr lang="en-US" sz="1600" dirty="0"/>
              <a:t>not have to be paused or </a:t>
            </a:r>
            <a:r>
              <a:rPr lang="en-US" sz="1600" dirty="0" smtClean="0"/>
              <a:t>stopped to resize</a:t>
            </a:r>
          </a:p>
          <a:p>
            <a:pPr lvl="1">
              <a:spcAft>
                <a:spcPts val="900"/>
              </a:spcAft>
            </a:pPr>
            <a:r>
              <a:rPr lang="en-US" sz="1600" dirty="0" smtClean="0"/>
              <a:t>Note: Performance of queries can also be improved by caching data in memory or SSD</a:t>
            </a:r>
          </a:p>
        </p:txBody>
      </p:sp>
    </p:spTree>
    <p:extLst>
      <p:ext uri="{BB962C8B-B14F-4D97-AF65-F5344CB8AC3E}">
        <p14:creationId xmlns:p14="http://schemas.microsoft.com/office/powerpoint/2010/main" val="4253118855"/>
      </p:ext>
    </p:extLst>
  </p:cSld>
  <p:clrMapOvr>
    <a:masterClrMapping/>
  </p:clrMapOvr>
  <p:transition spd="med">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5" name="Straight Arrow Connector 14"/>
          <p:cNvCxnSpPr>
            <a:endCxn id="10" idx="1"/>
          </p:cNvCxnSpPr>
          <p:nvPr/>
        </p:nvCxnSpPr>
        <p:spPr>
          <a:xfrm>
            <a:off x="10408134" y="1279547"/>
            <a:ext cx="15353" cy="4097081"/>
          </a:xfrm>
          <a:prstGeom prst="straightConnector1">
            <a:avLst/>
          </a:prstGeom>
          <a:ln w="38100">
            <a:solidFill>
              <a:schemeClr val="bg2">
                <a:lumMod val="90000"/>
              </a:schemeClr>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p:txBody>
          <a:bodyPr/>
          <a:lstStyle/>
          <a:p>
            <a:r>
              <a:rPr lang="en-US" dirty="0" smtClean="0"/>
              <a:t>Advantages of Unified Platform</a:t>
            </a:r>
            <a:endParaRPr lang="en-US" dirty="0"/>
          </a:p>
        </p:txBody>
      </p:sp>
      <p:sp>
        <p:nvSpPr>
          <p:cNvPr id="3" name="Slide Number Placeholder 2"/>
          <p:cNvSpPr>
            <a:spLocks noGrp="1"/>
          </p:cNvSpPr>
          <p:nvPr>
            <p:ph type="sldNum" sz="quarter" idx="11"/>
          </p:nvPr>
        </p:nvSpPr>
        <p:spPr>
          <a:xfrm>
            <a:off x="11353517" y="6437742"/>
            <a:ext cx="555597" cy="133860"/>
          </a:xfrm>
        </p:spPr>
        <p:txBody>
          <a:bodyPr/>
          <a:lstStyle/>
          <a:p>
            <a:pPr>
              <a:defRPr/>
            </a:pPr>
            <a:fld id="{F8A0AC42-AA1D-4944-8D96-660DE70C7E1B}" type="slidenum">
              <a:rPr lang="en-US" smtClean="0"/>
              <a:pPr>
                <a:defRPr/>
              </a:pPr>
              <a:t>6</a:t>
            </a:fld>
            <a:endParaRPr lang="en-US" dirty="0"/>
          </a:p>
        </p:txBody>
      </p:sp>
      <p:sp>
        <p:nvSpPr>
          <p:cNvPr id="4" name="TextBox 3"/>
          <p:cNvSpPr txBox="1"/>
          <p:nvPr/>
        </p:nvSpPr>
        <p:spPr>
          <a:xfrm>
            <a:off x="268927" y="1279547"/>
            <a:ext cx="8820482" cy="4518160"/>
          </a:xfrm>
          <a:prstGeom prst="rect">
            <a:avLst/>
          </a:prstGeom>
        </p:spPr>
        <p:txBody>
          <a:bodyPr wrap="square">
            <a:spAutoFit/>
          </a:bodyPr>
          <a:lstStyle>
            <a:defPPr>
              <a:defRPr lang="en-US"/>
            </a:defPPr>
            <a:lvl2pPr marL="52912" lvl="1" defTabSz="913770" fontAlgn="base">
              <a:spcBef>
                <a:spcPts val="588"/>
              </a:spcBef>
              <a:spcAft>
                <a:spcPts val="588"/>
              </a:spcAft>
              <a:buClr>
                <a:srgbClr val="68217A">
                  <a:lumMod val="50000"/>
                </a:srgbClr>
              </a:buClr>
              <a:tabLst>
                <a:tab pos="645523" algn="l"/>
              </a:tabLst>
              <a:defRPr sz="2353">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558686" lvl="1" indent="-448193">
              <a:lnSpc>
                <a:spcPct val="90000"/>
              </a:lnSpc>
              <a:spcAft>
                <a:spcPts val="600"/>
              </a:spcAft>
              <a:buBlip>
                <a:blip r:embed="rId2"/>
              </a:buBlip>
            </a:pPr>
            <a:r>
              <a:rPr lang="en-US" sz="2400" dirty="0"/>
              <a:t>Improves developer productivity—single consistent set of APIs</a:t>
            </a:r>
          </a:p>
          <a:p>
            <a:pPr marL="558686" lvl="1" indent="-448193">
              <a:lnSpc>
                <a:spcPct val="90000"/>
              </a:lnSpc>
              <a:spcAft>
                <a:spcPts val="600"/>
              </a:spcAft>
              <a:buBlip>
                <a:blip r:embed="rId2"/>
              </a:buBlip>
            </a:pPr>
            <a:r>
              <a:rPr lang="en-US" sz="2400" dirty="0" smtClean="0"/>
              <a:t>All </a:t>
            </a:r>
            <a:r>
              <a:rPr lang="en-US" sz="2400" dirty="0"/>
              <a:t>different systems in Spark share the same abstraction – RDDs (Resilient Distributed Datasets</a:t>
            </a:r>
            <a:r>
              <a:rPr lang="en-US" sz="2400" dirty="0" smtClean="0"/>
              <a:t>).</a:t>
            </a:r>
          </a:p>
          <a:p>
            <a:pPr marL="558686" lvl="1" indent="-448193">
              <a:lnSpc>
                <a:spcPct val="90000"/>
              </a:lnSpc>
              <a:spcAft>
                <a:spcPts val="600"/>
              </a:spcAft>
              <a:buBlip>
                <a:blip r:embed="rId2"/>
              </a:buBlip>
            </a:pPr>
            <a:r>
              <a:rPr lang="en-US" sz="2400" dirty="0" smtClean="0"/>
              <a:t>So can mix and match different kind of processing in the same application. This is a common requirement for many big data pipelines</a:t>
            </a:r>
          </a:p>
          <a:p>
            <a:pPr marL="558686" lvl="1" indent="-448193">
              <a:lnSpc>
                <a:spcPct val="90000"/>
              </a:lnSpc>
              <a:spcAft>
                <a:spcPts val="600"/>
              </a:spcAft>
              <a:buBlip>
                <a:blip r:embed="rId2"/>
              </a:buBlip>
            </a:pPr>
            <a:r>
              <a:rPr lang="en-US" sz="2400" dirty="0" smtClean="0"/>
              <a:t>Performance improves because unnecessary movement of data across engines is eliminated</a:t>
            </a:r>
          </a:p>
          <a:p>
            <a:pPr marL="110493" lvl="1">
              <a:lnSpc>
                <a:spcPct val="90000"/>
              </a:lnSpc>
              <a:spcAft>
                <a:spcPts val="600"/>
              </a:spcAft>
            </a:pPr>
            <a:endParaRPr lang="en-US" sz="2400" dirty="0" smtClean="0"/>
          </a:p>
          <a:p>
            <a:pPr marL="558686" lvl="1" indent="-448193">
              <a:lnSpc>
                <a:spcPct val="90000"/>
              </a:lnSpc>
              <a:spcAft>
                <a:spcPts val="600"/>
              </a:spcAft>
              <a:buBlip>
                <a:blip r:embed="rId2"/>
              </a:buBlip>
            </a:pPr>
            <a:endParaRPr lang="en-US" sz="2400" dirty="0"/>
          </a:p>
        </p:txBody>
      </p:sp>
      <p:sp>
        <p:nvSpPr>
          <p:cNvPr id="5" name="Rectangle 4"/>
          <p:cNvSpPr/>
          <p:nvPr/>
        </p:nvSpPr>
        <p:spPr bwMode="auto">
          <a:xfrm>
            <a:off x="9437439" y="1752544"/>
            <a:ext cx="1972095" cy="887755"/>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dirty="0" smtClean="0">
                <a:solidFill>
                  <a:schemeClr val="bg1"/>
                </a:solidFill>
                <a:ea typeface="Segoe UI" pitchFamily="34" charset="0"/>
                <a:cs typeface="Segoe UI" pitchFamily="34" charset="0"/>
              </a:rPr>
              <a:t>Spark Streaming</a:t>
            </a:r>
          </a:p>
        </p:txBody>
      </p:sp>
      <p:sp>
        <p:nvSpPr>
          <p:cNvPr id="6" name="Rectangle 5"/>
          <p:cNvSpPr/>
          <p:nvPr/>
        </p:nvSpPr>
        <p:spPr bwMode="auto">
          <a:xfrm>
            <a:off x="9437439" y="2938846"/>
            <a:ext cx="1972094" cy="82777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dirty="0" smtClean="0">
                <a:solidFill>
                  <a:schemeClr val="bg1"/>
                </a:solidFill>
                <a:ea typeface="Segoe UI" pitchFamily="34" charset="0"/>
                <a:cs typeface="Segoe UI" pitchFamily="34" charset="0"/>
              </a:rPr>
              <a:t>Machine Learning</a:t>
            </a:r>
          </a:p>
        </p:txBody>
      </p:sp>
      <p:sp>
        <p:nvSpPr>
          <p:cNvPr id="7" name="Rectangle 6"/>
          <p:cNvSpPr/>
          <p:nvPr/>
        </p:nvSpPr>
        <p:spPr bwMode="auto">
          <a:xfrm>
            <a:off x="9437439" y="4066279"/>
            <a:ext cx="1972095" cy="101068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dirty="0" smtClean="0">
                <a:solidFill>
                  <a:schemeClr val="bg1"/>
                </a:solidFill>
                <a:ea typeface="Segoe UI" pitchFamily="34" charset="0"/>
                <a:cs typeface="Segoe UI" pitchFamily="34" charset="0"/>
              </a:rPr>
              <a:t>Spark SQL </a:t>
            </a:r>
          </a:p>
        </p:txBody>
      </p:sp>
      <p:sp>
        <p:nvSpPr>
          <p:cNvPr id="9" name="TextBox 8"/>
          <p:cNvSpPr txBox="1"/>
          <p:nvPr/>
        </p:nvSpPr>
        <p:spPr>
          <a:xfrm>
            <a:off x="9437439" y="633216"/>
            <a:ext cx="1941391" cy="590931"/>
          </a:xfrm>
          <a:prstGeom prst="rect">
            <a:avLst/>
          </a:prstGeom>
          <a:solidFill>
            <a:schemeClr val="bg2">
              <a:lumMod val="90000"/>
            </a:schemeClr>
          </a:solidFill>
        </p:spPr>
        <p:txBody>
          <a:bodyPr wrap="square">
            <a:spAutoFit/>
          </a:bodyPr>
          <a:lstStyle>
            <a:defPPr>
              <a:defRPr lang="en-US"/>
            </a:defPPr>
            <a:lvl2pPr marL="52912" lvl="1" defTabSz="913770" fontAlgn="base">
              <a:spcBef>
                <a:spcPts val="588"/>
              </a:spcBef>
              <a:spcAft>
                <a:spcPts val="588"/>
              </a:spcAft>
              <a:buClr>
                <a:srgbClr val="68217A">
                  <a:lumMod val="50000"/>
                </a:srgbClr>
              </a:buClr>
              <a:tabLst>
                <a:tab pos="645523" algn="l"/>
              </a:tabLst>
              <a:defRPr sz="2353">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93" lvl="1" algn="ctr">
              <a:lnSpc>
                <a:spcPct val="90000"/>
              </a:lnSpc>
              <a:spcAft>
                <a:spcPts val="600"/>
              </a:spcAft>
            </a:pPr>
            <a:r>
              <a:rPr lang="en-US" sz="1800" dirty="0" smtClean="0"/>
              <a:t>Input Streams of Events</a:t>
            </a:r>
            <a:endParaRPr lang="en-US" sz="1800" dirty="0"/>
          </a:p>
        </p:txBody>
      </p:sp>
      <p:sp>
        <p:nvSpPr>
          <p:cNvPr id="10" name="Flowchart: Magnetic Disk 9"/>
          <p:cNvSpPr/>
          <p:nvPr/>
        </p:nvSpPr>
        <p:spPr bwMode="auto">
          <a:xfrm>
            <a:off x="9437439" y="5376628"/>
            <a:ext cx="1972095" cy="1228677"/>
          </a:xfrm>
          <a:prstGeom prst="flowChartMagneticDisk">
            <a:avLst/>
          </a:prstGeom>
          <a:solidFill>
            <a:schemeClr val="accent2"/>
          </a:solidFill>
          <a:ln>
            <a:solidFill>
              <a:schemeClr val="accent2">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dirty="0" smtClean="0">
              <a:solidFill>
                <a:schemeClr val="bg1"/>
              </a:solidFill>
              <a:ea typeface="Segoe UI" pitchFamily="34" charset="0"/>
              <a:cs typeface="Segoe UI" pitchFamily="34" charset="0"/>
            </a:endParaRPr>
          </a:p>
        </p:txBody>
      </p:sp>
      <p:sp>
        <p:nvSpPr>
          <p:cNvPr id="11" name="TextBox 10"/>
          <p:cNvSpPr txBox="1"/>
          <p:nvPr/>
        </p:nvSpPr>
        <p:spPr>
          <a:xfrm>
            <a:off x="9452791" y="5950022"/>
            <a:ext cx="1941391" cy="341632"/>
          </a:xfrm>
          <a:prstGeom prst="rect">
            <a:avLst/>
          </a:prstGeom>
        </p:spPr>
        <p:txBody>
          <a:bodyPr wrap="square">
            <a:spAutoFit/>
          </a:bodyPr>
          <a:lstStyle>
            <a:defPPr>
              <a:defRPr lang="en-US"/>
            </a:defPPr>
            <a:lvl2pPr marL="52912" lvl="1" defTabSz="913770" fontAlgn="base">
              <a:spcBef>
                <a:spcPts val="588"/>
              </a:spcBef>
              <a:spcAft>
                <a:spcPts val="588"/>
              </a:spcAft>
              <a:buClr>
                <a:srgbClr val="68217A">
                  <a:lumMod val="50000"/>
                </a:srgbClr>
              </a:buClr>
              <a:tabLst>
                <a:tab pos="645523" algn="l"/>
              </a:tabLst>
              <a:defRPr sz="2353">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93" lvl="1" algn="ctr">
              <a:lnSpc>
                <a:spcPct val="90000"/>
              </a:lnSpc>
              <a:spcAft>
                <a:spcPts val="600"/>
              </a:spcAft>
            </a:pPr>
            <a:r>
              <a:rPr lang="en-US" sz="1800" dirty="0" smtClean="0">
                <a:solidFill>
                  <a:schemeClr val="bg1"/>
                </a:solidFill>
              </a:rPr>
              <a:t>NoSQL DB</a:t>
            </a:r>
            <a:endParaRPr lang="en-US" sz="1800" dirty="0">
              <a:solidFill>
                <a:schemeClr val="bg1"/>
              </a:solidFill>
            </a:endParaRPr>
          </a:p>
        </p:txBody>
      </p:sp>
      <p:sp>
        <p:nvSpPr>
          <p:cNvPr id="16" name="Rectangle 15"/>
          <p:cNvSpPr/>
          <p:nvPr/>
        </p:nvSpPr>
        <p:spPr>
          <a:xfrm>
            <a:off x="847871" y="4896999"/>
            <a:ext cx="7369791" cy="816506"/>
          </a:xfrm>
          <a:prstGeom prst="rect">
            <a:avLst/>
          </a:prstGeom>
          <a:solidFill>
            <a:schemeClr val="accent5">
              <a:lumMod val="40000"/>
              <a:lumOff val="60000"/>
            </a:schemeClr>
          </a:solidFill>
        </p:spPr>
        <p:txBody>
          <a:bodyPr wrap="square">
            <a:spAutoFit/>
          </a:bodyPr>
          <a:lstStyle/>
          <a:p>
            <a:pPr marL="52912" lvl="1" defTabSz="913770" fontAlgn="base">
              <a:spcBef>
                <a:spcPts val="588"/>
              </a:spcBef>
              <a:spcAft>
                <a:spcPts val="588"/>
              </a:spcAft>
              <a:buClr>
                <a:srgbClr val="68217A">
                  <a:lumMod val="50000"/>
                </a:srgbClr>
              </a:buClr>
              <a:tabLst>
                <a:tab pos="645523" algn="l"/>
              </a:tabLst>
            </a:pPr>
            <a:r>
              <a:rPr lang="en-IN" sz="2353" dirty="0" smtClean="0">
                <a:ln>
                  <a:solidFill>
                    <a:srgbClr val="FFFFFF">
                      <a:alpha val="0"/>
                    </a:srgbClr>
                  </a:solidFill>
                </a:ln>
                <a:gradFill>
                  <a:gsLst>
                    <a:gs pos="85321">
                      <a:srgbClr val="505050"/>
                    </a:gs>
                    <a:gs pos="57000">
                      <a:srgbClr val="505050"/>
                    </a:gs>
                  </a:gsLst>
                </a:gradFill>
                <a:ea typeface="Segoe UI" pitchFamily="34" charset="0"/>
                <a:cs typeface="Segoe UI" pitchFamily="34" charset="0"/>
              </a:rPr>
              <a:t>In many pipelines, data exchange between engines is the dominant cost.</a:t>
            </a:r>
            <a:endParaRPr lang="en-IN" sz="2353" dirty="0">
              <a:ln>
                <a:solidFill>
                  <a:srgbClr val="FFFFFF">
                    <a:alpha val="0"/>
                  </a:srgbClr>
                </a:solidFill>
              </a:ln>
              <a:gradFill>
                <a:gsLst>
                  <a:gs pos="85321">
                    <a:srgbClr val="505050"/>
                  </a:gs>
                  <a:gs pos="57000">
                    <a:srgbClr val="505050"/>
                  </a:gs>
                </a:gsLst>
              </a:gradFill>
              <a:ea typeface="Segoe UI" pitchFamily="34" charset="0"/>
              <a:cs typeface="Segoe UI" pitchFamily="34" charset="0"/>
            </a:endParaRPr>
          </a:p>
        </p:txBody>
      </p:sp>
    </p:spTree>
    <p:extLst>
      <p:ext uri="{BB962C8B-B14F-4D97-AF65-F5344CB8AC3E}">
        <p14:creationId xmlns:p14="http://schemas.microsoft.com/office/powerpoint/2010/main" val="794828089"/>
      </p:ext>
    </p:extLst>
  </p:cSld>
  <p:clrMapOvr>
    <a:masterClrMapping/>
  </p:clrMapOvr>
  <p:transition spd="med">
    <p:fade/>
  </p:transition>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Notebooks: Jupyter and Zeppelin</a:t>
            </a:r>
            <a:endParaRPr lang="en-US" dirty="0"/>
          </a:p>
        </p:txBody>
      </p:sp>
      <p:sp>
        <p:nvSpPr>
          <p:cNvPr id="3" name="Slide Number Placeholder 2"/>
          <p:cNvSpPr>
            <a:spLocks noGrp="1"/>
          </p:cNvSpPr>
          <p:nvPr>
            <p:ph type="sldNum" sz="quarter" idx="11"/>
          </p:nvPr>
        </p:nvSpPr>
        <p:spPr/>
        <p:txBody>
          <a:bodyPr/>
          <a:lstStyle/>
          <a:p>
            <a:pPr>
              <a:defRPr/>
            </a:pPr>
            <a:fld id="{F8A0AC42-AA1D-4944-8D96-660DE70C7E1B}" type="slidenum">
              <a:rPr lang="en-US" smtClean="0"/>
              <a:pPr>
                <a:defRPr/>
              </a:pPr>
              <a:t>60</a:t>
            </a:fld>
            <a:endParaRPr lang="en-US" dirty="0"/>
          </a:p>
        </p:txBody>
      </p:sp>
      <p:grpSp>
        <p:nvGrpSpPr>
          <p:cNvPr id="9" name="Group 8"/>
          <p:cNvGrpSpPr/>
          <p:nvPr/>
        </p:nvGrpSpPr>
        <p:grpSpPr>
          <a:xfrm>
            <a:off x="875069" y="1592826"/>
            <a:ext cx="6764596" cy="4562168"/>
            <a:chOff x="2733368" y="1592826"/>
            <a:chExt cx="6666271" cy="4493188"/>
          </a:xfrm>
        </p:grpSpPr>
        <p:pic>
          <p:nvPicPr>
            <p:cNvPr id="6" name="Picture 5"/>
            <p:cNvPicPr>
              <a:picLocks noChangeAspect="1"/>
            </p:cNvPicPr>
            <p:nvPr/>
          </p:nvPicPr>
          <p:blipFill>
            <a:blip r:embed="rId2"/>
            <a:stretch>
              <a:fillRect/>
            </a:stretch>
          </p:blipFill>
          <p:spPr>
            <a:xfrm>
              <a:off x="3061054" y="1866439"/>
              <a:ext cx="6010275" cy="962025"/>
            </a:xfrm>
            <a:prstGeom prst="rect">
              <a:avLst/>
            </a:prstGeom>
          </p:spPr>
        </p:pic>
        <p:pic>
          <p:nvPicPr>
            <p:cNvPr id="7" name="Picture 6"/>
            <p:cNvPicPr>
              <a:picLocks noChangeAspect="1"/>
            </p:cNvPicPr>
            <p:nvPr/>
          </p:nvPicPr>
          <p:blipFill>
            <a:blip r:embed="rId3"/>
            <a:stretch>
              <a:fillRect/>
            </a:stretch>
          </p:blipFill>
          <p:spPr>
            <a:xfrm>
              <a:off x="3775429" y="2828464"/>
              <a:ext cx="4581525" cy="3257550"/>
            </a:xfrm>
            <a:prstGeom prst="rect">
              <a:avLst/>
            </a:prstGeom>
          </p:spPr>
        </p:pic>
        <p:sp>
          <p:nvSpPr>
            <p:cNvPr id="8" name="Rectangle 7"/>
            <p:cNvSpPr/>
            <p:nvPr/>
          </p:nvSpPr>
          <p:spPr bwMode="auto">
            <a:xfrm>
              <a:off x="2733368" y="1592826"/>
              <a:ext cx="6666271" cy="4493188"/>
            </a:xfrm>
            <a:prstGeom prst="rect">
              <a:avLst/>
            </a:prstGeom>
            <a:noFill/>
            <a:ln>
              <a:solidFill>
                <a:schemeClr val="tx2">
                  <a:lumMod val="40000"/>
                  <a:lumOff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smtClean="0">
                <a:solidFill>
                  <a:schemeClr val="bg1"/>
                </a:solidFill>
                <a:latin typeface="+mj-lt"/>
                <a:ea typeface="Segoe UI" pitchFamily="34" charset="0"/>
                <a:cs typeface="Segoe UI" pitchFamily="34" charset="0"/>
              </a:endParaRPr>
            </a:p>
          </p:txBody>
        </p:sp>
      </p:grpSp>
      <p:sp>
        <p:nvSpPr>
          <p:cNvPr id="10" name="TextBox 9"/>
          <p:cNvSpPr txBox="1"/>
          <p:nvPr/>
        </p:nvSpPr>
        <p:spPr>
          <a:xfrm>
            <a:off x="7670235" y="1592826"/>
            <a:ext cx="4134228" cy="4118050"/>
          </a:xfrm>
          <a:prstGeom prst="rect">
            <a:avLst/>
          </a:prstGeom>
          <a:solidFill>
            <a:schemeClr val="bg1">
              <a:lumMod val="95000"/>
            </a:schemeClr>
          </a:solidFill>
          <a:ln>
            <a:noFill/>
          </a:ln>
        </p:spPr>
        <p:txBody>
          <a:bodyPr wrap="square">
            <a:spAutoFit/>
          </a:bodyPr>
          <a:lstStyle>
            <a:defPPr>
              <a:defRPr lang="en-US"/>
            </a:defPPr>
            <a:lvl2pPr marL="558686" lvl="1" indent="-448193" defTabSz="913770" fontAlgn="base">
              <a:lnSpc>
                <a:spcPct val="90000"/>
              </a:lnSpc>
              <a:spcBef>
                <a:spcPts val="1200"/>
              </a:spcBef>
              <a:spcAft>
                <a:spcPts val="1200"/>
              </a:spcAft>
              <a:buClr>
                <a:srgbClr val="68217A">
                  <a:lumMod val="50000"/>
                </a:srgbClr>
              </a:buClr>
              <a:buBlip>
                <a:blip r:embed="rId4"/>
              </a:buBlip>
              <a:tabLst>
                <a:tab pos="645523" algn="l"/>
              </a:tabLst>
              <a:defRPr sz="24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vl3pPr marL="1257300" lvl="2" indent="-342900">
              <a:spcBef>
                <a:spcPts val="1200"/>
              </a:spcBef>
              <a:spcAft>
                <a:spcPts val="1200"/>
              </a:spcAft>
              <a:buFont typeface="+mj-lt"/>
              <a:buAutoNum type="arabicPeriod"/>
              <a:defRPr sz="2000">
                <a:ln>
                  <a:solidFill>
                    <a:srgbClr val="FFFFFF">
                      <a:alpha val="0"/>
                    </a:srgbClr>
                  </a:solidFill>
                </a:ln>
                <a:gradFill>
                  <a:gsLst>
                    <a:gs pos="85321">
                      <a:srgbClr val="505050"/>
                    </a:gs>
                    <a:gs pos="57000">
                      <a:srgbClr val="505050"/>
                    </a:gs>
                  </a:gsLst>
                </a:gradFill>
                <a:ea typeface="Segoe UI" pitchFamily="34" charset="0"/>
                <a:cs typeface="Segoe UI" pitchFamily="34" charset="0"/>
              </a:defRPr>
            </a:lvl3pPr>
          </a:lstStyle>
          <a:p>
            <a:pPr lvl="1"/>
            <a:r>
              <a:rPr lang="en-US" sz="1600" dirty="0"/>
              <a:t>HDInsight Spark supports two notebooks: Jupyter and </a:t>
            </a:r>
            <a:r>
              <a:rPr lang="en-US" sz="1600" dirty="0" smtClean="0"/>
              <a:t>Zeppelin</a:t>
            </a:r>
          </a:p>
          <a:p>
            <a:pPr lvl="1"/>
            <a:r>
              <a:rPr lang="en-US" sz="1600" dirty="0" smtClean="0"/>
              <a:t>The links to notebooks are available on the Dashboard</a:t>
            </a:r>
            <a:endParaRPr lang="en-US" sz="1600" dirty="0"/>
          </a:p>
          <a:p>
            <a:pPr lvl="1"/>
            <a:r>
              <a:rPr lang="en-US" sz="1600" dirty="0"/>
              <a:t>The notebooks are </a:t>
            </a:r>
            <a:r>
              <a:rPr lang="en-US" sz="1600" dirty="0" smtClean="0"/>
              <a:t>pre-installed and can be launched by just clicking on the links. No </a:t>
            </a:r>
            <a:r>
              <a:rPr lang="en-US" sz="1600" dirty="0"/>
              <a:t>other setup is required such as launching any background services. HDInsight Spark will start the Jupytr Kernels or Zeppelin </a:t>
            </a:r>
            <a:r>
              <a:rPr lang="en-US" sz="1600" dirty="0" smtClean="0"/>
              <a:t>Servers</a:t>
            </a:r>
            <a:endParaRPr lang="en-US" sz="1600" dirty="0"/>
          </a:p>
          <a:p>
            <a:pPr lvl="1"/>
            <a:r>
              <a:rPr lang="en-US" sz="1600" dirty="0"/>
              <a:t>The notebooks belong to a subscription and are persistent across clusters. </a:t>
            </a:r>
            <a:r>
              <a:rPr lang="en-US" sz="1600" dirty="0" smtClean="0"/>
              <a:t>They will </a:t>
            </a:r>
            <a:r>
              <a:rPr lang="en-US" sz="1600" dirty="0"/>
              <a:t>not </a:t>
            </a:r>
            <a:r>
              <a:rPr lang="en-US" sz="1600" dirty="0" smtClean="0"/>
              <a:t>be any </a:t>
            </a:r>
            <a:r>
              <a:rPr lang="en-US" sz="1600" dirty="0"/>
              <a:t>or all Spark cluster are shutdown. </a:t>
            </a:r>
            <a:endParaRPr lang="en-US" dirty="0" smtClean="0">
              <a:solidFill>
                <a:schemeClr val="tx1">
                  <a:lumMod val="65000"/>
                  <a:lumOff val="35000"/>
                </a:schemeClr>
              </a:solidFill>
            </a:endParaRPr>
          </a:p>
        </p:txBody>
      </p:sp>
    </p:spTree>
    <p:extLst>
      <p:ext uri="{BB962C8B-B14F-4D97-AF65-F5344CB8AC3E}">
        <p14:creationId xmlns:p14="http://schemas.microsoft.com/office/powerpoint/2010/main" val="4099915699"/>
      </p:ext>
    </p:extLst>
  </p:cSld>
  <p:clrMapOvr>
    <a:masterClrMapping/>
  </p:clrMapOvr>
  <p:transition spd="med">
    <p:fade/>
  </p:transition>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HDInsight Spark: Jupytr Notebooks</a:t>
            </a:r>
            <a:endParaRPr lang="en-US" dirty="0"/>
          </a:p>
        </p:txBody>
      </p:sp>
      <p:sp>
        <p:nvSpPr>
          <p:cNvPr id="3" name="Slide Number Placeholder 2"/>
          <p:cNvSpPr>
            <a:spLocks noGrp="1"/>
          </p:cNvSpPr>
          <p:nvPr>
            <p:ph type="sldNum" sz="quarter" idx="11"/>
          </p:nvPr>
        </p:nvSpPr>
        <p:spPr/>
        <p:txBody>
          <a:bodyPr/>
          <a:lstStyle/>
          <a:p>
            <a:pPr>
              <a:defRPr/>
            </a:pPr>
            <a:fld id="{F8A0AC42-AA1D-4944-8D96-660DE70C7E1B}" type="slidenum">
              <a:rPr lang="en-US" smtClean="0"/>
              <a:pPr>
                <a:defRPr/>
              </a:pPr>
              <a:t>61</a:t>
            </a:fld>
            <a:endParaRPr lang="en-US" dirty="0"/>
          </a:p>
        </p:txBody>
      </p:sp>
      <p:pic>
        <p:nvPicPr>
          <p:cNvPr id="6" name="Picture 5"/>
          <p:cNvPicPr>
            <a:picLocks noChangeAspect="1"/>
          </p:cNvPicPr>
          <p:nvPr/>
        </p:nvPicPr>
        <p:blipFill>
          <a:blip r:embed="rId2"/>
          <a:stretch>
            <a:fillRect/>
          </a:stretch>
        </p:blipFill>
        <p:spPr>
          <a:xfrm>
            <a:off x="399738" y="1735431"/>
            <a:ext cx="5771700" cy="4468724"/>
          </a:xfrm>
          <a:prstGeom prst="rect">
            <a:avLst/>
          </a:prstGeom>
          <a:ln>
            <a:solidFill>
              <a:schemeClr val="bg2">
                <a:lumMod val="50000"/>
              </a:schemeClr>
            </a:solidFill>
          </a:ln>
        </p:spPr>
      </p:pic>
      <p:sp>
        <p:nvSpPr>
          <p:cNvPr id="7" name="TextBox 6"/>
          <p:cNvSpPr txBox="1"/>
          <p:nvPr/>
        </p:nvSpPr>
        <p:spPr>
          <a:xfrm>
            <a:off x="399738" y="1305599"/>
            <a:ext cx="5771700" cy="338554"/>
          </a:xfrm>
          <a:prstGeom prst="rect">
            <a:avLst/>
          </a:prstGeom>
          <a:solidFill>
            <a:schemeClr val="accent1">
              <a:lumMod val="75000"/>
            </a:schemeClr>
          </a:solidFill>
          <a:ln>
            <a:noFill/>
          </a:ln>
        </p:spPr>
        <p:txBody>
          <a:bodyPr wrap="square">
            <a:spAutoFit/>
          </a:bodyPr>
          <a:lstStyle>
            <a:defPPr>
              <a:defRPr lang="en-US"/>
            </a:defPPr>
            <a:lvl2pPr marL="558686" lvl="1" indent="-448193" defTabSz="913770" fontAlgn="base">
              <a:lnSpc>
                <a:spcPct val="90000"/>
              </a:lnSpc>
              <a:spcBef>
                <a:spcPts val="1200"/>
              </a:spcBef>
              <a:spcAft>
                <a:spcPts val="1200"/>
              </a:spcAft>
              <a:buClr>
                <a:srgbClr val="68217A">
                  <a:lumMod val="50000"/>
                </a:srgbClr>
              </a:buClr>
              <a:buBlip>
                <a:blip r:embed="rId3"/>
              </a:buBlip>
              <a:tabLst>
                <a:tab pos="645523" algn="l"/>
              </a:tabLst>
              <a:defRPr sz="24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vl3pPr marL="1257300" lvl="2" indent="-342900">
              <a:spcBef>
                <a:spcPts val="1200"/>
              </a:spcBef>
              <a:spcAft>
                <a:spcPts val="1200"/>
              </a:spcAft>
              <a:buFont typeface="+mj-lt"/>
              <a:buAutoNum type="arabicPeriod"/>
              <a:defRPr sz="2000">
                <a:ln>
                  <a:solidFill>
                    <a:srgbClr val="FFFFFF">
                      <a:alpha val="0"/>
                    </a:srgbClr>
                  </a:solidFill>
                </a:ln>
                <a:gradFill>
                  <a:gsLst>
                    <a:gs pos="85321">
                      <a:srgbClr val="505050"/>
                    </a:gs>
                    <a:gs pos="57000">
                      <a:srgbClr val="505050"/>
                    </a:gs>
                  </a:gsLst>
                </a:gradFill>
                <a:ea typeface="Segoe UI" pitchFamily="34" charset="0"/>
                <a:cs typeface="Segoe UI" pitchFamily="34" charset="0"/>
              </a:defRPr>
            </a:lvl3pPr>
          </a:lstStyle>
          <a:p>
            <a:pPr algn="ctr"/>
            <a:r>
              <a:rPr lang="en-US" sz="1600" dirty="0" smtClean="0">
                <a:solidFill>
                  <a:schemeClr val="bg1"/>
                </a:solidFill>
              </a:rPr>
              <a:t>A Jupyter notebook showing a Spark program in Python 2</a:t>
            </a:r>
            <a:endParaRPr lang="en-US" sz="1600" dirty="0">
              <a:solidFill>
                <a:schemeClr val="bg1"/>
              </a:solidFill>
            </a:endParaRPr>
          </a:p>
        </p:txBody>
      </p:sp>
      <p:sp>
        <p:nvSpPr>
          <p:cNvPr id="8" name="TextBox 7"/>
          <p:cNvSpPr txBox="1"/>
          <p:nvPr/>
        </p:nvSpPr>
        <p:spPr>
          <a:xfrm>
            <a:off x="6226499" y="1723507"/>
            <a:ext cx="5709861" cy="4319644"/>
          </a:xfrm>
          <a:prstGeom prst="rect">
            <a:avLst/>
          </a:prstGeom>
          <a:solidFill>
            <a:schemeClr val="bg1">
              <a:lumMod val="95000"/>
            </a:schemeClr>
          </a:solidFill>
          <a:ln>
            <a:noFill/>
          </a:ln>
        </p:spPr>
        <p:txBody>
          <a:bodyPr wrap="square">
            <a:spAutoFit/>
          </a:bodyPr>
          <a:lstStyle>
            <a:defPPr>
              <a:defRPr lang="en-US"/>
            </a:defPPr>
            <a:lvl2pPr marL="558686" lvl="1" indent="-448193" defTabSz="913770" fontAlgn="base">
              <a:lnSpc>
                <a:spcPct val="90000"/>
              </a:lnSpc>
              <a:spcBef>
                <a:spcPts val="1200"/>
              </a:spcBef>
              <a:spcAft>
                <a:spcPts val="1200"/>
              </a:spcAft>
              <a:buClr>
                <a:srgbClr val="68217A">
                  <a:lumMod val="50000"/>
                </a:srgbClr>
              </a:buClr>
              <a:buBlip>
                <a:blip r:embed="rId3"/>
              </a:buBlip>
              <a:tabLst>
                <a:tab pos="645523" algn="l"/>
              </a:tabLst>
              <a:defRPr sz="24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vl3pPr marL="1257300" lvl="2" indent="-342900">
              <a:spcBef>
                <a:spcPts val="1200"/>
              </a:spcBef>
              <a:spcAft>
                <a:spcPts val="1200"/>
              </a:spcAft>
              <a:buFont typeface="+mj-lt"/>
              <a:buAutoNum type="arabicPeriod"/>
              <a:defRPr sz="2000">
                <a:ln>
                  <a:solidFill>
                    <a:srgbClr val="FFFFFF">
                      <a:alpha val="0"/>
                    </a:srgbClr>
                  </a:solidFill>
                </a:ln>
                <a:gradFill>
                  <a:gsLst>
                    <a:gs pos="85321">
                      <a:srgbClr val="505050"/>
                    </a:gs>
                    <a:gs pos="57000">
                      <a:srgbClr val="505050"/>
                    </a:gs>
                  </a:gsLst>
                </a:gradFill>
                <a:ea typeface="Segoe UI" pitchFamily="34" charset="0"/>
                <a:cs typeface="Segoe UI" pitchFamily="34" charset="0"/>
              </a:defRPr>
            </a:lvl3pPr>
          </a:lstStyle>
          <a:p>
            <a:pPr lvl="1">
              <a:spcAft>
                <a:spcPts val="900"/>
              </a:spcAft>
            </a:pPr>
            <a:r>
              <a:rPr lang="en-US" sz="1600" dirty="0"/>
              <a:t>You can select a particular cell and execute it by either entering Shift+Enter or clicking on the        icon. All the cells can be selected to run as well. Clicking on the  icon stops the execution</a:t>
            </a:r>
          </a:p>
          <a:p>
            <a:pPr lvl="1">
              <a:spcAft>
                <a:spcPts val="900"/>
              </a:spcAft>
            </a:pPr>
            <a:r>
              <a:rPr lang="en-US" sz="1600" dirty="0" smtClean="0"/>
              <a:t>You can Interrupt, Restart </a:t>
            </a:r>
            <a:r>
              <a:rPr lang="en-US" sz="1600" dirty="0"/>
              <a:t>or  Reconnect to a running kernel. </a:t>
            </a:r>
            <a:endParaRPr lang="en-US" sz="1600" dirty="0" smtClean="0"/>
          </a:p>
          <a:p>
            <a:pPr lvl="1">
              <a:spcAft>
                <a:spcPts val="900"/>
              </a:spcAft>
            </a:pPr>
            <a:r>
              <a:rPr lang="en-US" sz="1600" dirty="0" smtClean="0"/>
              <a:t>You </a:t>
            </a:r>
            <a:r>
              <a:rPr lang="en-US" sz="1600" dirty="0"/>
              <a:t>can also connect to a different kernel </a:t>
            </a:r>
            <a:r>
              <a:rPr lang="en-US" sz="1600" dirty="0" smtClean="0"/>
              <a:t>(however, currently </a:t>
            </a:r>
            <a:r>
              <a:rPr lang="en-US" sz="1600" dirty="0"/>
              <a:t>only Python Kernels are available</a:t>
            </a:r>
            <a:r>
              <a:rPr lang="en-US" sz="1600" dirty="0" smtClean="0"/>
              <a:t>)</a:t>
            </a:r>
          </a:p>
          <a:p>
            <a:pPr lvl="1">
              <a:spcAft>
                <a:spcPts val="900"/>
              </a:spcAft>
            </a:pPr>
            <a:r>
              <a:rPr lang="en-US" sz="1600" dirty="0" smtClean="0"/>
              <a:t>Notebooks can be duplicated or renamed. </a:t>
            </a:r>
            <a:endParaRPr lang="en-US" sz="1600" dirty="0"/>
          </a:p>
          <a:p>
            <a:pPr lvl="1">
              <a:spcAft>
                <a:spcPts val="900"/>
              </a:spcAft>
            </a:pPr>
            <a:r>
              <a:rPr lang="en-US" sz="1600" dirty="0" smtClean="0"/>
              <a:t>While editing you can save and checkpoint the changes and revert back to a checkpoint.</a:t>
            </a:r>
            <a:r>
              <a:rPr lang="en-US" sz="1600" dirty="0" smtClean="0">
                <a:solidFill>
                  <a:schemeClr val="tx1">
                    <a:lumMod val="65000"/>
                    <a:lumOff val="35000"/>
                  </a:schemeClr>
                </a:solidFill>
              </a:rPr>
              <a:t> </a:t>
            </a:r>
          </a:p>
          <a:p>
            <a:pPr lvl="1">
              <a:spcAft>
                <a:spcPts val="900"/>
              </a:spcAft>
            </a:pPr>
            <a:r>
              <a:rPr lang="en-US" sz="1600" dirty="0" smtClean="0">
                <a:solidFill>
                  <a:schemeClr val="tx1">
                    <a:lumMod val="65000"/>
                    <a:lumOff val="35000"/>
                  </a:schemeClr>
                </a:solidFill>
              </a:rPr>
              <a:t>On the main Jupytr console page, you can see the list of notebooks, the list of running notebooks </a:t>
            </a:r>
            <a:endParaRPr lang="en-US" sz="1600" dirty="0">
              <a:solidFill>
                <a:schemeClr val="tx1">
                  <a:lumMod val="65000"/>
                  <a:lumOff val="35000"/>
                </a:schemeClr>
              </a:solidFill>
            </a:endParaRPr>
          </a:p>
        </p:txBody>
      </p:sp>
      <p:pic>
        <p:nvPicPr>
          <p:cNvPr id="9" name="Picture 8"/>
          <p:cNvPicPr>
            <a:picLocks noChangeAspect="1"/>
          </p:cNvPicPr>
          <p:nvPr/>
        </p:nvPicPr>
        <p:blipFill>
          <a:blip r:embed="rId4"/>
          <a:stretch>
            <a:fillRect/>
          </a:stretch>
        </p:blipFill>
        <p:spPr>
          <a:xfrm>
            <a:off x="10343995" y="1970315"/>
            <a:ext cx="333375" cy="285750"/>
          </a:xfrm>
          <a:prstGeom prst="rect">
            <a:avLst/>
          </a:prstGeom>
        </p:spPr>
      </p:pic>
      <p:pic>
        <p:nvPicPr>
          <p:cNvPr id="10" name="Picture 9"/>
          <p:cNvPicPr>
            <a:picLocks noChangeAspect="1"/>
          </p:cNvPicPr>
          <p:nvPr/>
        </p:nvPicPr>
        <p:blipFill>
          <a:blip r:embed="rId5"/>
          <a:stretch>
            <a:fillRect/>
          </a:stretch>
        </p:blipFill>
        <p:spPr>
          <a:xfrm>
            <a:off x="11458918" y="2187241"/>
            <a:ext cx="352425" cy="304800"/>
          </a:xfrm>
          <a:prstGeom prst="rect">
            <a:avLst/>
          </a:prstGeom>
        </p:spPr>
      </p:pic>
    </p:spTree>
    <p:extLst>
      <p:ext uri="{BB962C8B-B14F-4D97-AF65-F5344CB8AC3E}">
        <p14:creationId xmlns:p14="http://schemas.microsoft.com/office/powerpoint/2010/main" val="1863038948"/>
      </p:ext>
    </p:extLst>
  </p:cSld>
  <p:clrMapOvr>
    <a:masterClrMapping/>
  </p:clrMapOvr>
  <p:transition spd="med">
    <p:fade/>
  </p:transition>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HDInsight Spark: Zeppelin Notebooks</a:t>
            </a:r>
            <a:endParaRPr lang="en-US" dirty="0"/>
          </a:p>
        </p:txBody>
      </p:sp>
      <p:sp>
        <p:nvSpPr>
          <p:cNvPr id="3" name="Slide Number Placeholder 2"/>
          <p:cNvSpPr>
            <a:spLocks noGrp="1"/>
          </p:cNvSpPr>
          <p:nvPr>
            <p:ph type="sldNum" sz="quarter" idx="11"/>
          </p:nvPr>
        </p:nvSpPr>
        <p:spPr/>
        <p:txBody>
          <a:bodyPr/>
          <a:lstStyle/>
          <a:p>
            <a:pPr>
              <a:defRPr/>
            </a:pPr>
            <a:fld id="{F8A0AC42-AA1D-4944-8D96-660DE70C7E1B}" type="slidenum">
              <a:rPr lang="en-US" smtClean="0"/>
              <a:pPr>
                <a:defRPr/>
              </a:pPr>
              <a:t>62</a:t>
            </a:fld>
            <a:endParaRPr lang="en-US" dirty="0"/>
          </a:p>
        </p:txBody>
      </p:sp>
      <p:pic>
        <p:nvPicPr>
          <p:cNvPr id="5" name="Picture 4"/>
          <p:cNvPicPr>
            <a:picLocks noChangeAspect="1"/>
          </p:cNvPicPr>
          <p:nvPr/>
        </p:nvPicPr>
        <p:blipFill>
          <a:blip r:embed="rId2"/>
          <a:stretch>
            <a:fillRect/>
          </a:stretch>
        </p:blipFill>
        <p:spPr>
          <a:xfrm>
            <a:off x="530942" y="1212380"/>
            <a:ext cx="7358403" cy="5237578"/>
          </a:xfrm>
          <a:prstGeom prst="rect">
            <a:avLst/>
          </a:prstGeom>
          <a:ln>
            <a:solidFill>
              <a:schemeClr val="bg2">
                <a:lumMod val="50000"/>
              </a:schemeClr>
            </a:solidFill>
          </a:ln>
        </p:spPr>
      </p:pic>
      <p:sp>
        <p:nvSpPr>
          <p:cNvPr id="6" name="TextBox 5"/>
          <p:cNvSpPr txBox="1"/>
          <p:nvPr/>
        </p:nvSpPr>
        <p:spPr>
          <a:xfrm>
            <a:off x="8236047" y="1139520"/>
            <a:ext cx="3305733" cy="523220"/>
          </a:xfrm>
          <a:prstGeom prst="rect">
            <a:avLst/>
          </a:prstGeom>
          <a:noFill/>
          <a:ln>
            <a:solidFill>
              <a:schemeClr val="bg2">
                <a:lumMod val="50000"/>
              </a:schemeClr>
            </a:solidFill>
          </a:ln>
        </p:spPr>
        <p:txBody>
          <a:bodyPr wrap="square">
            <a:spAutoFit/>
          </a:bodyPr>
          <a:lstStyle>
            <a:defPPr>
              <a:defRPr lang="en-US"/>
            </a:defPPr>
            <a:lvl2pPr marL="558686" lvl="1" indent="-448193" defTabSz="913770" fontAlgn="base">
              <a:lnSpc>
                <a:spcPct val="90000"/>
              </a:lnSpc>
              <a:spcBef>
                <a:spcPts val="1200"/>
              </a:spcBef>
              <a:spcAft>
                <a:spcPts val="1200"/>
              </a:spcAft>
              <a:buClr>
                <a:srgbClr val="68217A">
                  <a:lumMod val="50000"/>
                </a:srgbClr>
              </a:buClr>
              <a:buBlip>
                <a:blip r:embed="rId3"/>
              </a:buBlip>
              <a:tabLst>
                <a:tab pos="645523" algn="l"/>
              </a:tabLst>
              <a:defRPr sz="24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vl3pPr marL="1257300" lvl="2" indent="-342900">
              <a:spcBef>
                <a:spcPts val="1200"/>
              </a:spcBef>
              <a:spcAft>
                <a:spcPts val="1200"/>
              </a:spcAft>
              <a:buFont typeface="+mj-lt"/>
              <a:buAutoNum type="arabicPeriod"/>
              <a:defRPr sz="2000">
                <a:ln>
                  <a:solidFill>
                    <a:srgbClr val="FFFFFF">
                      <a:alpha val="0"/>
                    </a:srgbClr>
                  </a:solidFill>
                </a:ln>
                <a:gradFill>
                  <a:gsLst>
                    <a:gs pos="85321">
                      <a:srgbClr val="505050"/>
                    </a:gs>
                    <a:gs pos="57000">
                      <a:srgbClr val="505050"/>
                    </a:gs>
                  </a:gsLst>
                </a:gradFill>
                <a:ea typeface="Segoe UI" pitchFamily="34" charset="0"/>
                <a:cs typeface="Segoe UI" pitchFamily="34" charset="0"/>
              </a:defRPr>
            </a:lvl3pPr>
          </a:lstStyle>
          <a:p>
            <a:r>
              <a:rPr lang="en-US" sz="1400" dirty="0" smtClean="0">
                <a:solidFill>
                  <a:schemeClr val="bg2">
                    <a:lumMod val="50000"/>
                  </a:schemeClr>
                </a:solidFill>
              </a:rPr>
              <a:t>Zeppelin notebook must be connected to a Spark cluster to run</a:t>
            </a:r>
            <a:endParaRPr lang="en-US" sz="1400" dirty="0">
              <a:solidFill>
                <a:schemeClr val="bg2">
                  <a:lumMod val="50000"/>
                </a:schemeClr>
              </a:solidFill>
            </a:endParaRPr>
          </a:p>
        </p:txBody>
      </p:sp>
      <p:sp>
        <p:nvSpPr>
          <p:cNvPr id="9" name="TextBox 8"/>
          <p:cNvSpPr txBox="1"/>
          <p:nvPr/>
        </p:nvSpPr>
        <p:spPr>
          <a:xfrm>
            <a:off x="8236047" y="1943498"/>
            <a:ext cx="3305734" cy="523220"/>
          </a:xfrm>
          <a:prstGeom prst="rect">
            <a:avLst/>
          </a:prstGeom>
          <a:noFill/>
          <a:ln>
            <a:solidFill>
              <a:schemeClr val="bg2">
                <a:lumMod val="50000"/>
              </a:schemeClr>
            </a:solidFill>
          </a:ln>
        </p:spPr>
        <p:txBody>
          <a:bodyPr wrap="square">
            <a:spAutoFit/>
          </a:bodyPr>
          <a:lstStyle>
            <a:defPPr>
              <a:defRPr lang="en-US"/>
            </a:defPPr>
            <a:lvl2pPr marL="558686" lvl="1" indent="-448193" defTabSz="913770" fontAlgn="base">
              <a:lnSpc>
                <a:spcPct val="90000"/>
              </a:lnSpc>
              <a:spcBef>
                <a:spcPts val="1200"/>
              </a:spcBef>
              <a:spcAft>
                <a:spcPts val="1200"/>
              </a:spcAft>
              <a:buClr>
                <a:srgbClr val="68217A">
                  <a:lumMod val="50000"/>
                </a:srgbClr>
              </a:buClr>
              <a:buBlip>
                <a:blip r:embed="rId3"/>
              </a:buBlip>
              <a:tabLst>
                <a:tab pos="645523" algn="l"/>
              </a:tabLst>
              <a:defRPr sz="24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vl3pPr marL="1257300" lvl="2" indent="-342900">
              <a:spcBef>
                <a:spcPts val="1200"/>
              </a:spcBef>
              <a:spcAft>
                <a:spcPts val="1200"/>
              </a:spcAft>
              <a:buFont typeface="+mj-lt"/>
              <a:buAutoNum type="arabicPeriod"/>
              <a:defRPr sz="2000">
                <a:ln>
                  <a:solidFill>
                    <a:srgbClr val="FFFFFF">
                      <a:alpha val="0"/>
                    </a:srgbClr>
                  </a:solidFill>
                </a:ln>
                <a:gradFill>
                  <a:gsLst>
                    <a:gs pos="85321">
                      <a:srgbClr val="505050"/>
                    </a:gs>
                    <a:gs pos="57000">
                      <a:srgbClr val="505050"/>
                    </a:gs>
                  </a:gsLst>
                </a:gradFill>
                <a:ea typeface="Segoe UI" pitchFamily="34" charset="0"/>
                <a:cs typeface="Segoe UI" pitchFamily="34" charset="0"/>
              </a:defRPr>
            </a:lvl3pPr>
          </a:lstStyle>
          <a:p>
            <a:r>
              <a:rPr lang="en-US" sz="1400" dirty="0">
                <a:solidFill>
                  <a:schemeClr val="bg2">
                    <a:lumMod val="50000"/>
                  </a:schemeClr>
                </a:solidFill>
              </a:rPr>
              <a:t>A</a:t>
            </a:r>
            <a:r>
              <a:rPr lang="en-US" sz="1400" dirty="0" smtClean="0">
                <a:solidFill>
                  <a:schemeClr val="bg2">
                    <a:lumMod val="50000"/>
                  </a:schemeClr>
                </a:solidFill>
              </a:rPr>
              <a:t> notebook ‘paragraph’ can be executed by clicking this icon</a:t>
            </a:r>
            <a:endParaRPr lang="en-US" sz="1400" dirty="0">
              <a:solidFill>
                <a:schemeClr val="bg2">
                  <a:lumMod val="50000"/>
                </a:schemeClr>
              </a:solidFill>
            </a:endParaRPr>
          </a:p>
        </p:txBody>
      </p:sp>
      <p:cxnSp>
        <p:nvCxnSpPr>
          <p:cNvPr id="11" name="Straight Arrow Connector 10"/>
          <p:cNvCxnSpPr/>
          <p:nvPr/>
        </p:nvCxnSpPr>
        <p:spPr>
          <a:xfrm flipH="1">
            <a:off x="7894261" y="1406045"/>
            <a:ext cx="346702" cy="0"/>
          </a:xfrm>
          <a:prstGeom prst="straightConnector1">
            <a:avLst/>
          </a:prstGeom>
          <a:ln w="9525">
            <a:solidFill>
              <a:schemeClr val="bg2">
                <a:lumMod val="25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3" name="Elbow Connector 12"/>
          <p:cNvCxnSpPr/>
          <p:nvPr/>
        </p:nvCxnSpPr>
        <p:spPr>
          <a:xfrm rot="10800000">
            <a:off x="7184486" y="2087612"/>
            <a:ext cx="1051560" cy="137160"/>
          </a:xfrm>
          <a:prstGeom prst="bentConnector2">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4" name="TextBox 13"/>
          <p:cNvSpPr txBox="1"/>
          <p:nvPr/>
        </p:nvSpPr>
        <p:spPr>
          <a:xfrm>
            <a:off x="8274084" y="3107407"/>
            <a:ext cx="3267697" cy="2431435"/>
          </a:xfrm>
          <a:prstGeom prst="rect">
            <a:avLst/>
          </a:prstGeom>
          <a:noFill/>
          <a:ln>
            <a:solidFill>
              <a:schemeClr val="bg2">
                <a:lumMod val="50000"/>
              </a:schemeClr>
            </a:solidFill>
          </a:ln>
        </p:spPr>
        <p:txBody>
          <a:bodyPr wrap="square">
            <a:spAutoFit/>
          </a:bodyPr>
          <a:lstStyle>
            <a:defPPr>
              <a:defRPr lang="en-US"/>
            </a:defPPr>
            <a:lvl2pPr marL="558686" lvl="1" indent="-448193" defTabSz="913770" fontAlgn="base">
              <a:lnSpc>
                <a:spcPct val="90000"/>
              </a:lnSpc>
              <a:spcBef>
                <a:spcPts val="1200"/>
              </a:spcBef>
              <a:spcAft>
                <a:spcPts val="1200"/>
              </a:spcAft>
              <a:buClr>
                <a:srgbClr val="68217A">
                  <a:lumMod val="50000"/>
                </a:srgbClr>
              </a:buClr>
              <a:buBlip>
                <a:blip r:embed="rId3"/>
              </a:buBlip>
              <a:tabLst>
                <a:tab pos="645523" algn="l"/>
              </a:tabLst>
              <a:defRPr sz="24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vl3pPr marL="1257300" lvl="2" indent="-342900">
              <a:spcBef>
                <a:spcPts val="1200"/>
              </a:spcBef>
              <a:spcAft>
                <a:spcPts val="1200"/>
              </a:spcAft>
              <a:buFont typeface="+mj-lt"/>
              <a:buAutoNum type="arabicPeriod"/>
              <a:defRPr sz="2000">
                <a:ln>
                  <a:solidFill>
                    <a:srgbClr val="FFFFFF">
                      <a:alpha val="0"/>
                    </a:srgbClr>
                  </a:solidFill>
                </a:ln>
                <a:gradFill>
                  <a:gsLst>
                    <a:gs pos="85321">
                      <a:srgbClr val="505050"/>
                    </a:gs>
                    <a:gs pos="57000">
                      <a:srgbClr val="505050"/>
                    </a:gs>
                  </a:gsLst>
                </a:gradFill>
                <a:ea typeface="Segoe UI" pitchFamily="34" charset="0"/>
                <a:cs typeface="Segoe UI" pitchFamily="34" charset="0"/>
              </a:defRPr>
            </a:lvl3pPr>
          </a:lstStyle>
          <a:p>
            <a:pPr>
              <a:spcBef>
                <a:spcPts val="1200"/>
              </a:spcBef>
              <a:spcAft>
                <a:spcPts val="1200"/>
              </a:spcAft>
            </a:pPr>
            <a:r>
              <a:rPr lang="en-US" sz="1400" dirty="0" smtClean="0">
                <a:solidFill>
                  <a:schemeClr val="bg2">
                    <a:lumMod val="50000"/>
                  </a:schemeClr>
                </a:solidFill>
              </a:rPr>
              <a:t>Like Jupytr, Zeppelin enables interactive charts and graphs to be easily included in a notebook. </a:t>
            </a:r>
          </a:p>
          <a:p>
            <a:pPr>
              <a:spcBef>
                <a:spcPts val="1200"/>
              </a:spcBef>
              <a:spcAft>
                <a:spcPts val="1200"/>
              </a:spcAft>
            </a:pPr>
            <a:r>
              <a:rPr lang="en-US" sz="1400" dirty="0" smtClean="0">
                <a:solidFill>
                  <a:schemeClr val="bg2">
                    <a:lumMod val="50000"/>
                  </a:schemeClr>
                </a:solidFill>
              </a:rPr>
              <a:t>You can control the visualization using the “Settings” drop-down menu</a:t>
            </a:r>
          </a:p>
          <a:p>
            <a:pPr>
              <a:spcBef>
                <a:spcPts val="1200"/>
              </a:spcBef>
              <a:spcAft>
                <a:spcPts val="1200"/>
              </a:spcAft>
            </a:pPr>
            <a:r>
              <a:rPr lang="en-US" sz="1400" dirty="0" smtClean="0">
                <a:solidFill>
                  <a:schemeClr val="bg2">
                    <a:lumMod val="50000"/>
                  </a:schemeClr>
                </a:solidFill>
              </a:rPr>
              <a:t>A number of charts and graphs are already built into the Zeppelin  notebook</a:t>
            </a:r>
            <a:endParaRPr lang="en-US" sz="1400" dirty="0">
              <a:solidFill>
                <a:schemeClr val="bg2">
                  <a:lumMod val="50000"/>
                </a:schemeClr>
              </a:solidFill>
            </a:endParaRPr>
          </a:p>
        </p:txBody>
      </p:sp>
      <p:grpSp>
        <p:nvGrpSpPr>
          <p:cNvPr id="30" name="Group 29"/>
          <p:cNvGrpSpPr/>
          <p:nvPr/>
        </p:nvGrpSpPr>
        <p:grpSpPr>
          <a:xfrm>
            <a:off x="6469626" y="4522839"/>
            <a:ext cx="2556387" cy="127819"/>
            <a:chOff x="6469626" y="4522839"/>
            <a:chExt cx="2330245" cy="117987"/>
          </a:xfrm>
        </p:grpSpPr>
        <p:cxnSp>
          <p:nvCxnSpPr>
            <p:cNvPr id="27" name="Straight Arrow Connector 26"/>
            <p:cNvCxnSpPr/>
            <p:nvPr/>
          </p:nvCxnSpPr>
          <p:spPr>
            <a:xfrm flipH="1">
              <a:off x="6469626" y="4640826"/>
              <a:ext cx="2330245"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flipV="1">
              <a:off x="8799871" y="4522839"/>
              <a:ext cx="0" cy="117987"/>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531678338"/>
      </p:ext>
    </p:extLst>
  </p:cSld>
  <p:clrMapOvr>
    <a:masterClrMapping/>
  </p:clrMapOvr>
  <p:transition spd="med">
    <p:fade/>
  </p:transition>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achine Learning with Anaconda </a:t>
            </a:r>
            <a:endParaRPr lang="en-US" dirty="0"/>
          </a:p>
        </p:txBody>
      </p:sp>
      <p:sp>
        <p:nvSpPr>
          <p:cNvPr id="3" name="Slide Number Placeholder 2"/>
          <p:cNvSpPr>
            <a:spLocks noGrp="1"/>
          </p:cNvSpPr>
          <p:nvPr>
            <p:ph type="sldNum" sz="quarter" idx="11"/>
          </p:nvPr>
        </p:nvSpPr>
        <p:spPr/>
        <p:txBody>
          <a:bodyPr/>
          <a:lstStyle/>
          <a:p>
            <a:pPr>
              <a:defRPr/>
            </a:pPr>
            <a:fld id="{F8A0AC42-AA1D-4944-8D96-660DE70C7E1B}" type="slidenum">
              <a:rPr lang="en-US" smtClean="0"/>
              <a:pPr>
                <a:defRPr/>
              </a:pPr>
              <a:t>63</a:t>
            </a:fld>
            <a:endParaRPr lang="en-US" dirty="0"/>
          </a:p>
        </p:txBody>
      </p:sp>
      <p:sp>
        <p:nvSpPr>
          <p:cNvPr id="4" name="TextBox 3"/>
          <p:cNvSpPr txBox="1"/>
          <p:nvPr/>
        </p:nvSpPr>
        <p:spPr>
          <a:xfrm>
            <a:off x="518232" y="1467418"/>
            <a:ext cx="7091936" cy="2145203"/>
          </a:xfrm>
          <a:prstGeom prst="rect">
            <a:avLst/>
          </a:prstGeom>
          <a:solidFill>
            <a:schemeClr val="bg1"/>
          </a:solidFill>
          <a:ln>
            <a:noFill/>
          </a:ln>
        </p:spPr>
        <p:txBody>
          <a:bodyPr wrap="square">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2"/>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lvl="1">
              <a:spcBef>
                <a:spcPts val="600"/>
              </a:spcBef>
            </a:pPr>
            <a:r>
              <a:rPr lang="en-US" sz="1800" dirty="0" smtClean="0"/>
              <a:t>Anaconda is a free, </a:t>
            </a:r>
            <a:r>
              <a:rPr lang="en-US" sz="1800" dirty="0"/>
              <a:t>enterprise-ready Python distribution for large-scale data processing, predictive analytics, and scientific </a:t>
            </a:r>
            <a:r>
              <a:rPr lang="en-US" sz="1800" dirty="0" smtClean="0"/>
              <a:t>computing</a:t>
            </a:r>
          </a:p>
          <a:p>
            <a:pPr lvl="1">
              <a:spcBef>
                <a:spcPts val="600"/>
              </a:spcBef>
            </a:pPr>
            <a:r>
              <a:rPr lang="en-US" sz="1800" dirty="0" smtClean="0"/>
              <a:t>It include 330</a:t>
            </a:r>
            <a:r>
              <a:rPr lang="en-US" sz="1800" dirty="0"/>
              <a:t>+ of the </a:t>
            </a:r>
            <a:r>
              <a:rPr lang="en-US" sz="1800" dirty="0">
                <a:hlinkClick r:id="rId3"/>
              </a:rPr>
              <a:t>most popular Python packages</a:t>
            </a:r>
            <a:r>
              <a:rPr lang="en-US" sz="1800" dirty="0"/>
              <a:t> for science, math, engineering, data </a:t>
            </a:r>
            <a:r>
              <a:rPr lang="en-US" sz="1800" dirty="0" smtClean="0"/>
              <a:t>analysis</a:t>
            </a:r>
          </a:p>
          <a:p>
            <a:pPr lvl="1">
              <a:spcBef>
                <a:spcPts val="600"/>
              </a:spcBef>
            </a:pPr>
            <a:r>
              <a:rPr lang="en-US" sz="1800" dirty="0" smtClean="0">
                <a:ln>
                  <a:solidFill>
                    <a:srgbClr val="FFFFFF">
                      <a:alpha val="0"/>
                    </a:srgbClr>
                  </a:solidFill>
                </a:ln>
                <a:gradFill>
                  <a:gsLst>
                    <a:gs pos="85321">
                      <a:srgbClr val="505050"/>
                    </a:gs>
                    <a:gs pos="57000">
                      <a:srgbClr val="505050"/>
                    </a:gs>
                  </a:gsLst>
                </a:gradFill>
              </a:rPr>
              <a:t>Anaconda </a:t>
            </a:r>
            <a:r>
              <a:rPr lang="en-US" sz="1800" dirty="0" smtClean="0"/>
              <a:t>is installed as part of HDInsight Spark. The libraries will be updated at a regular cadence</a:t>
            </a:r>
            <a:endParaRPr lang="en-US" sz="1400" dirty="0">
              <a:ln>
                <a:solidFill>
                  <a:srgbClr val="FFFFFF">
                    <a:alpha val="0"/>
                  </a:srgbClr>
                </a:solidFill>
              </a:ln>
              <a:gradFill>
                <a:gsLst>
                  <a:gs pos="85321">
                    <a:srgbClr val="505050"/>
                  </a:gs>
                  <a:gs pos="57000">
                    <a:srgbClr val="505050"/>
                  </a:gs>
                </a:gsLst>
              </a:gradFill>
            </a:endParaRPr>
          </a:p>
        </p:txBody>
      </p:sp>
      <p:pic>
        <p:nvPicPr>
          <p:cNvPr id="2050" name="Picture 2" descr="https://store.continuum.io/static/img/anaconda_logo_web.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227859" y="1584683"/>
            <a:ext cx="2438400" cy="17049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61006861"/>
      </p:ext>
    </p:extLst>
  </p:cSld>
  <p:clrMapOvr>
    <a:masterClrMapping/>
  </p:clrMapOvr>
  <p:transition spd="med">
    <p:fade/>
  </p:transition>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treaming with Azure Event Hub</a:t>
            </a:r>
            <a:endParaRPr lang="en-US" dirty="0"/>
          </a:p>
        </p:txBody>
      </p:sp>
      <p:sp>
        <p:nvSpPr>
          <p:cNvPr id="3" name="Slide Number Placeholder 2"/>
          <p:cNvSpPr>
            <a:spLocks noGrp="1"/>
          </p:cNvSpPr>
          <p:nvPr>
            <p:ph type="sldNum" sz="quarter" idx="11"/>
          </p:nvPr>
        </p:nvSpPr>
        <p:spPr/>
        <p:txBody>
          <a:bodyPr/>
          <a:lstStyle/>
          <a:p>
            <a:pPr>
              <a:defRPr/>
            </a:pPr>
            <a:fld id="{F8A0AC42-AA1D-4944-8D96-660DE70C7E1B}" type="slidenum">
              <a:rPr lang="en-US" smtClean="0"/>
              <a:pPr>
                <a:defRPr/>
              </a:pPr>
              <a:t>64</a:t>
            </a:fld>
            <a:endParaRPr lang="en-US" dirty="0"/>
          </a:p>
        </p:txBody>
      </p:sp>
      <p:sp>
        <p:nvSpPr>
          <p:cNvPr id="4" name="TextBox 3"/>
          <p:cNvSpPr txBox="1"/>
          <p:nvPr/>
        </p:nvSpPr>
        <p:spPr>
          <a:xfrm>
            <a:off x="318852" y="1734592"/>
            <a:ext cx="10582700" cy="1898981"/>
          </a:xfrm>
          <a:prstGeom prst="rect">
            <a:avLst/>
          </a:prstGeom>
          <a:solidFill>
            <a:schemeClr val="bg1"/>
          </a:solidFill>
          <a:ln>
            <a:noFill/>
          </a:ln>
        </p:spPr>
        <p:txBody>
          <a:bodyPr wrap="square">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2"/>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lvl="1">
              <a:spcBef>
                <a:spcPts val="600"/>
              </a:spcBef>
            </a:pPr>
            <a:r>
              <a:rPr lang="en-US" sz="1800" dirty="0" smtClean="0"/>
              <a:t>HDInsight Spark Streaming integrates directly, out-of-the-box, with Azure Events</a:t>
            </a:r>
          </a:p>
          <a:p>
            <a:pPr lvl="1">
              <a:spcBef>
                <a:spcPts val="600"/>
              </a:spcBef>
            </a:pPr>
            <a:r>
              <a:rPr lang="en-US" sz="1800" dirty="0" smtClean="0"/>
              <a:t>HDInsight Spark Streaming applications can be authored using Zeppelin notebooks or other IDEs</a:t>
            </a:r>
          </a:p>
          <a:p>
            <a:pPr lvl="1">
              <a:spcBef>
                <a:spcPts val="600"/>
              </a:spcBef>
            </a:pPr>
            <a:r>
              <a:rPr lang="en-US" sz="1800" dirty="0"/>
              <a:t>Event hub watermark </a:t>
            </a:r>
            <a:r>
              <a:rPr lang="en-US" sz="1800" dirty="0" smtClean="0"/>
              <a:t>is </a:t>
            </a:r>
            <a:r>
              <a:rPr lang="en-US" sz="1800" dirty="0"/>
              <a:t>saved such </a:t>
            </a:r>
            <a:r>
              <a:rPr lang="en-US" sz="1800" dirty="0" smtClean="0"/>
              <a:t>that you </a:t>
            </a:r>
            <a:r>
              <a:rPr lang="en-US" sz="1800" dirty="0"/>
              <a:t>can start </a:t>
            </a:r>
            <a:r>
              <a:rPr lang="en-US" sz="1800" dirty="0" smtClean="0"/>
              <a:t>your </a:t>
            </a:r>
            <a:r>
              <a:rPr lang="en-US" sz="1800" dirty="0"/>
              <a:t>streaming job </a:t>
            </a:r>
            <a:r>
              <a:rPr lang="en-US" sz="1800" dirty="0" smtClean="0"/>
              <a:t>from where you left  it </a:t>
            </a:r>
          </a:p>
          <a:p>
            <a:pPr lvl="1">
              <a:spcBef>
                <a:spcPts val="600"/>
              </a:spcBef>
            </a:pPr>
            <a:r>
              <a:rPr lang="en-US" sz="1800" dirty="0" smtClean="0"/>
              <a:t>The output of Streaming can be directed to Power BI</a:t>
            </a:r>
          </a:p>
          <a:p>
            <a:pPr lvl="1">
              <a:spcBef>
                <a:spcPts val="600"/>
              </a:spcBef>
            </a:pPr>
            <a:endParaRPr lang="en-US" sz="1400" dirty="0">
              <a:ln>
                <a:solidFill>
                  <a:srgbClr val="FFFFFF">
                    <a:alpha val="0"/>
                  </a:srgbClr>
                </a:solidFill>
              </a:ln>
              <a:gradFill>
                <a:gsLst>
                  <a:gs pos="85321">
                    <a:srgbClr val="505050"/>
                  </a:gs>
                  <a:gs pos="57000">
                    <a:srgbClr val="505050"/>
                  </a:gs>
                </a:gsLst>
              </a:gradFill>
            </a:endParaRPr>
          </a:p>
        </p:txBody>
      </p:sp>
      <p:sp>
        <p:nvSpPr>
          <p:cNvPr id="5" name="Rectangle 4"/>
          <p:cNvSpPr/>
          <p:nvPr/>
        </p:nvSpPr>
        <p:spPr bwMode="auto">
          <a:xfrm>
            <a:off x="1641987" y="4010998"/>
            <a:ext cx="1917297" cy="1323001"/>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smtClean="0">
              <a:solidFill>
                <a:schemeClr val="bg1"/>
              </a:solidFill>
              <a:latin typeface="+mj-lt"/>
              <a:ea typeface="Segoe UI" pitchFamily="34" charset="0"/>
              <a:cs typeface="Segoe UI" pitchFamily="34" charset="0"/>
            </a:endParaRPr>
          </a:p>
        </p:txBody>
      </p:sp>
      <p:sp>
        <p:nvSpPr>
          <p:cNvPr id="6" name="Rectangle 5"/>
          <p:cNvSpPr/>
          <p:nvPr/>
        </p:nvSpPr>
        <p:spPr bwMode="auto">
          <a:xfrm>
            <a:off x="4670323" y="4010997"/>
            <a:ext cx="1897625" cy="1323003"/>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smtClean="0">
              <a:solidFill>
                <a:schemeClr val="bg1"/>
              </a:solidFill>
              <a:latin typeface="+mj-lt"/>
              <a:ea typeface="Segoe UI" pitchFamily="34" charset="0"/>
              <a:cs typeface="Segoe UI" pitchFamily="34" charset="0"/>
            </a:endParaRPr>
          </a:p>
        </p:txBody>
      </p:sp>
      <p:sp>
        <p:nvSpPr>
          <p:cNvPr id="9" name="Freeform 5"/>
          <p:cNvSpPr>
            <a:spLocks noEditPoints="1"/>
          </p:cNvSpPr>
          <p:nvPr/>
        </p:nvSpPr>
        <p:spPr bwMode="auto">
          <a:xfrm>
            <a:off x="2313141" y="4301329"/>
            <a:ext cx="619125" cy="725487"/>
          </a:xfrm>
          <a:custGeom>
            <a:avLst/>
            <a:gdLst>
              <a:gd name="T0" fmla="*/ 694 w 1666"/>
              <a:gd name="T1" fmla="*/ 1171 h 1956"/>
              <a:gd name="T2" fmla="*/ 694 w 1666"/>
              <a:gd name="T3" fmla="*/ 1171 h 1956"/>
              <a:gd name="T4" fmla="*/ 694 w 1666"/>
              <a:gd name="T5" fmla="*/ 1171 h 1956"/>
              <a:gd name="T6" fmla="*/ 694 w 1666"/>
              <a:gd name="T7" fmla="*/ 1586 h 1956"/>
              <a:gd name="T8" fmla="*/ 864 w 1666"/>
              <a:gd name="T9" fmla="*/ 1586 h 1956"/>
              <a:gd name="T10" fmla="*/ 597 w 1666"/>
              <a:gd name="T11" fmla="*/ 1956 h 1956"/>
              <a:gd name="T12" fmla="*/ 324 w 1666"/>
              <a:gd name="T13" fmla="*/ 1586 h 1956"/>
              <a:gd name="T14" fmla="*/ 489 w 1666"/>
              <a:gd name="T15" fmla="*/ 1586 h 1956"/>
              <a:gd name="T16" fmla="*/ 489 w 1666"/>
              <a:gd name="T17" fmla="*/ 1171 h 1956"/>
              <a:gd name="T18" fmla="*/ 694 w 1666"/>
              <a:gd name="T19" fmla="*/ 1171 h 1956"/>
              <a:gd name="T20" fmla="*/ 347 w 1666"/>
              <a:gd name="T21" fmla="*/ 548 h 1956"/>
              <a:gd name="T22" fmla="*/ 347 w 1666"/>
              <a:gd name="T23" fmla="*/ 690 h 1956"/>
              <a:gd name="T24" fmla="*/ 830 w 1666"/>
              <a:gd name="T25" fmla="*/ 690 h 1956"/>
              <a:gd name="T26" fmla="*/ 830 w 1666"/>
              <a:gd name="T27" fmla="*/ 548 h 1956"/>
              <a:gd name="T28" fmla="*/ 347 w 1666"/>
              <a:gd name="T29" fmla="*/ 548 h 1956"/>
              <a:gd name="T30" fmla="*/ 347 w 1666"/>
              <a:gd name="T31" fmla="*/ 754 h 1956"/>
              <a:gd name="T32" fmla="*/ 347 w 1666"/>
              <a:gd name="T33" fmla="*/ 896 h 1956"/>
              <a:gd name="T34" fmla="*/ 830 w 1666"/>
              <a:gd name="T35" fmla="*/ 896 h 1956"/>
              <a:gd name="T36" fmla="*/ 830 w 1666"/>
              <a:gd name="T37" fmla="*/ 754 h 1956"/>
              <a:gd name="T38" fmla="*/ 347 w 1666"/>
              <a:gd name="T39" fmla="*/ 754 h 1956"/>
              <a:gd name="T40" fmla="*/ 347 w 1666"/>
              <a:gd name="T41" fmla="*/ 963 h 1956"/>
              <a:gd name="T42" fmla="*/ 347 w 1666"/>
              <a:gd name="T43" fmla="*/ 1105 h 1956"/>
              <a:gd name="T44" fmla="*/ 830 w 1666"/>
              <a:gd name="T45" fmla="*/ 1105 h 1956"/>
              <a:gd name="T46" fmla="*/ 830 w 1666"/>
              <a:gd name="T47" fmla="*/ 963 h 1956"/>
              <a:gd name="T48" fmla="*/ 347 w 1666"/>
              <a:gd name="T49" fmla="*/ 963 h 1956"/>
              <a:gd name="T50" fmla="*/ 1336 w 1666"/>
              <a:gd name="T51" fmla="*/ 896 h 1956"/>
              <a:gd name="T52" fmla="*/ 1274 w 1666"/>
              <a:gd name="T53" fmla="*/ 896 h 1956"/>
              <a:gd name="T54" fmla="*/ 762 w 1666"/>
              <a:gd name="T55" fmla="*/ 228 h 1956"/>
              <a:gd name="T56" fmla="*/ 762 w 1666"/>
              <a:gd name="T57" fmla="*/ 426 h 1956"/>
              <a:gd name="T58" fmla="*/ 1054 w 1666"/>
              <a:gd name="T59" fmla="*/ 960 h 1956"/>
              <a:gd name="T60" fmla="*/ 1048 w 1666"/>
              <a:gd name="T61" fmla="*/ 1097 h 1956"/>
              <a:gd name="T62" fmla="*/ 1327 w 1666"/>
              <a:gd name="T63" fmla="*/ 1094 h 1956"/>
              <a:gd name="T64" fmla="*/ 1457 w 1666"/>
              <a:gd name="T65" fmla="*/ 1187 h 1956"/>
              <a:gd name="T66" fmla="*/ 1457 w 1666"/>
              <a:gd name="T67" fmla="*/ 1314 h 1956"/>
              <a:gd name="T68" fmla="*/ 762 w 1666"/>
              <a:gd name="T69" fmla="*/ 1314 h 1956"/>
              <a:gd name="T70" fmla="*/ 762 w 1666"/>
              <a:gd name="T71" fmla="*/ 1512 h 1956"/>
              <a:gd name="T72" fmla="*/ 1586 w 1666"/>
              <a:gd name="T73" fmla="*/ 1512 h 1956"/>
              <a:gd name="T74" fmla="*/ 1666 w 1666"/>
              <a:gd name="T75" fmla="*/ 1446 h 1956"/>
              <a:gd name="T76" fmla="*/ 1666 w 1666"/>
              <a:gd name="T77" fmla="*/ 1187 h 1956"/>
              <a:gd name="T78" fmla="*/ 1336 w 1666"/>
              <a:gd name="T79" fmla="*/ 896 h 1956"/>
              <a:gd name="T80" fmla="*/ 641 w 1666"/>
              <a:gd name="T81" fmla="*/ 0 h 1956"/>
              <a:gd name="T82" fmla="*/ 640 w 1666"/>
              <a:gd name="T83" fmla="*/ 0 h 1956"/>
              <a:gd name="T84" fmla="*/ 62 w 1666"/>
              <a:gd name="T85" fmla="*/ 0 h 1956"/>
              <a:gd name="T86" fmla="*/ 0 w 1666"/>
              <a:gd name="T87" fmla="*/ 70 h 1956"/>
              <a:gd name="T88" fmla="*/ 0 w 1666"/>
              <a:gd name="T89" fmla="*/ 1446 h 1956"/>
              <a:gd name="T90" fmla="*/ 80 w 1666"/>
              <a:gd name="T91" fmla="*/ 1512 h 1956"/>
              <a:gd name="T92" fmla="*/ 420 w 1666"/>
              <a:gd name="T93" fmla="*/ 1512 h 1956"/>
              <a:gd name="T94" fmla="*/ 420 w 1666"/>
              <a:gd name="T95" fmla="*/ 1314 h 1956"/>
              <a:gd name="T96" fmla="*/ 204 w 1666"/>
              <a:gd name="T97" fmla="*/ 1314 h 1956"/>
              <a:gd name="T98" fmla="*/ 204 w 1666"/>
              <a:gd name="T99" fmla="*/ 199 h 1956"/>
              <a:gd name="T100" fmla="*/ 489 w 1666"/>
              <a:gd name="T101" fmla="*/ 199 h 1956"/>
              <a:gd name="T102" fmla="*/ 489 w 1666"/>
              <a:gd name="T103" fmla="*/ 484 h 1956"/>
              <a:gd name="T104" fmla="*/ 694 w 1666"/>
              <a:gd name="T105" fmla="*/ 484 h 1956"/>
              <a:gd name="T106" fmla="*/ 694 w 1666"/>
              <a:gd name="T107" fmla="*/ 59 h 1956"/>
              <a:gd name="T108" fmla="*/ 641 w 1666"/>
              <a:gd name="T109" fmla="*/ 0 h 19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666" h="1956">
                <a:moveTo>
                  <a:pt x="694" y="1171"/>
                </a:moveTo>
                <a:cubicBezTo>
                  <a:pt x="694" y="1171"/>
                  <a:pt x="694" y="1171"/>
                  <a:pt x="694" y="1171"/>
                </a:cubicBezTo>
                <a:cubicBezTo>
                  <a:pt x="694" y="1171"/>
                  <a:pt x="694" y="1171"/>
                  <a:pt x="694" y="1171"/>
                </a:cubicBezTo>
                <a:cubicBezTo>
                  <a:pt x="694" y="1586"/>
                  <a:pt x="694" y="1586"/>
                  <a:pt x="694" y="1586"/>
                </a:cubicBezTo>
                <a:cubicBezTo>
                  <a:pt x="864" y="1586"/>
                  <a:pt x="864" y="1586"/>
                  <a:pt x="864" y="1586"/>
                </a:cubicBezTo>
                <a:cubicBezTo>
                  <a:pt x="597" y="1956"/>
                  <a:pt x="597" y="1956"/>
                  <a:pt x="597" y="1956"/>
                </a:cubicBezTo>
                <a:cubicBezTo>
                  <a:pt x="324" y="1586"/>
                  <a:pt x="324" y="1586"/>
                  <a:pt x="324" y="1586"/>
                </a:cubicBezTo>
                <a:cubicBezTo>
                  <a:pt x="489" y="1586"/>
                  <a:pt x="489" y="1586"/>
                  <a:pt x="489" y="1586"/>
                </a:cubicBezTo>
                <a:cubicBezTo>
                  <a:pt x="489" y="1171"/>
                  <a:pt x="489" y="1171"/>
                  <a:pt x="489" y="1171"/>
                </a:cubicBezTo>
                <a:cubicBezTo>
                  <a:pt x="694" y="1171"/>
                  <a:pt x="694" y="1171"/>
                  <a:pt x="694" y="1171"/>
                </a:cubicBezTo>
                <a:close/>
                <a:moveTo>
                  <a:pt x="347" y="548"/>
                </a:moveTo>
                <a:cubicBezTo>
                  <a:pt x="347" y="690"/>
                  <a:pt x="347" y="690"/>
                  <a:pt x="347" y="690"/>
                </a:cubicBezTo>
                <a:cubicBezTo>
                  <a:pt x="830" y="690"/>
                  <a:pt x="830" y="690"/>
                  <a:pt x="830" y="690"/>
                </a:cubicBezTo>
                <a:cubicBezTo>
                  <a:pt x="830" y="548"/>
                  <a:pt x="830" y="548"/>
                  <a:pt x="830" y="548"/>
                </a:cubicBezTo>
                <a:cubicBezTo>
                  <a:pt x="347" y="548"/>
                  <a:pt x="347" y="548"/>
                  <a:pt x="347" y="548"/>
                </a:cubicBezTo>
                <a:close/>
                <a:moveTo>
                  <a:pt x="347" y="754"/>
                </a:moveTo>
                <a:cubicBezTo>
                  <a:pt x="347" y="896"/>
                  <a:pt x="347" y="896"/>
                  <a:pt x="347" y="896"/>
                </a:cubicBezTo>
                <a:cubicBezTo>
                  <a:pt x="830" y="896"/>
                  <a:pt x="830" y="896"/>
                  <a:pt x="830" y="896"/>
                </a:cubicBezTo>
                <a:cubicBezTo>
                  <a:pt x="830" y="754"/>
                  <a:pt x="830" y="754"/>
                  <a:pt x="830" y="754"/>
                </a:cubicBezTo>
                <a:cubicBezTo>
                  <a:pt x="347" y="754"/>
                  <a:pt x="347" y="754"/>
                  <a:pt x="347" y="754"/>
                </a:cubicBezTo>
                <a:close/>
                <a:moveTo>
                  <a:pt x="347" y="963"/>
                </a:moveTo>
                <a:cubicBezTo>
                  <a:pt x="347" y="1105"/>
                  <a:pt x="347" y="1105"/>
                  <a:pt x="347" y="1105"/>
                </a:cubicBezTo>
                <a:cubicBezTo>
                  <a:pt x="830" y="1105"/>
                  <a:pt x="830" y="1105"/>
                  <a:pt x="830" y="1105"/>
                </a:cubicBezTo>
                <a:cubicBezTo>
                  <a:pt x="830" y="963"/>
                  <a:pt x="830" y="963"/>
                  <a:pt x="830" y="963"/>
                </a:cubicBezTo>
                <a:cubicBezTo>
                  <a:pt x="347" y="963"/>
                  <a:pt x="347" y="963"/>
                  <a:pt x="347" y="963"/>
                </a:cubicBezTo>
                <a:close/>
                <a:moveTo>
                  <a:pt x="1336" y="896"/>
                </a:moveTo>
                <a:cubicBezTo>
                  <a:pt x="1274" y="896"/>
                  <a:pt x="1274" y="896"/>
                  <a:pt x="1274" y="896"/>
                </a:cubicBezTo>
                <a:cubicBezTo>
                  <a:pt x="1242" y="484"/>
                  <a:pt x="1039" y="280"/>
                  <a:pt x="762" y="228"/>
                </a:cubicBezTo>
                <a:cubicBezTo>
                  <a:pt x="762" y="426"/>
                  <a:pt x="762" y="426"/>
                  <a:pt x="762" y="426"/>
                </a:cubicBezTo>
                <a:cubicBezTo>
                  <a:pt x="968" y="495"/>
                  <a:pt x="1048" y="696"/>
                  <a:pt x="1054" y="960"/>
                </a:cubicBezTo>
                <a:cubicBezTo>
                  <a:pt x="1048" y="1097"/>
                  <a:pt x="1048" y="1097"/>
                  <a:pt x="1048" y="1097"/>
                </a:cubicBezTo>
                <a:cubicBezTo>
                  <a:pt x="1327" y="1094"/>
                  <a:pt x="1327" y="1094"/>
                  <a:pt x="1327" y="1094"/>
                </a:cubicBezTo>
                <a:cubicBezTo>
                  <a:pt x="1401" y="1094"/>
                  <a:pt x="1457" y="1114"/>
                  <a:pt x="1457" y="1187"/>
                </a:cubicBezTo>
                <a:cubicBezTo>
                  <a:pt x="1457" y="1314"/>
                  <a:pt x="1457" y="1314"/>
                  <a:pt x="1457" y="1314"/>
                </a:cubicBezTo>
                <a:cubicBezTo>
                  <a:pt x="762" y="1314"/>
                  <a:pt x="762" y="1314"/>
                  <a:pt x="762" y="1314"/>
                </a:cubicBezTo>
                <a:cubicBezTo>
                  <a:pt x="762" y="1512"/>
                  <a:pt x="762" y="1512"/>
                  <a:pt x="762" y="1512"/>
                </a:cubicBezTo>
                <a:cubicBezTo>
                  <a:pt x="1586" y="1512"/>
                  <a:pt x="1586" y="1512"/>
                  <a:pt x="1586" y="1512"/>
                </a:cubicBezTo>
                <a:cubicBezTo>
                  <a:pt x="1632" y="1512"/>
                  <a:pt x="1666" y="1477"/>
                  <a:pt x="1666" y="1446"/>
                </a:cubicBezTo>
                <a:cubicBezTo>
                  <a:pt x="1666" y="1414"/>
                  <a:pt x="1666" y="1187"/>
                  <a:pt x="1666" y="1187"/>
                </a:cubicBezTo>
                <a:cubicBezTo>
                  <a:pt x="1666" y="1010"/>
                  <a:pt x="1516" y="896"/>
                  <a:pt x="1336" y="896"/>
                </a:cubicBezTo>
                <a:close/>
                <a:moveTo>
                  <a:pt x="641" y="0"/>
                </a:moveTo>
                <a:cubicBezTo>
                  <a:pt x="640" y="0"/>
                  <a:pt x="640" y="0"/>
                  <a:pt x="640" y="0"/>
                </a:cubicBezTo>
                <a:cubicBezTo>
                  <a:pt x="62" y="0"/>
                  <a:pt x="62" y="0"/>
                  <a:pt x="62" y="0"/>
                </a:cubicBezTo>
                <a:cubicBezTo>
                  <a:pt x="48" y="0"/>
                  <a:pt x="0" y="0"/>
                  <a:pt x="0" y="70"/>
                </a:cubicBezTo>
                <a:cubicBezTo>
                  <a:pt x="0" y="70"/>
                  <a:pt x="0" y="1425"/>
                  <a:pt x="0" y="1446"/>
                </a:cubicBezTo>
                <a:cubicBezTo>
                  <a:pt x="0" y="1477"/>
                  <a:pt x="35" y="1512"/>
                  <a:pt x="80" y="1512"/>
                </a:cubicBezTo>
                <a:cubicBezTo>
                  <a:pt x="420" y="1512"/>
                  <a:pt x="420" y="1512"/>
                  <a:pt x="420" y="1512"/>
                </a:cubicBezTo>
                <a:cubicBezTo>
                  <a:pt x="420" y="1314"/>
                  <a:pt x="420" y="1314"/>
                  <a:pt x="420" y="1314"/>
                </a:cubicBezTo>
                <a:cubicBezTo>
                  <a:pt x="204" y="1314"/>
                  <a:pt x="204" y="1314"/>
                  <a:pt x="204" y="1314"/>
                </a:cubicBezTo>
                <a:cubicBezTo>
                  <a:pt x="204" y="199"/>
                  <a:pt x="204" y="199"/>
                  <a:pt x="204" y="199"/>
                </a:cubicBezTo>
                <a:cubicBezTo>
                  <a:pt x="489" y="199"/>
                  <a:pt x="489" y="199"/>
                  <a:pt x="489" y="199"/>
                </a:cubicBezTo>
                <a:cubicBezTo>
                  <a:pt x="489" y="484"/>
                  <a:pt x="489" y="484"/>
                  <a:pt x="489" y="484"/>
                </a:cubicBezTo>
                <a:cubicBezTo>
                  <a:pt x="694" y="484"/>
                  <a:pt x="694" y="484"/>
                  <a:pt x="694" y="484"/>
                </a:cubicBezTo>
                <a:cubicBezTo>
                  <a:pt x="694" y="59"/>
                  <a:pt x="694" y="59"/>
                  <a:pt x="694" y="59"/>
                </a:cubicBezTo>
                <a:cubicBezTo>
                  <a:pt x="694" y="3"/>
                  <a:pt x="656" y="0"/>
                  <a:pt x="641" y="0"/>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p>
        </p:txBody>
      </p:sp>
      <p:cxnSp>
        <p:nvCxnSpPr>
          <p:cNvPr id="18" name="Straight Arrow Connector 17"/>
          <p:cNvCxnSpPr>
            <a:endCxn id="34" idx="1"/>
          </p:cNvCxnSpPr>
          <p:nvPr/>
        </p:nvCxnSpPr>
        <p:spPr>
          <a:xfrm flipV="1">
            <a:off x="6572874" y="4670588"/>
            <a:ext cx="1092279" cy="1912"/>
          </a:xfrm>
          <a:prstGeom prst="straightConnector1">
            <a:avLst/>
          </a:prstGeom>
          <a:ln w="38100">
            <a:solidFill>
              <a:schemeClr val="bg2">
                <a:lumMod val="50000"/>
              </a:schemeClr>
            </a:solidFill>
            <a:headEnd type="none"/>
            <a:tailEnd type="triangle"/>
          </a:ln>
        </p:spPr>
        <p:style>
          <a:lnRef idx="1">
            <a:schemeClr val="accent1"/>
          </a:lnRef>
          <a:fillRef idx="0">
            <a:schemeClr val="accent1"/>
          </a:fillRef>
          <a:effectRef idx="0">
            <a:schemeClr val="accent1"/>
          </a:effectRef>
          <a:fontRef idx="minor">
            <a:schemeClr val="tx1"/>
          </a:fontRef>
        </p:style>
      </p:cxnSp>
      <p:pic>
        <p:nvPicPr>
          <p:cNvPr id="19" name="Picture 18"/>
          <p:cNvPicPr/>
          <p:nvPr/>
        </p:nvPicPr>
        <p:blipFill>
          <a:blip r:embed="rId3">
            <a:duotone>
              <a:schemeClr val="bg2">
                <a:shade val="45000"/>
                <a:satMod val="135000"/>
              </a:schemeClr>
              <a:prstClr val="white"/>
            </a:duotone>
          </a:blip>
          <a:stretch>
            <a:fillRect/>
          </a:stretch>
        </p:blipFill>
        <p:spPr>
          <a:xfrm>
            <a:off x="5700416" y="4301329"/>
            <a:ext cx="759380" cy="678887"/>
          </a:xfrm>
          <a:prstGeom prst="rect">
            <a:avLst/>
          </a:prstGeom>
        </p:spPr>
      </p:pic>
      <p:cxnSp>
        <p:nvCxnSpPr>
          <p:cNvPr id="23" name="Straight Arrow Connector 22"/>
          <p:cNvCxnSpPr>
            <a:stCxn id="5" idx="3"/>
            <a:endCxn id="6" idx="1"/>
          </p:cNvCxnSpPr>
          <p:nvPr/>
        </p:nvCxnSpPr>
        <p:spPr>
          <a:xfrm>
            <a:off x="3559284" y="4672499"/>
            <a:ext cx="1111039" cy="0"/>
          </a:xfrm>
          <a:prstGeom prst="straightConnector1">
            <a:avLst/>
          </a:prstGeom>
          <a:ln w="38100">
            <a:solidFill>
              <a:schemeClr val="bg2">
                <a:lumMod val="50000"/>
              </a:schemeClr>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5" name="TextBox 24"/>
          <p:cNvSpPr txBox="1"/>
          <p:nvPr/>
        </p:nvSpPr>
        <p:spPr>
          <a:xfrm>
            <a:off x="1887794" y="5938684"/>
            <a:ext cx="914400" cy="914400"/>
          </a:xfrm>
          <a:prstGeom prst="rect">
            <a:avLst/>
          </a:prstGeom>
          <a:noFill/>
        </p:spPr>
        <p:txBody>
          <a:bodyPr wrap="none" lIns="182880" tIns="146304" rIns="182880" bIns="146304" rtlCol="0">
            <a:noAutofit/>
          </a:bodyPr>
          <a:lstStyle/>
          <a:p>
            <a:pPr>
              <a:lnSpc>
                <a:spcPct val="90000"/>
              </a:lnSpc>
              <a:spcAft>
                <a:spcPts val="600"/>
              </a:spcAft>
            </a:pPr>
            <a:endParaRPr lang="en-US" sz="2400" dirty="0" smtClean="0">
              <a:gradFill>
                <a:gsLst>
                  <a:gs pos="2917">
                    <a:schemeClr val="tx1"/>
                  </a:gs>
                  <a:gs pos="30000">
                    <a:schemeClr val="tx1"/>
                  </a:gs>
                </a:gsLst>
                <a:lin ang="5400000" scaled="0"/>
              </a:gradFill>
            </a:endParaRPr>
          </a:p>
        </p:txBody>
      </p:sp>
      <p:sp>
        <p:nvSpPr>
          <p:cNvPr id="26" name="TextBox 25"/>
          <p:cNvSpPr txBox="1"/>
          <p:nvPr/>
        </p:nvSpPr>
        <p:spPr>
          <a:xfrm>
            <a:off x="1696067" y="3642585"/>
            <a:ext cx="1809135" cy="355581"/>
          </a:xfrm>
          <a:prstGeom prst="rect">
            <a:avLst/>
          </a:prstGeom>
          <a:noFill/>
        </p:spPr>
        <p:txBody>
          <a:bodyPr wrap="none" lIns="182880" tIns="146304" rIns="182880" bIns="146304" rtlCol="0" anchor="ctr">
            <a:noAutofit/>
          </a:bodyPr>
          <a:lstStyle/>
          <a:p>
            <a:pPr>
              <a:lnSpc>
                <a:spcPct val="90000"/>
              </a:lnSpc>
              <a:spcAft>
                <a:spcPts val="600"/>
              </a:spcAft>
            </a:pPr>
            <a:r>
              <a:rPr lang="en-US" sz="1600" dirty="0" smtClean="0">
                <a:solidFill>
                  <a:schemeClr val="bg2">
                    <a:lumMod val="50000"/>
                  </a:schemeClr>
                </a:solidFill>
              </a:rPr>
              <a:t>Azure Event Hub</a:t>
            </a:r>
          </a:p>
        </p:txBody>
      </p:sp>
      <p:sp>
        <p:nvSpPr>
          <p:cNvPr id="27" name="TextBox 26"/>
          <p:cNvSpPr txBox="1"/>
          <p:nvPr/>
        </p:nvSpPr>
        <p:spPr>
          <a:xfrm>
            <a:off x="4286870" y="3642585"/>
            <a:ext cx="1809135" cy="355581"/>
          </a:xfrm>
          <a:prstGeom prst="rect">
            <a:avLst/>
          </a:prstGeom>
          <a:noFill/>
        </p:spPr>
        <p:txBody>
          <a:bodyPr wrap="none" lIns="182880" tIns="146304" rIns="182880" bIns="146304" rtlCol="0" anchor="ctr">
            <a:noAutofit/>
          </a:bodyPr>
          <a:lstStyle/>
          <a:p>
            <a:pPr>
              <a:lnSpc>
                <a:spcPct val="90000"/>
              </a:lnSpc>
              <a:spcAft>
                <a:spcPts val="600"/>
              </a:spcAft>
            </a:pPr>
            <a:r>
              <a:rPr lang="en-US" sz="1600" dirty="0" smtClean="0">
                <a:solidFill>
                  <a:schemeClr val="bg2">
                    <a:lumMod val="50000"/>
                  </a:schemeClr>
                </a:solidFill>
              </a:rPr>
              <a:t>HDInsight Spark Streaming</a:t>
            </a:r>
          </a:p>
        </p:txBody>
      </p:sp>
      <p:sp>
        <p:nvSpPr>
          <p:cNvPr id="28" name="TextBox 27"/>
          <p:cNvSpPr txBox="1"/>
          <p:nvPr/>
        </p:nvSpPr>
        <p:spPr>
          <a:xfrm>
            <a:off x="8216649" y="3657066"/>
            <a:ext cx="1253600" cy="355581"/>
          </a:xfrm>
          <a:prstGeom prst="rect">
            <a:avLst/>
          </a:prstGeom>
          <a:noFill/>
        </p:spPr>
        <p:txBody>
          <a:bodyPr wrap="none" lIns="182880" tIns="146304" rIns="182880" bIns="146304" rtlCol="0" anchor="ctr">
            <a:noAutofit/>
          </a:bodyPr>
          <a:lstStyle/>
          <a:p>
            <a:pPr>
              <a:lnSpc>
                <a:spcPct val="90000"/>
              </a:lnSpc>
              <a:spcAft>
                <a:spcPts val="600"/>
              </a:spcAft>
            </a:pPr>
            <a:r>
              <a:rPr lang="en-US" sz="1600" dirty="0" smtClean="0">
                <a:solidFill>
                  <a:schemeClr val="bg2">
                    <a:lumMod val="50000"/>
                  </a:schemeClr>
                </a:solidFill>
              </a:rPr>
              <a:t>Power BI</a:t>
            </a:r>
          </a:p>
        </p:txBody>
      </p:sp>
      <p:pic>
        <p:nvPicPr>
          <p:cNvPr id="29" name="Picture 2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772459" y="4301329"/>
            <a:ext cx="917963" cy="678887"/>
          </a:xfrm>
          <a:prstGeom prst="rect">
            <a:avLst/>
          </a:prstGeom>
          <a:solidFill>
            <a:schemeClr val="bg1"/>
          </a:solidFill>
        </p:spPr>
      </p:pic>
      <p:pic>
        <p:nvPicPr>
          <p:cNvPr id="30" name="Picture 29"/>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089087" y="5723776"/>
            <a:ext cx="830789" cy="830789"/>
          </a:xfrm>
          <a:prstGeom prst="rect">
            <a:avLst/>
          </a:prstGeom>
        </p:spPr>
      </p:pic>
      <p:cxnSp>
        <p:nvCxnSpPr>
          <p:cNvPr id="32" name="Straight Arrow Connector 31"/>
          <p:cNvCxnSpPr/>
          <p:nvPr/>
        </p:nvCxnSpPr>
        <p:spPr>
          <a:xfrm flipH="1" flipV="1">
            <a:off x="5555226" y="5346831"/>
            <a:ext cx="1" cy="524798"/>
          </a:xfrm>
          <a:prstGeom prst="straightConnector1">
            <a:avLst/>
          </a:prstGeom>
          <a:ln w="38100">
            <a:solidFill>
              <a:schemeClr val="bg2">
                <a:lumMod val="50000"/>
              </a:schemeClr>
            </a:solidFill>
            <a:headEnd type="none"/>
            <a:tailEnd type="triangle"/>
          </a:ln>
        </p:spPr>
        <p:style>
          <a:lnRef idx="1">
            <a:schemeClr val="accent1"/>
          </a:lnRef>
          <a:fillRef idx="0">
            <a:schemeClr val="accent1"/>
          </a:fillRef>
          <a:effectRef idx="0">
            <a:schemeClr val="accent1"/>
          </a:effectRef>
          <a:fontRef idx="minor">
            <a:schemeClr val="tx1"/>
          </a:fontRef>
        </p:style>
      </p:cxnSp>
      <p:pic>
        <p:nvPicPr>
          <p:cNvPr id="34" name="Picture 10" descr="https://www.twilio.com/blog/wp-content/uploads/2015/05/mspowerbi.jp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665153" y="4007177"/>
            <a:ext cx="2356592" cy="1326821"/>
          </a:xfrm>
          <a:prstGeom prst="rect">
            <a:avLst/>
          </a:prstGeom>
          <a:noFill/>
          <a:ln>
            <a:solidFill>
              <a:schemeClr val="bg2">
                <a:lumMod val="25000"/>
              </a:schemeClr>
            </a:solid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59902843"/>
      </p:ext>
    </p:extLst>
  </p:cSld>
  <p:clrMapOvr>
    <a:masterClrMapping/>
  </p:clrMapOvr>
  <p:transition spd="med">
    <p:fade/>
  </p:transition>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78426" y="325841"/>
            <a:ext cx="11513574" cy="927940"/>
          </a:xfrm>
        </p:spPr>
        <p:txBody>
          <a:bodyPr/>
          <a:lstStyle/>
          <a:p>
            <a:r>
              <a:rPr lang="en-US" sz="4800" dirty="0" smtClean="0"/>
              <a:t>Creating HDInsight Spark with Script Actions</a:t>
            </a:r>
            <a:endParaRPr lang="en-US" sz="4800" dirty="0"/>
          </a:p>
        </p:txBody>
      </p:sp>
      <p:sp>
        <p:nvSpPr>
          <p:cNvPr id="3" name="Slide Number Placeholder 2"/>
          <p:cNvSpPr>
            <a:spLocks noGrp="1"/>
          </p:cNvSpPr>
          <p:nvPr>
            <p:ph type="sldNum" sz="quarter" idx="11"/>
          </p:nvPr>
        </p:nvSpPr>
        <p:spPr/>
        <p:txBody>
          <a:bodyPr/>
          <a:lstStyle/>
          <a:p>
            <a:pPr>
              <a:defRPr/>
            </a:pPr>
            <a:fld id="{F8A0AC42-AA1D-4944-8D96-660DE70C7E1B}" type="slidenum">
              <a:rPr lang="en-US" smtClean="0"/>
              <a:pPr>
                <a:defRPr/>
              </a:pPr>
              <a:t>65</a:t>
            </a:fld>
            <a:endParaRPr lang="en-US" dirty="0"/>
          </a:p>
        </p:txBody>
      </p:sp>
      <p:sp>
        <p:nvSpPr>
          <p:cNvPr id="4" name="TextBox 3"/>
          <p:cNvSpPr txBox="1"/>
          <p:nvPr/>
        </p:nvSpPr>
        <p:spPr>
          <a:xfrm>
            <a:off x="518232" y="1467418"/>
            <a:ext cx="4852421" cy="5238357"/>
          </a:xfrm>
          <a:prstGeom prst="rect">
            <a:avLst/>
          </a:prstGeom>
          <a:solidFill>
            <a:schemeClr val="bg1"/>
          </a:solidFill>
          <a:ln>
            <a:noFill/>
          </a:ln>
        </p:spPr>
        <p:txBody>
          <a:bodyPr wrap="square">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2"/>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lvl="1">
              <a:spcBef>
                <a:spcPts val="600"/>
              </a:spcBef>
            </a:pPr>
            <a:r>
              <a:rPr lang="en-US" sz="2000" dirty="0"/>
              <a:t>You can install Spark on a HDInsight cluster using Script </a:t>
            </a:r>
            <a:r>
              <a:rPr lang="en-US" sz="2000" dirty="0" smtClean="0"/>
              <a:t>Actions using the Wizard</a:t>
            </a:r>
          </a:p>
          <a:p>
            <a:pPr lvl="2" indent="-285750">
              <a:spcBef>
                <a:spcPts val="600"/>
              </a:spcBef>
              <a:buFont typeface="Arial" panose="020B0604020202020204" pitchFamily="34" charset="0"/>
              <a:buChar char="•"/>
            </a:pPr>
            <a:r>
              <a:rPr lang="en-US" dirty="0" smtClean="0">
                <a:solidFill>
                  <a:schemeClr val="tx1">
                    <a:lumMod val="65000"/>
                    <a:lumOff val="35000"/>
                  </a:schemeClr>
                </a:solidFill>
              </a:rPr>
              <a:t>Script Actions are a generic mechanism to install custom software while HDInsight clusters are being provisioned</a:t>
            </a:r>
            <a:r>
              <a:rPr lang="en-US" sz="1000" dirty="0" smtClean="0">
                <a:solidFill>
                  <a:schemeClr val="tx1">
                    <a:lumMod val="65000"/>
                    <a:lumOff val="35000"/>
                  </a:schemeClr>
                </a:solidFill>
              </a:rPr>
              <a:t>.</a:t>
            </a:r>
            <a:endParaRPr lang="en-US" sz="1000" dirty="0">
              <a:solidFill>
                <a:schemeClr val="tx1">
                  <a:lumMod val="65000"/>
                  <a:lumOff val="35000"/>
                </a:schemeClr>
              </a:solidFill>
            </a:endParaRPr>
          </a:p>
          <a:p>
            <a:pPr lvl="1">
              <a:spcBef>
                <a:spcPts val="1200"/>
              </a:spcBef>
            </a:pPr>
            <a:r>
              <a:rPr lang="en-US" sz="2000" dirty="0"/>
              <a:t>A default script is already provided at:</a:t>
            </a:r>
            <a:br>
              <a:rPr lang="en-US" sz="2000" dirty="0"/>
            </a:br>
            <a:r>
              <a:rPr lang="en-US" sz="2000" dirty="0">
                <a:hlinkClick r:id="rId3"/>
              </a:rPr>
              <a:t>https://</a:t>
            </a:r>
            <a:r>
              <a:rPr lang="en-US" sz="2000" dirty="0" smtClean="0">
                <a:hlinkClick r:id="rId3"/>
              </a:rPr>
              <a:t>hdiconfigactions.blob.core.windows.net/sparkconfigactionv03/spark-installer-v03.ps1</a:t>
            </a:r>
            <a:endParaRPr lang="en-US" sz="2000" dirty="0" smtClean="0"/>
          </a:p>
          <a:p>
            <a:pPr lvl="1">
              <a:spcBef>
                <a:spcPts val="1200"/>
              </a:spcBef>
              <a:spcAft>
                <a:spcPts val="0"/>
              </a:spcAft>
            </a:pPr>
            <a:r>
              <a:rPr lang="en-US" sz="2000" dirty="0" smtClean="0"/>
              <a:t>By default the script installs:</a:t>
            </a:r>
          </a:p>
          <a:p>
            <a:pPr lvl="2" indent="-285750">
              <a:spcBef>
                <a:spcPts val="600"/>
              </a:spcBef>
              <a:buFont typeface="Arial" panose="020B0604020202020204" pitchFamily="34" charset="0"/>
              <a:buChar char="•"/>
            </a:pPr>
            <a:r>
              <a:rPr lang="en-US" dirty="0" smtClean="0">
                <a:solidFill>
                  <a:schemeClr val="tx1">
                    <a:lumMod val="75000"/>
                    <a:lumOff val="25000"/>
                  </a:schemeClr>
                </a:solidFill>
              </a:rPr>
              <a:t>Spark </a:t>
            </a:r>
            <a:r>
              <a:rPr lang="en-US" dirty="0">
                <a:solidFill>
                  <a:schemeClr val="tx1">
                    <a:lumMod val="75000"/>
                    <a:lumOff val="25000"/>
                  </a:schemeClr>
                </a:solidFill>
              </a:rPr>
              <a:t>1.2.0 on HDInsight 3.2 clusters</a:t>
            </a:r>
          </a:p>
          <a:p>
            <a:pPr lvl="2" indent="-285750">
              <a:spcBef>
                <a:spcPts val="600"/>
              </a:spcBef>
              <a:buFont typeface="Arial" panose="020B0604020202020204" pitchFamily="34" charset="0"/>
              <a:buChar char="•"/>
            </a:pPr>
            <a:r>
              <a:rPr lang="en-US" dirty="0">
                <a:solidFill>
                  <a:schemeClr val="tx1">
                    <a:lumMod val="75000"/>
                    <a:lumOff val="25000"/>
                  </a:schemeClr>
                </a:solidFill>
              </a:rPr>
              <a:t>Spark 1.0.2 on HDInsight 3.1 clusters</a:t>
            </a:r>
          </a:p>
          <a:p>
            <a:pPr marL="110493" lvl="1" indent="0">
              <a:spcBef>
                <a:spcPts val="600"/>
              </a:spcBef>
              <a:buNone/>
            </a:pPr>
            <a:r>
              <a:rPr lang="en-US" sz="1600" dirty="0" smtClean="0"/>
              <a:t> </a:t>
            </a:r>
            <a:endParaRPr lang="en-US" sz="1600" dirty="0">
              <a:ln>
                <a:solidFill>
                  <a:srgbClr val="FFFFFF">
                    <a:alpha val="0"/>
                  </a:srgbClr>
                </a:solidFill>
              </a:ln>
              <a:gradFill>
                <a:gsLst>
                  <a:gs pos="85321">
                    <a:srgbClr val="505050"/>
                  </a:gs>
                  <a:gs pos="57000">
                    <a:srgbClr val="505050"/>
                  </a:gs>
                </a:gsLst>
              </a:gradFill>
            </a:endParaRPr>
          </a:p>
        </p:txBody>
      </p:sp>
      <p:pic>
        <p:nvPicPr>
          <p:cNvPr id="21506" name="Picture 2" descr="Use Script Action to customize a cluste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626066" y="1849385"/>
            <a:ext cx="6215359" cy="3727310"/>
          </a:xfrm>
          <a:prstGeom prst="rect">
            <a:avLst/>
          </a:prstGeom>
          <a:noFill/>
          <a:extLst>
            <a:ext uri="{909E8E84-426E-40DD-AFC4-6F175D3DCCD1}">
              <a14:hiddenFill xmlns:a14="http://schemas.microsoft.com/office/drawing/2010/main">
                <a:solidFill>
                  <a:srgbClr val="FFFFFF"/>
                </a:solidFill>
              </a14:hiddenFill>
            </a:ext>
          </a:extLst>
        </p:spPr>
      </p:pic>
      <p:sp>
        <p:nvSpPr>
          <p:cNvPr id="6" name="Rounded Rectangular Callout 5"/>
          <p:cNvSpPr/>
          <p:nvPr/>
        </p:nvSpPr>
        <p:spPr bwMode="auto">
          <a:xfrm>
            <a:off x="8484238" y="4422136"/>
            <a:ext cx="2558007" cy="793438"/>
          </a:xfrm>
          <a:prstGeom prst="wedgeRoundRectCallout">
            <a:avLst>
              <a:gd name="adj1" fmla="val -19063"/>
              <a:gd name="adj2" fmla="val -93592"/>
              <a:gd name="adj3" fmla="val 16667"/>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ts val="2100"/>
              </a:lnSpc>
              <a:spcBef>
                <a:spcPct val="0"/>
              </a:spcBef>
              <a:spcAft>
                <a:spcPct val="0"/>
              </a:spcAft>
            </a:pPr>
            <a:r>
              <a:rPr lang="en-US" sz="1600" dirty="0" smtClean="0">
                <a:solidFill>
                  <a:schemeClr val="bg1"/>
                </a:solidFill>
                <a:ea typeface="Segoe UI" pitchFamily="34" charset="0"/>
                <a:cs typeface="Segoe UI" pitchFamily="34" charset="0"/>
              </a:rPr>
              <a:t>Spark requires no additional parameters</a:t>
            </a:r>
          </a:p>
        </p:txBody>
      </p:sp>
    </p:spTree>
    <p:extLst>
      <p:ext uri="{BB962C8B-B14F-4D97-AF65-F5344CB8AC3E}">
        <p14:creationId xmlns:p14="http://schemas.microsoft.com/office/powerpoint/2010/main" val="1931514918"/>
      </p:ext>
    </p:extLst>
  </p:cSld>
  <p:clrMapOvr>
    <a:masterClrMapping/>
  </p:clrMapOvr>
  <p:transition spd="med">
    <p:fade/>
  </p:transition>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nteractive Queries with Spark Shell</a:t>
            </a:r>
            <a:endParaRPr lang="en-US" dirty="0"/>
          </a:p>
        </p:txBody>
      </p:sp>
      <p:sp>
        <p:nvSpPr>
          <p:cNvPr id="3" name="Slide Number Placeholder 2"/>
          <p:cNvSpPr>
            <a:spLocks noGrp="1"/>
          </p:cNvSpPr>
          <p:nvPr>
            <p:ph type="sldNum" sz="quarter" idx="11"/>
          </p:nvPr>
        </p:nvSpPr>
        <p:spPr/>
        <p:txBody>
          <a:bodyPr/>
          <a:lstStyle/>
          <a:p>
            <a:pPr>
              <a:defRPr/>
            </a:pPr>
            <a:fld id="{F8A0AC42-AA1D-4944-8D96-660DE70C7E1B}" type="slidenum">
              <a:rPr lang="en-US" smtClean="0"/>
              <a:pPr>
                <a:defRPr/>
              </a:pPr>
              <a:t>66</a:t>
            </a:fld>
            <a:endParaRPr lang="en-US" dirty="0"/>
          </a:p>
        </p:txBody>
      </p:sp>
      <p:sp>
        <p:nvSpPr>
          <p:cNvPr id="4" name="TextBox 3"/>
          <p:cNvSpPr txBox="1"/>
          <p:nvPr/>
        </p:nvSpPr>
        <p:spPr>
          <a:xfrm>
            <a:off x="518232" y="1353214"/>
            <a:ext cx="11126731" cy="2548390"/>
          </a:xfrm>
          <a:prstGeom prst="rect">
            <a:avLst/>
          </a:prstGeom>
          <a:solidFill>
            <a:schemeClr val="bg1"/>
          </a:solidFill>
          <a:ln>
            <a:noFill/>
          </a:ln>
        </p:spPr>
        <p:txBody>
          <a:bodyPr wrap="square">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2"/>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lvl="1">
              <a:spcBef>
                <a:spcPts val="600"/>
              </a:spcBef>
            </a:pPr>
            <a:r>
              <a:rPr lang="en-US" altLang="en-US" sz="1800" dirty="0" smtClean="0"/>
              <a:t>From </a:t>
            </a:r>
            <a:r>
              <a:rPr lang="en-US" altLang="en-US" sz="1800" dirty="0"/>
              <a:t>the Azure portal, enable Remote Desktop for the cluster you created with Spark installed, and then remote into the cluster. </a:t>
            </a:r>
          </a:p>
          <a:p>
            <a:pPr lvl="1">
              <a:spcBef>
                <a:spcPts val="600"/>
              </a:spcBef>
            </a:pPr>
            <a:r>
              <a:rPr lang="en-US" altLang="en-US" sz="1800" dirty="0"/>
              <a:t>In the Remote Desktop Protocol (RDP) session, from the desktop, open the Hadoop command </a:t>
            </a:r>
            <a:r>
              <a:rPr lang="en-US" altLang="en-US" sz="1800" dirty="0" smtClean="0"/>
              <a:t>line</a:t>
            </a:r>
            <a:r>
              <a:rPr lang="en-US" altLang="en-US" sz="1800" dirty="0"/>
              <a:t> </a:t>
            </a:r>
            <a:r>
              <a:rPr lang="en-US" altLang="en-US" sz="1800" dirty="0" smtClean="0"/>
              <a:t>and start </a:t>
            </a:r>
            <a:r>
              <a:rPr lang="en-US" altLang="en-US" sz="1800" dirty="0"/>
              <a:t>the Spark shell</a:t>
            </a:r>
            <a:r>
              <a:rPr lang="en-US" altLang="en-US" sz="1800" dirty="0" smtClean="0"/>
              <a:t>: </a:t>
            </a:r>
            <a:r>
              <a:rPr lang="en-US" altLang="en-US" sz="1800" i="1" dirty="0" smtClean="0">
                <a:solidFill>
                  <a:schemeClr val="accent4">
                    <a:lumMod val="75000"/>
                  </a:schemeClr>
                </a:solidFill>
              </a:rPr>
              <a:t>.\</a:t>
            </a:r>
            <a:r>
              <a:rPr lang="en-US" altLang="en-US" sz="1800" i="1" dirty="0">
                <a:solidFill>
                  <a:schemeClr val="accent4">
                    <a:lumMod val="75000"/>
                  </a:schemeClr>
                </a:solidFill>
              </a:rPr>
              <a:t>bin\spark-shell --master yarn</a:t>
            </a:r>
          </a:p>
          <a:p>
            <a:pPr lvl="1">
              <a:spcBef>
                <a:spcPts val="600"/>
              </a:spcBef>
            </a:pPr>
            <a:r>
              <a:rPr lang="en-US" altLang="en-US" sz="1800" dirty="0"/>
              <a:t>After the command finishes running, you should get a Scala </a:t>
            </a:r>
            <a:r>
              <a:rPr lang="en-US" altLang="en-US" sz="1800" dirty="0" smtClean="0"/>
              <a:t>prompt: </a:t>
            </a:r>
            <a:r>
              <a:rPr lang="en-US" altLang="en-US" sz="1800" i="1" dirty="0" smtClean="0"/>
              <a:t>scala</a:t>
            </a:r>
            <a:r>
              <a:rPr lang="en-US" altLang="en-US" sz="1800" i="1" dirty="0"/>
              <a:t>&gt;</a:t>
            </a:r>
          </a:p>
          <a:p>
            <a:pPr lvl="1">
              <a:spcBef>
                <a:spcPts val="600"/>
              </a:spcBef>
            </a:pPr>
            <a:r>
              <a:rPr lang="en-US" altLang="en-US" sz="1800" dirty="0"/>
              <a:t>On the Scala prompt, enter the Spark query shown below. This query counts the occurrence of each word in the davinci.txt file that is available at the </a:t>
            </a:r>
            <a:r>
              <a:rPr lang="en-US" altLang="en-US" sz="1800" dirty="0" smtClean="0"/>
              <a:t>“/</a:t>
            </a:r>
            <a:r>
              <a:rPr lang="en-US" altLang="en-US" sz="1800" dirty="0"/>
              <a:t>example/data/gutenberg</a:t>
            </a:r>
            <a:r>
              <a:rPr lang="en-US" altLang="en-US" sz="1800" dirty="0" smtClean="0"/>
              <a:t>/” </a:t>
            </a:r>
            <a:r>
              <a:rPr lang="en-US" altLang="en-US" sz="1800" dirty="0"/>
              <a:t>location on the Azure Blob storage associated with the cluster</a:t>
            </a:r>
            <a:r>
              <a:rPr lang="en-US" altLang="en-US" sz="1800" dirty="0" smtClean="0"/>
              <a:t>.</a:t>
            </a:r>
            <a:endParaRPr lang="en-US" altLang="en-US" sz="1800" dirty="0"/>
          </a:p>
        </p:txBody>
      </p:sp>
      <p:sp>
        <p:nvSpPr>
          <p:cNvPr id="5" name="Rectangle 1"/>
          <p:cNvSpPr>
            <a:spLocks noChangeArrowheads="1"/>
          </p:cNvSpPr>
          <p:nvPr/>
        </p:nvSpPr>
        <p:spPr bwMode="auto">
          <a:xfrm>
            <a:off x="0" y="-325049"/>
            <a:ext cx="78548" cy="650099"/>
          </a:xfrm>
          <a:prstGeom prst="rect">
            <a:avLst/>
          </a:prstGeom>
          <a:solidFill>
            <a:srgbClr val="EEEEEE"/>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158700" rIns="0" bIns="88872"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AutoNum type="arabicPeriod" startAt="5"/>
              <a:tabLst/>
            </a:pPr>
            <a:r>
              <a:rPr kumimoji="0" lang="en-US" altLang="en-US" sz="800" b="0" i="0" u="none" strike="noStrike" cap="none" normalizeH="0" baseline="0" dirty="0" smtClean="0">
                <a:ln>
                  <a:noFill/>
                </a:ln>
                <a:solidFill>
                  <a:schemeClr val="tx1"/>
                </a:solidFill>
                <a:effectLst/>
              </a:rPr>
              <a:t/>
            </a:r>
            <a:br>
              <a:rPr kumimoji="0" lang="en-US" altLang="en-US" sz="800" b="0" i="0" u="none" strike="noStrike" cap="none" normalizeH="0" baseline="0" dirty="0" smtClean="0">
                <a:ln>
                  <a:noFill/>
                </a:ln>
                <a:solidFill>
                  <a:schemeClr val="tx1"/>
                </a:solidFill>
                <a:effectLst/>
              </a:rPr>
            </a:b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6" name="Rectangle 5"/>
          <p:cNvSpPr/>
          <p:nvPr/>
        </p:nvSpPr>
        <p:spPr bwMode="auto">
          <a:xfrm>
            <a:off x="1164870" y="3926458"/>
            <a:ext cx="10351939" cy="127059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65760" lvl="2">
              <a:lnSpc>
                <a:spcPts val="2100"/>
              </a:lnSpc>
              <a:spcBef>
                <a:spcPts val="600"/>
              </a:spcBef>
            </a:pPr>
            <a:r>
              <a:rPr lang="en-US" altLang="en-US" sz="1600" dirty="0">
                <a:solidFill>
                  <a:schemeClr val="accent6">
                    <a:lumMod val="50000"/>
                  </a:schemeClr>
                </a:solidFill>
              </a:rPr>
              <a:t>val file = sc.textFile("/example/data/gutenberg/davinci.txt") </a:t>
            </a:r>
          </a:p>
          <a:p>
            <a:pPr marL="365760" lvl="2">
              <a:lnSpc>
                <a:spcPts val="2100"/>
              </a:lnSpc>
              <a:spcBef>
                <a:spcPts val="600"/>
              </a:spcBef>
            </a:pPr>
            <a:r>
              <a:rPr lang="en-US" altLang="en-US" sz="1600" dirty="0">
                <a:solidFill>
                  <a:schemeClr val="accent6">
                    <a:lumMod val="50000"/>
                  </a:schemeClr>
                </a:solidFill>
              </a:rPr>
              <a:t>val counts = file.flatMap(line =&gt; line.split(" ")).map(word =&gt; (word, 1)).reduceByKey(_ + </a:t>
            </a:r>
            <a:r>
              <a:rPr lang="en-US" altLang="en-US" sz="1600" dirty="0" smtClean="0">
                <a:solidFill>
                  <a:schemeClr val="accent6">
                    <a:lumMod val="50000"/>
                  </a:schemeClr>
                </a:solidFill>
              </a:rPr>
              <a:t>_) counts.toArray</a:t>
            </a:r>
            <a:r>
              <a:rPr lang="en-US" altLang="en-US" sz="1600" dirty="0">
                <a:solidFill>
                  <a:schemeClr val="accent6">
                    <a:lumMod val="50000"/>
                  </a:schemeClr>
                </a:solidFill>
              </a:rPr>
              <a:t>().foreach(println</a:t>
            </a:r>
            <a:r>
              <a:rPr lang="en-US" altLang="en-US" sz="1600" dirty="0">
                <a:solidFill>
                  <a:schemeClr val="accent1"/>
                </a:solidFill>
              </a:rPr>
              <a:t>)</a:t>
            </a:r>
          </a:p>
        </p:txBody>
      </p:sp>
      <p:sp>
        <p:nvSpPr>
          <p:cNvPr id="7" name="TextBox 6"/>
          <p:cNvSpPr txBox="1"/>
          <p:nvPr/>
        </p:nvSpPr>
        <p:spPr>
          <a:xfrm>
            <a:off x="564532" y="5343874"/>
            <a:ext cx="11126731" cy="744819"/>
          </a:xfrm>
          <a:prstGeom prst="rect">
            <a:avLst/>
          </a:prstGeom>
          <a:solidFill>
            <a:schemeClr val="bg1"/>
          </a:solidFill>
          <a:ln>
            <a:noFill/>
          </a:ln>
        </p:spPr>
        <p:txBody>
          <a:bodyPr wrap="square">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2"/>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lvl="1">
              <a:spcBef>
                <a:spcPts val="600"/>
              </a:spcBef>
            </a:pPr>
            <a:r>
              <a:rPr lang="en-US" altLang="en-US" sz="1800" dirty="0" smtClean="0"/>
              <a:t>You should see the output on the console</a:t>
            </a:r>
          </a:p>
          <a:p>
            <a:pPr lvl="1">
              <a:spcBef>
                <a:spcPts val="600"/>
              </a:spcBef>
            </a:pPr>
            <a:r>
              <a:rPr lang="en-US" altLang="en-US" sz="1800" dirty="0" smtClean="0"/>
              <a:t>Type </a:t>
            </a:r>
            <a:r>
              <a:rPr lang="en-US" altLang="en-US" sz="1800" i="1" dirty="0" smtClean="0"/>
              <a:t>:q </a:t>
            </a:r>
            <a:r>
              <a:rPr lang="en-US" altLang="en-US" sz="1800" dirty="0" smtClean="0"/>
              <a:t>to quit the scala session</a:t>
            </a:r>
            <a:endParaRPr lang="en-US" altLang="en-US" sz="1800" dirty="0"/>
          </a:p>
        </p:txBody>
      </p:sp>
    </p:spTree>
    <p:extLst>
      <p:ext uri="{BB962C8B-B14F-4D97-AF65-F5344CB8AC3E}">
        <p14:creationId xmlns:p14="http://schemas.microsoft.com/office/powerpoint/2010/main" val="4238570603"/>
      </p:ext>
    </p:extLst>
  </p:cSld>
  <p:clrMapOvr>
    <a:masterClrMapping/>
  </p:clrMapOvr>
  <p:transition spd="med">
    <p:fade/>
  </p:transition>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tand-alone Scale Programs</a:t>
            </a:r>
            <a:endParaRPr lang="en-US" dirty="0"/>
          </a:p>
        </p:txBody>
      </p:sp>
      <p:sp>
        <p:nvSpPr>
          <p:cNvPr id="3" name="Slide Number Placeholder 2"/>
          <p:cNvSpPr>
            <a:spLocks noGrp="1"/>
          </p:cNvSpPr>
          <p:nvPr>
            <p:ph type="sldNum" sz="quarter" idx="11"/>
          </p:nvPr>
        </p:nvSpPr>
        <p:spPr/>
        <p:txBody>
          <a:bodyPr/>
          <a:lstStyle/>
          <a:p>
            <a:pPr>
              <a:defRPr/>
            </a:pPr>
            <a:fld id="{F8A0AC42-AA1D-4944-8D96-660DE70C7E1B}" type="slidenum">
              <a:rPr lang="en-US" smtClean="0"/>
              <a:pPr>
                <a:defRPr/>
              </a:pPr>
              <a:t>67</a:t>
            </a:fld>
            <a:endParaRPr lang="en-US" dirty="0"/>
          </a:p>
        </p:txBody>
      </p:sp>
      <p:sp>
        <p:nvSpPr>
          <p:cNvPr id="4" name="TextBox 3"/>
          <p:cNvSpPr txBox="1"/>
          <p:nvPr/>
        </p:nvSpPr>
        <p:spPr>
          <a:xfrm>
            <a:off x="518232" y="1353214"/>
            <a:ext cx="11126731" cy="744819"/>
          </a:xfrm>
          <a:prstGeom prst="rect">
            <a:avLst/>
          </a:prstGeom>
          <a:solidFill>
            <a:schemeClr val="bg1"/>
          </a:solidFill>
          <a:ln>
            <a:noFill/>
          </a:ln>
        </p:spPr>
        <p:txBody>
          <a:bodyPr wrap="square">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2"/>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lvl="1">
              <a:spcBef>
                <a:spcPts val="600"/>
              </a:spcBef>
            </a:pPr>
            <a:r>
              <a:rPr lang="en-US" altLang="en-US" sz="1800" dirty="0" smtClean="0"/>
              <a:t>Write a Scala program that defines an object called “MyTestApp” and save in “MyTestApp.scala”</a:t>
            </a:r>
          </a:p>
          <a:p>
            <a:pPr lvl="1">
              <a:spcBef>
                <a:spcPts val="600"/>
              </a:spcBef>
            </a:pPr>
            <a:r>
              <a:rPr lang="en-US" altLang="en-US" sz="1800" dirty="0" smtClean="0"/>
              <a:t>Build the program with </a:t>
            </a:r>
            <a:r>
              <a:rPr lang="en-US" sz="1800" dirty="0"/>
              <a:t> </a:t>
            </a:r>
            <a:r>
              <a:rPr lang="en-US" sz="1800" dirty="0">
                <a:hlinkClick r:id="rId3"/>
              </a:rPr>
              <a:t>Simple Build </a:t>
            </a:r>
            <a:r>
              <a:rPr lang="en-US" sz="1800" dirty="0" smtClean="0">
                <a:hlinkClick r:id="rId3"/>
              </a:rPr>
              <a:t>Tool</a:t>
            </a:r>
            <a:r>
              <a:rPr lang="en-US" sz="1800" dirty="0" smtClean="0"/>
              <a:t> (sbt)</a:t>
            </a:r>
          </a:p>
        </p:txBody>
      </p:sp>
      <p:sp>
        <p:nvSpPr>
          <p:cNvPr id="5" name="Rectangle 1"/>
          <p:cNvSpPr>
            <a:spLocks noChangeArrowheads="1"/>
          </p:cNvSpPr>
          <p:nvPr/>
        </p:nvSpPr>
        <p:spPr bwMode="auto">
          <a:xfrm>
            <a:off x="0" y="-325049"/>
            <a:ext cx="78548" cy="650099"/>
          </a:xfrm>
          <a:prstGeom prst="rect">
            <a:avLst/>
          </a:prstGeom>
          <a:solidFill>
            <a:srgbClr val="EEEEEE"/>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158700" rIns="0" bIns="88872"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AutoNum type="arabicPeriod" startAt="5"/>
              <a:tabLst/>
            </a:pPr>
            <a:r>
              <a:rPr kumimoji="0" lang="en-US" altLang="en-US" sz="800" b="0" i="0" u="none" strike="noStrike" cap="none" normalizeH="0" baseline="0" dirty="0" smtClean="0">
                <a:ln>
                  <a:noFill/>
                </a:ln>
                <a:solidFill>
                  <a:schemeClr val="tx1"/>
                </a:solidFill>
                <a:effectLst/>
              </a:rPr>
              <a:t/>
            </a:r>
            <a:br>
              <a:rPr kumimoji="0" lang="en-US" altLang="en-US" sz="800" b="0" i="0" u="none" strike="noStrike" cap="none" normalizeH="0" baseline="0" dirty="0" smtClean="0">
                <a:ln>
                  <a:noFill/>
                </a:ln>
                <a:solidFill>
                  <a:schemeClr val="tx1"/>
                </a:solidFill>
                <a:effectLst/>
              </a:rPr>
            </a:b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8" name="TextBox 7"/>
          <p:cNvSpPr txBox="1"/>
          <p:nvPr/>
        </p:nvSpPr>
        <p:spPr>
          <a:xfrm>
            <a:off x="622098" y="4439436"/>
            <a:ext cx="11022865" cy="341632"/>
          </a:xfrm>
          <a:prstGeom prst="rect">
            <a:avLst/>
          </a:prstGeom>
          <a:solidFill>
            <a:schemeClr val="bg1"/>
          </a:solidFill>
          <a:ln>
            <a:noFill/>
          </a:ln>
        </p:spPr>
        <p:txBody>
          <a:bodyPr wrap="square">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2"/>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lvl="1">
              <a:spcBef>
                <a:spcPts val="600"/>
              </a:spcBef>
            </a:pPr>
            <a:r>
              <a:rPr lang="en-US" altLang="en-US" sz="1800" dirty="0" smtClean="0"/>
              <a:t>Remote </a:t>
            </a:r>
            <a:r>
              <a:rPr lang="en-US" altLang="en-US" sz="1800" dirty="0"/>
              <a:t>to the Spark </a:t>
            </a:r>
            <a:r>
              <a:rPr lang="en-US" altLang="en-US" sz="1800" dirty="0" smtClean="0"/>
              <a:t>cluster</a:t>
            </a:r>
            <a:endParaRPr lang="en-US" altLang="en-US" sz="1800" dirty="0"/>
          </a:p>
        </p:txBody>
      </p:sp>
      <p:sp>
        <p:nvSpPr>
          <p:cNvPr id="9" name="TextBox 8"/>
          <p:cNvSpPr txBox="1"/>
          <p:nvPr/>
        </p:nvSpPr>
        <p:spPr>
          <a:xfrm>
            <a:off x="1215343" y="2236926"/>
            <a:ext cx="10429620" cy="2004698"/>
          </a:xfrm>
          <a:prstGeom prst="rect">
            <a:avLst/>
          </a:prstGeom>
          <a:solidFill>
            <a:schemeClr val="bg1">
              <a:lumMod val="95000"/>
            </a:schemeClr>
          </a:solidFill>
        </p:spPr>
        <p:txBody>
          <a:bodyPr wrap="none" lIns="182880" tIns="146304" rIns="182880" bIns="146304" rtlCol="0">
            <a:noAutofit/>
          </a:bodyPr>
          <a:lstStyle/>
          <a:p>
            <a:pPr marL="457200" lvl="2" indent="-285750">
              <a:spcBef>
                <a:spcPts val="600"/>
              </a:spcBef>
              <a:buSzPct val="75000"/>
              <a:buFont typeface="Wingdings" panose="05000000000000000000" pitchFamily="2" charset="2"/>
              <a:buChar char="Ø"/>
            </a:pPr>
            <a:r>
              <a:rPr lang="en-US" dirty="0" smtClean="0">
                <a:solidFill>
                  <a:schemeClr val="tx1">
                    <a:lumMod val="75000"/>
                    <a:lumOff val="25000"/>
                  </a:schemeClr>
                </a:solidFill>
                <a:latin typeface="Segoe UI Semilight" panose="020B0402040204020203" pitchFamily="34" charset="0"/>
                <a:cs typeface="Segoe UI Semilight" panose="020B0402040204020203" pitchFamily="34" charset="0"/>
              </a:rPr>
              <a:t>Install sbt from</a:t>
            </a:r>
            <a:r>
              <a:rPr lang="en-US" dirty="0">
                <a:solidFill>
                  <a:schemeClr val="tx1">
                    <a:lumMod val="75000"/>
                    <a:lumOff val="25000"/>
                  </a:schemeClr>
                </a:solidFill>
                <a:latin typeface="Segoe UI Semilight" panose="020B0402040204020203" pitchFamily="34" charset="0"/>
                <a:cs typeface="Segoe UI Semilight" panose="020B0402040204020203" pitchFamily="34" charset="0"/>
              </a:rPr>
              <a:t>: </a:t>
            </a:r>
            <a:r>
              <a:rPr lang="en-US" dirty="0">
                <a:solidFill>
                  <a:schemeClr val="tx1">
                    <a:lumMod val="75000"/>
                    <a:lumOff val="25000"/>
                  </a:schemeClr>
                </a:solidFill>
                <a:latin typeface="Segoe UI Semilight" panose="020B0402040204020203" pitchFamily="34" charset="0"/>
                <a:cs typeface="Segoe UI Semilight" panose="020B0402040204020203" pitchFamily="34" charset="0"/>
                <a:hlinkClick r:id="rId4"/>
              </a:rPr>
              <a:t>http://</a:t>
            </a:r>
            <a:r>
              <a:rPr lang="en-US" dirty="0" smtClean="0">
                <a:solidFill>
                  <a:schemeClr val="tx1">
                    <a:lumMod val="75000"/>
                    <a:lumOff val="25000"/>
                  </a:schemeClr>
                </a:solidFill>
                <a:latin typeface="Segoe UI Semilight" panose="020B0402040204020203" pitchFamily="34" charset="0"/>
                <a:cs typeface="Segoe UI Semilight" panose="020B0402040204020203" pitchFamily="34" charset="0"/>
                <a:hlinkClick r:id="rId4"/>
              </a:rPr>
              <a:t>www.scala-sbt.org/0.13/tutorial/Installing-sbt-on-Windows.htm</a:t>
            </a:r>
            <a:r>
              <a:rPr lang="en-US" dirty="0" smtClean="0">
                <a:solidFill>
                  <a:schemeClr val="tx1">
                    <a:lumMod val="75000"/>
                    <a:lumOff val="25000"/>
                  </a:schemeClr>
                </a:solidFill>
                <a:latin typeface="Segoe UI Semilight" panose="020B0402040204020203" pitchFamily="34" charset="0"/>
                <a:cs typeface="Segoe UI Semilight" panose="020B0402040204020203" pitchFamily="34" charset="0"/>
              </a:rPr>
              <a:t>   </a:t>
            </a:r>
            <a:endParaRPr lang="en-US" dirty="0">
              <a:solidFill>
                <a:schemeClr val="tx1">
                  <a:lumMod val="75000"/>
                  <a:lumOff val="25000"/>
                </a:schemeClr>
              </a:solidFill>
              <a:latin typeface="Segoe UI Semilight" panose="020B0402040204020203" pitchFamily="34" charset="0"/>
              <a:cs typeface="Segoe UI Semilight" panose="020B0402040204020203" pitchFamily="34" charset="0"/>
            </a:endParaRPr>
          </a:p>
          <a:p>
            <a:pPr marL="457200" lvl="2" indent="-285750">
              <a:spcBef>
                <a:spcPts val="600"/>
              </a:spcBef>
              <a:buSzPct val="75000"/>
              <a:buFont typeface="Wingdings" panose="05000000000000000000" pitchFamily="2" charset="2"/>
              <a:buChar char="Ø"/>
            </a:pPr>
            <a:r>
              <a:rPr lang="en-US" altLang="en-US" dirty="0">
                <a:solidFill>
                  <a:schemeClr val="tx1">
                    <a:lumMod val="75000"/>
                    <a:lumOff val="25000"/>
                  </a:schemeClr>
                </a:solidFill>
                <a:latin typeface="Segoe UI Semilight" panose="020B0402040204020203" pitchFamily="34" charset="0"/>
                <a:cs typeface="Segoe UI Semilight" panose="020B0402040204020203" pitchFamily="34" charset="0"/>
              </a:rPr>
              <a:t>C</a:t>
            </a:r>
            <a:r>
              <a:rPr lang="en-US" altLang="en-US" dirty="0" smtClean="0">
                <a:solidFill>
                  <a:schemeClr val="tx1">
                    <a:lumMod val="75000"/>
                    <a:lumOff val="25000"/>
                  </a:schemeClr>
                </a:solidFill>
                <a:latin typeface="Segoe UI Semilight" panose="020B0402040204020203" pitchFamily="34" charset="0"/>
                <a:cs typeface="Segoe UI Semilight" panose="020B0402040204020203" pitchFamily="34" charset="0"/>
              </a:rPr>
              <a:t>opy </a:t>
            </a:r>
            <a:r>
              <a:rPr lang="en-US" altLang="en-US" dirty="0">
                <a:solidFill>
                  <a:schemeClr val="tx1">
                    <a:lumMod val="75000"/>
                    <a:lumOff val="25000"/>
                  </a:schemeClr>
                </a:solidFill>
                <a:latin typeface="Segoe UI Semilight" panose="020B0402040204020203" pitchFamily="34" charset="0"/>
                <a:cs typeface="Segoe UI Semilight" panose="020B0402040204020203" pitchFamily="34" charset="0"/>
              </a:rPr>
              <a:t>“MyTestApp.scala” to “MyTestApp</a:t>
            </a:r>
            <a:r>
              <a:rPr lang="en-US" dirty="0">
                <a:solidFill>
                  <a:schemeClr val="tx1">
                    <a:lumMod val="75000"/>
                    <a:lumOff val="25000"/>
                  </a:schemeClr>
                </a:solidFill>
                <a:latin typeface="Segoe UI Semilight" panose="020B0402040204020203" pitchFamily="34" charset="0"/>
                <a:cs typeface="Segoe UI Semilight" panose="020B0402040204020203" pitchFamily="34" charset="0"/>
              </a:rPr>
              <a:t>\src\main\scala”</a:t>
            </a:r>
          </a:p>
          <a:p>
            <a:pPr marL="457200" lvl="2" indent="-285750">
              <a:spcBef>
                <a:spcPts val="600"/>
              </a:spcBef>
              <a:buSzPct val="75000"/>
              <a:buFont typeface="Wingdings" panose="05000000000000000000" pitchFamily="2" charset="2"/>
              <a:buChar char="Ø"/>
            </a:pPr>
            <a:r>
              <a:rPr lang="en-US" altLang="en-US" dirty="0">
                <a:solidFill>
                  <a:schemeClr val="tx1">
                    <a:lumMod val="75000"/>
                    <a:lumOff val="25000"/>
                  </a:schemeClr>
                </a:solidFill>
                <a:latin typeface="Segoe UI Semilight" panose="020B0402040204020203" pitchFamily="34" charset="0"/>
                <a:cs typeface="Segoe UI Semilight" panose="020B0402040204020203" pitchFamily="34" charset="0"/>
              </a:rPr>
              <a:t>N</a:t>
            </a:r>
            <a:r>
              <a:rPr lang="en-US" altLang="en-US" dirty="0" smtClean="0">
                <a:solidFill>
                  <a:schemeClr val="tx1">
                    <a:lumMod val="75000"/>
                    <a:lumOff val="25000"/>
                  </a:schemeClr>
                </a:solidFill>
                <a:latin typeface="Segoe UI Semilight" panose="020B0402040204020203" pitchFamily="34" charset="0"/>
                <a:cs typeface="Segoe UI Semilight" panose="020B0402040204020203" pitchFamily="34" charset="0"/>
              </a:rPr>
              <a:t>avigate </a:t>
            </a:r>
            <a:r>
              <a:rPr lang="en-US" altLang="en-US" dirty="0">
                <a:solidFill>
                  <a:schemeClr val="tx1">
                    <a:lumMod val="75000"/>
                    <a:lumOff val="25000"/>
                  </a:schemeClr>
                </a:solidFill>
                <a:latin typeface="Segoe UI Semilight" panose="020B0402040204020203" pitchFamily="34" charset="0"/>
                <a:cs typeface="Segoe UI Semilight" panose="020B0402040204020203" pitchFamily="34" charset="0"/>
              </a:rPr>
              <a:t>to “MyTestApp\src\main\scala”</a:t>
            </a:r>
          </a:p>
          <a:p>
            <a:pPr marL="457200" lvl="2" indent="-285750">
              <a:spcBef>
                <a:spcPts val="600"/>
              </a:spcBef>
              <a:buSzPct val="75000"/>
              <a:buFont typeface="Wingdings" panose="05000000000000000000" pitchFamily="2" charset="2"/>
              <a:buChar char="Ø"/>
            </a:pPr>
            <a:r>
              <a:rPr lang="en-US" altLang="en-US" dirty="0" smtClean="0">
                <a:solidFill>
                  <a:schemeClr val="tx1">
                    <a:lumMod val="75000"/>
                    <a:lumOff val="25000"/>
                  </a:schemeClr>
                </a:solidFill>
                <a:latin typeface="Segoe UI Semilight" panose="020B0402040204020203" pitchFamily="34" charset="0"/>
                <a:cs typeface="Segoe UI Semilight" panose="020B0402040204020203" pitchFamily="34" charset="0"/>
              </a:rPr>
              <a:t>Run from command prompt: </a:t>
            </a:r>
            <a:r>
              <a:rPr lang="en-US" altLang="en-US" i="1" dirty="0" smtClean="0">
                <a:solidFill>
                  <a:schemeClr val="accent1">
                    <a:lumMod val="75000"/>
                  </a:schemeClr>
                </a:solidFill>
                <a:latin typeface="Segoe UI Semilight" panose="020B0402040204020203" pitchFamily="34" charset="0"/>
                <a:cs typeface="Segoe UI Semilight" panose="020B0402040204020203" pitchFamily="34" charset="0"/>
              </a:rPr>
              <a:t>sbt package</a:t>
            </a:r>
            <a:endParaRPr lang="en-US" altLang="en-US" dirty="0">
              <a:solidFill>
                <a:schemeClr val="tx1">
                  <a:lumMod val="75000"/>
                  <a:lumOff val="25000"/>
                </a:schemeClr>
              </a:solidFill>
              <a:latin typeface="Segoe UI Semilight" panose="020B0402040204020203" pitchFamily="34" charset="0"/>
              <a:cs typeface="Segoe UI Semilight" panose="020B0402040204020203" pitchFamily="34" charset="0"/>
            </a:endParaRPr>
          </a:p>
          <a:p>
            <a:pPr marL="457200" lvl="2" indent="-285750">
              <a:spcBef>
                <a:spcPts val="600"/>
              </a:spcBef>
              <a:buSzPct val="75000"/>
              <a:buFont typeface="Wingdings" panose="05000000000000000000" pitchFamily="2" charset="2"/>
              <a:buChar char="Ø"/>
            </a:pPr>
            <a:r>
              <a:rPr lang="en-US" altLang="en-US" dirty="0">
                <a:solidFill>
                  <a:schemeClr val="tx1">
                    <a:lumMod val="75000"/>
                    <a:lumOff val="25000"/>
                  </a:schemeClr>
                </a:solidFill>
                <a:latin typeface="Segoe UI Semilight" panose="020B0402040204020203" pitchFamily="34" charset="0"/>
                <a:cs typeface="Segoe UI Semilight" panose="020B0402040204020203" pitchFamily="34" charset="0"/>
              </a:rPr>
              <a:t>O</a:t>
            </a:r>
            <a:r>
              <a:rPr lang="en-US" altLang="en-US" dirty="0" smtClean="0">
                <a:solidFill>
                  <a:schemeClr val="tx1">
                    <a:lumMod val="75000"/>
                    <a:lumOff val="25000"/>
                  </a:schemeClr>
                </a:solidFill>
                <a:latin typeface="Segoe UI Semilight" panose="020B0402040204020203" pitchFamily="34" charset="0"/>
                <a:cs typeface="Segoe UI Semilight" panose="020B0402040204020203" pitchFamily="34" charset="0"/>
              </a:rPr>
              <a:t>n </a:t>
            </a:r>
            <a:r>
              <a:rPr lang="en-US" altLang="en-US" dirty="0">
                <a:solidFill>
                  <a:schemeClr val="tx1">
                    <a:lumMod val="75000"/>
                    <a:lumOff val="25000"/>
                  </a:schemeClr>
                </a:solidFill>
                <a:latin typeface="Segoe UI Semilight" panose="020B0402040204020203" pitchFamily="34" charset="0"/>
                <a:cs typeface="Segoe UI Semilight" panose="020B0402040204020203" pitchFamily="34" charset="0"/>
              </a:rPr>
              <a:t>completion “mytestapp_2.10-1.0.jar” file is created in MyTestApp\Target\</a:t>
            </a:r>
          </a:p>
          <a:p>
            <a:pPr marL="457200">
              <a:lnSpc>
                <a:spcPct val="90000"/>
              </a:lnSpc>
              <a:spcAft>
                <a:spcPts val="600"/>
              </a:spcAft>
            </a:pPr>
            <a:endParaRPr lang="en-US" sz="2400" dirty="0" smtClean="0">
              <a:gradFill>
                <a:gsLst>
                  <a:gs pos="2917">
                    <a:schemeClr val="tx1"/>
                  </a:gs>
                  <a:gs pos="30000">
                    <a:schemeClr val="tx1"/>
                  </a:gs>
                </a:gsLst>
                <a:lin ang="5400000" scaled="0"/>
              </a:gradFill>
              <a:latin typeface="Segoe UI Semilight" panose="020B0402040204020203" pitchFamily="34" charset="0"/>
              <a:cs typeface="Segoe UI Semilight" panose="020B0402040204020203" pitchFamily="34" charset="0"/>
            </a:endParaRPr>
          </a:p>
        </p:txBody>
      </p:sp>
      <p:sp>
        <p:nvSpPr>
          <p:cNvPr id="10" name="TextBox 9"/>
          <p:cNvSpPr txBox="1"/>
          <p:nvPr/>
        </p:nvSpPr>
        <p:spPr>
          <a:xfrm>
            <a:off x="1215342" y="4781068"/>
            <a:ext cx="10429621" cy="1492410"/>
          </a:xfrm>
          <a:prstGeom prst="rect">
            <a:avLst/>
          </a:prstGeom>
          <a:solidFill>
            <a:schemeClr val="bg1">
              <a:lumMod val="95000"/>
            </a:schemeClr>
          </a:solidFill>
        </p:spPr>
        <p:txBody>
          <a:bodyPr wrap="none" lIns="182880" tIns="146304" rIns="182880" bIns="146304" rtlCol="0">
            <a:noAutofit/>
          </a:bodyPr>
          <a:lstStyle>
            <a:defPPr>
              <a:defRPr lang="en-US"/>
            </a:defPPr>
            <a:lvl1pPr marL="457200">
              <a:lnSpc>
                <a:spcPct val="90000"/>
              </a:lnSpc>
              <a:spcAft>
                <a:spcPts val="600"/>
              </a:spcAft>
              <a:defRPr sz="2400">
                <a:gradFill>
                  <a:gsLst>
                    <a:gs pos="2917">
                      <a:schemeClr val="tx1"/>
                    </a:gs>
                    <a:gs pos="30000">
                      <a:schemeClr val="tx1"/>
                    </a:gs>
                  </a:gsLst>
                  <a:lin ang="5400000" scaled="0"/>
                </a:gradFill>
                <a:latin typeface="Segoe UI Semilight" panose="020B0402040204020203" pitchFamily="34" charset="0"/>
                <a:cs typeface="Segoe UI Semilight" panose="020B0402040204020203" pitchFamily="34" charset="0"/>
              </a:defRPr>
            </a:lvl1pPr>
            <a:lvl3pPr marL="457200" lvl="2" indent="-285750">
              <a:spcBef>
                <a:spcPts val="600"/>
              </a:spcBef>
              <a:buSzPct val="75000"/>
              <a:buFont typeface="Wingdings" panose="05000000000000000000" pitchFamily="2" charset="2"/>
              <a:buChar char="Ø"/>
              <a:defRPr>
                <a:solidFill>
                  <a:schemeClr val="tx1">
                    <a:lumMod val="75000"/>
                    <a:lumOff val="25000"/>
                  </a:schemeClr>
                </a:solidFill>
                <a:latin typeface="Segoe UI Semilight" panose="020B0402040204020203" pitchFamily="34" charset="0"/>
                <a:cs typeface="Segoe UI Semilight" panose="020B0402040204020203" pitchFamily="34" charset="0"/>
              </a:defRPr>
            </a:lvl3pPr>
          </a:lstStyle>
          <a:p>
            <a:pPr lvl="2"/>
            <a:r>
              <a:rPr lang="en-US" altLang="en-US" dirty="0"/>
              <a:t>Copy “mytestapp_2.10-1.0.jar” file over</a:t>
            </a:r>
          </a:p>
          <a:p>
            <a:pPr lvl="2"/>
            <a:r>
              <a:rPr lang="en-US" altLang="en-US" dirty="0"/>
              <a:t>Run from command prompt:</a:t>
            </a:r>
            <a:br>
              <a:rPr lang="en-US" altLang="en-US" dirty="0"/>
            </a:br>
            <a:r>
              <a:rPr lang="en-US" altLang="en-US" i="1" dirty="0">
                <a:solidFill>
                  <a:schemeClr val="accent1">
                    <a:lumMod val="75000"/>
                  </a:schemeClr>
                </a:solidFill>
              </a:rPr>
              <a:t>c:\apps\dist\spark-1.2.0\bin\spark-submit –class “MyTestApp” –master local mytestapp_2.10-1.0.jar</a:t>
            </a:r>
          </a:p>
          <a:p>
            <a:pPr lvl="2"/>
            <a:r>
              <a:rPr lang="en-US" altLang="en-US" dirty="0"/>
              <a:t>The results should be displayed on the console</a:t>
            </a:r>
          </a:p>
        </p:txBody>
      </p:sp>
    </p:spTree>
    <p:extLst>
      <p:ext uri="{BB962C8B-B14F-4D97-AF65-F5344CB8AC3E}">
        <p14:creationId xmlns:p14="http://schemas.microsoft.com/office/powerpoint/2010/main" val="838601096"/>
      </p:ext>
    </p:extLst>
  </p:cSld>
  <p:clrMapOvr>
    <a:masterClrMapping/>
  </p:clrMapOvr>
  <p:transition spd="med">
    <p:fade/>
  </p:transition>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unning and Managing Queries/Jobs</a:t>
            </a:r>
            <a:endParaRPr lang="en-US" dirty="0"/>
          </a:p>
        </p:txBody>
      </p:sp>
      <p:sp>
        <p:nvSpPr>
          <p:cNvPr id="3" name="Slide Number Placeholder 2"/>
          <p:cNvSpPr>
            <a:spLocks noGrp="1"/>
          </p:cNvSpPr>
          <p:nvPr>
            <p:ph type="sldNum" sz="quarter" idx="11"/>
          </p:nvPr>
        </p:nvSpPr>
        <p:spPr/>
        <p:txBody>
          <a:bodyPr/>
          <a:lstStyle/>
          <a:p>
            <a:pPr>
              <a:defRPr/>
            </a:pPr>
            <a:fld id="{F8A0AC42-AA1D-4944-8D96-660DE70C7E1B}" type="slidenum">
              <a:rPr lang="en-US" smtClean="0"/>
              <a:pPr>
                <a:defRPr/>
              </a:pPr>
              <a:t>68</a:t>
            </a:fld>
            <a:endParaRPr lang="en-US" dirty="0"/>
          </a:p>
        </p:txBody>
      </p:sp>
      <p:sp>
        <p:nvSpPr>
          <p:cNvPr id="4" name="TextBox 3"/>
          <p:cNvSpPr txBox="1"/>
          <p:nvPr/>
        </p:nvSpPr>
        <p:spPr>
          <a:xfrm>
            <a:off x="518232" y="1353214"/>
            <a:ext cx="11126731" cy="341632"/>
          </a:xfrm>
          <a:prstGeom prst="rect">
            <a:avLst/>
          </a:prstGeom>
          <a:solidFill>
            <a:schemeClr val="bg1"/>
          </a:solidFill>
          <a:ln>
            <a:noFill/>
          </a:ln>
        </p:spPr>
        <p:txBody>
          <a:bodyPr wrap="square">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2"/>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lvl="1">
              <a:spcBef>
                <a:spcPts val="600"/>
              </a:spcBef>
            </a:pPr>
            <a:endParaRPr lang="en-US" sz="1800" dirty="0" smtClean="0"/>
          </a:p>
        </p:txBody>
      </p:sp>
      <p:sp>
        <p:nvSpPr>
          <p:cNvPr id="5" name="TextBox 4"/>
          <p:cNvSpPr txBox="1"/>
          <p:nvPr/>
        </p:nvSpPr>
        <p:spPr>
          <a:xfrm>
            <a:off x="518232" y="1353214"/>
            <a:ext cx="11126731" cy="341632"/>
          </a:xfrm>
          <a:prstGeom prst="rect">
            <a:avLst/>
          </a:prstGeom>
          <a:solidFill>
            <a:schemeClr val="bg1"/>
          </a:solidFill>
          <a:ln>
            <a:noFill/>
          </a:ln>
        </p:spPr>
        <p:txBody>
          <a:bodyPr wrap="square">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2"/>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lvl="1">
              <a:spcBef>
                <a:spcPts val="600"/>
              </a:spcBef>
            </a:pPr>
            <a:endParaRPr lang="en-US" sz="1800" dirty="0" smtClean="0"/>
          </a:p>
        </p:txBody>
      </p:sp>
      <p:sp>
        <p:nvSpPr>
          <p:cNvPr id="7" name="TextBox 6"/>
          <p:cNvSpPr txBox="1"/>
          <p:nvPr/>
        </p:nvSpPr>
        <p:spPr>
          <a:xfrm>
            <a:off x="429742" y="1353214"/>
            <a:ext cx="11126731" cy="3330142"/>
          </a:xfrm>
          <a:prstGeom prst="rect">
            <a:avLst/>
          </a:prstGeom>
          <a:solidFill>
            <a:schemeClr val="bg1"/>
          </a:solidFill>
          <a:ln>
            <a:noFill/>
          </a:ln>
        </p:spPr>
        <p:txBody>
          <a:bodyPr wrap="square">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2"/>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lvl="1">
              <a:spcBef>
                <a:spcPts val="600"/>
              </a:spcBef>
            </a:pPr>
            <a:r>
              <a:rPr lang="en-US" altLang="en-US" sz="1800" dirty="0" smtClean="0"/>
              <a:t>You can use REST APIs to  manage Jobs:</a:t>
            </a:r>
          </a:p>
          <a:p>
            <a:pPr lvl="2" indent="-285750">
              <a:spcBef>
                <a:spcPts val="600"/>
              </a:spcBef>
              <a:buFont typeface="Arial" panose="020B0604020202020204" pitchFamily="34" charset="0"/>
              <a:buChar char="•"/>
            </a:pPr>
            <a:r>
              <a:rPr lang="en-US" altLang="en-US" sz="1600" dirty="0" smtClean="0">
                <a:solidFill>
                  <a:schemeClr val="bg2">
                    <a:lumMod val="50000"/>
                  </a:schemeClr>
                </a:solidFill>
              </a:rPr>
              <a:t>Submit Spark Jobs</a:t>
            </a:r>
          </a:p>
          <a:p>
            <a:pPr lvl="2" indent="-285750">
              <a:spcBef>
                <a:spcPts val="600"/>
              </a:spcBef>
              <a:buFont typeface="Arial" panose="020B0604020202020204" pitchFamily="34" charset="0"/>
              <a:buChar char="•"/>
            </a:pPr>
            <a:r>
              <a:rPr lang="en-US" altLang="en-US" sz="1600" dirty="0" smtClean="0">
                <a:solidFill>
                  <a:schemeClr val="bg2">
                    <a:lumMod val="50000"/>
                  </a:schemeClr>
                </a:solidFill>
              </a:rPr>
              <a:t>Cancel Spark Jobs</a:t>
            </a:r>
          </a:p>
          <a:p>
            <a:pPr lvl="2" indent="-285750">
              <a:spcBef>
                <a:spcPts val="600"/>
              </a:spcBef>
              <a:buFont typeface="Arial" panose="020B0604020202020204" pitchFamily="34" charset="0"/>
              <a:buChar char="•"/>
            </a:pPr>
            <a:r>
              <a:rPr lang="en-US" altLang="en-US" sz="1600" dirty="0" smtClean="0">
                <a:solidFill>
                  <a:schemeClr val="bg2">
                    <a:lumMod val="50000"/>
                  </a:schemeClr>
                </a:solidFill>
              </a:rPr>
              <a:t>Get Job Status</a:t>
            </a:r>
          </a:p>
          <a:p>
            <a:pPr lvl="1">
              <a:spcBef>
                <a:spcPts val="600"/>
              </a:spcBef>
            </a:pPr>
            <a:r>
              <a:rPr lang="en-US" altLang="en-US" sz="1800" dirty="0"/>
              <a:t>You can run concurrent queries against the same Spark </a:t>
            </a:r>
            <a:r>
              <a:rPr lang="en-US" altLang="en-US" sz="1800" dirty="0" smtClean="0"/>
              <a:t>cluster:</a:t>
            </a:r>
            <a:endParaRPr lang="en-US" altLang="en-US" sz="1800" dirty="0"/>
          </a:p>
          <a:p>
            <a:pPr lvl="2" indent="-285750">
              <a:spcBef>
                <a:spcPts val="600"/>
              </a:spcBef>
              <a:buFont typeface="Arial" panose="020B0604020202020204" pitchFamily="34" charset="0"/>
              <a:buChar char="•"/>
            </a:pPr>
            <a:r>
              <a:rPr lang="en-US" sz="1600" dirty="0">
                <a:solidFill>
                  <a:schemeClr val="bg2">
                    <a:lumMod val="50000"/>
                  </a:schemeClr>
                </a:solidFill>
              </a:rPr>
              <a:t>The concurrent queries can be run from single app or multiple app</a:t>
            </a:r>
          </a:p>
          <a:p>
            <a:pPr lvl="2" indent="-285750">
              <a:spcBef>
                <a:spcPts val="600"/>
              </a:spcBef>
              <a:buFont typeface="Arial" panose="020B0604020202020204" pitchFamily="34" charset="0"/>
              <a:buChar char="•"/>
            </a:pPr>
            <a:r>
              <a:rPr lang="en-US" sz="1600" dirty="0">
                <a:solidFill>
                  <a:schemeClr val="bg2">
                    <a:lumMod val="50000"/>
                  </a:schemeClr>
                </a:solidFill>
              </a:rPr>
              <a:t>A blocking call from one query should not impact other queries</a:t>
            </a:r>
          </a:p>
          <a:p>
            <a:pPr lvl="2" indent="-285750">
              <a:spcBef>
                <a:spcPts val="600"/>
              </a:spcBef>
              <a:buFont typeface="Arial" panose="020B0604020202020204" pitchFamily="34" charset="0"/>
              <a:buChar char="•"/>
            </a:pPr>
            <a:r>
              <a:rPr lang="en-US" sz="1600" dirty="0">
                <a:solidFill>
                  <a:schemeClr val="bg2">
                    <a:lumMod val="50000"/>
                  </a:schemeClr>
                </a:solidFill>
              </a:rPr>
              <a:t>The number of supported concurrent queries will depend on the size of the cluster. On average </a:t>
            </a:r>
            <a:r>
              <a:rPr lang="en-US" sz="1600" dirty="0" smtClean="0">
                <a:solidFill>
                  <a:schemeClr val="bg2">
                    <a:lumMod val="50000"/>
                  </a:schemeClr>
                </a:solidFill>
              </a:rPr>
              <a:t>HDInsight Spark </a:t>
            </a:r>
            <a:r>
              <a:rPr lang="en-US" sz="1600" dirty="0">
                <a:solidFill>
                  <a:schemeClr val="bg2">
                    <a:lumMod val="50000"/>
                  </a:schemeClr>
                </a:solidFill>
              </a:rPr>
              <a:t>will support 1 query per node (ex: 8 node will support 8 concurrent queries)</a:t>
            </a:r>
          </a:p>
          <a:p>
            <a:pPr lvl="2">
              <a:spcBef>
                <a:spcPts val="600"/>
              </a:spcBef>
              <a:buFont typeface="Arial" panose="020B0604020202020204" pitchFamily="34" charset="0"/>
              <a:buChar char="•"/>
            </a:pPr>
            <a:endParaRPr lang="en-US" altLang="en-US" sz="800" dirty="0"/>
          </a:p>
        </p:txBody>
      </p:sp>
    </p:spTree>
    <p:extLst>
      <p:ext uri="{BB962C8B-B14F-4D97-AF65-F5344CB8AC3E}">
        <p14:creationId xmlns:p14="http://schemas.microsoft.com/office/powerpoint/2010/main" val="1067456372"/>
      </p:ext>
    </p:extLst>
  </p:cSld>
  <p:clrMapOvr>
    <a:masterClrMapping/>
  </p:clrMapOvr>
  <p:transition spd="med">
    <p:fade/>
  </p:transition>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ntegration with BI Reporting Tools</a:t>
            </a:r>
            <a:endParaRPr lang="en-US" dirty="0"/>
          </a:p>
        </p:txBody>
      </p:sp>
      <p:sp>
        <p:nvSpPr>
          <p:cNvPr id="3" name="Slide Number Placeholder 2"/>
          <p:cNvSpPr>
            <a:spLocks noGrp="1"/>
          </p:cNvSpPr>
          <p:nvPr>
            <p:ph type="sldNum" sz="quarter" idx="11"/>
          </p:nvPr>
        </p:nvSpPr>
        <p:spPr/>
        <p:txBody>
          <a:bodyPr/>
          <a:lstStyle/>
          <a:p>
            <a:pPr>
              <a:defRPr/>
            </a:pPr>
            <a:fld id="{F8A0AC42-AA1D-4944-8D96-660DE70C7E1B}" type="slidenum">
              <a:rPr lang="en-US" smtClean="0"/>
              <a:pPr>
                <a:defRPr/>
              </a:pPr>
              <a:t>69</a:t>
            </a:fld>
            <a:endParaRPr lang="en-US" dirty="0"/>
          </a:p>
        </p:txBody>
      </p:sp>
      <p:grpSp>
        <p:nvGrpSpPr>
          <p:cNvPr id="4" name="Group 3"/>
          <p:cNvGrpSpPr/>
          <p:nvPr/>
        </p:nvGrpSpPr>
        <p:grpSpPr>
          <a:xfrm>
            <a:off x="2652969" y="2058121"/>
            <a:ext cx="6199422" cy="4294739"/>
            <a:chOff x="2623472" y="1831979"/>
            <a:chExt cx="6199422" cy="4294739"/>
          </a:xfrm>
        </p:grpSpPr>
        <p:pic>
          <p:nvPicPr>
            <p:cNvPr id="3076" name="Picture 4" descr="http://bluehillresearch.com/wp-content/uploads/2014/10/SAP-Lumira-and-the-new-BI.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976274" y="4059793"/>
              <a:ext cx="2846620" cy="2066925"/>
            </a:xfrm>
            <a:prstGeom prst="rect">
              <a:avLst/>
            </a:prstGeom>
            <a:noFill/>
            <a:ln>
              <a:solidFill>
                <a:schemeClr val="bg2">
                  <a:lumMod val="25000"/>
                </a:schemeClr>
              </a:solidFill>
            </a:ln>
            <a:extLst>
              <a:ext uri="{909E8E84-426E-40DD-AFC4-6F175D3DCCD1}">
                <a14:hiddenFill xmlns:a14="http://schemas.microsoft.com/office/drawing/2010/main">
                  <a:solidFill>
                    <a:srgbClr val="FFFFFF"/>
                  </a:solidFill>
                </a14:hiddenFill>
              </a:ext>
            </a:extLst>
          </p:spPr>
        </p:pic>
        <p:pic>
          <p:nvPicPr>
            <p:cNvPr id="3078" name="Picture 6" descr="http://inside-bigdata.com/wp-content/uploads/2014/03/qlikview-logo.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702130" y="4059793"/>
              <a:ext cx="2762721" cy="2066925"/>
            </a:xfrm>
            <a:prstGeom prst="rect">
              <a:avLst/>
            </a:prstGeom>
            <a:noFill/>
            <a:ln>
              <a:solidFill>
                <a:schemeClr val="bg2">
                  <a:lumMod val="25000"/>
                </a:schemeClr>
              </a:solidFill>
            </a:ln>
            <a:extLst>
              <a:ext uri="{909E8E84-426E-40DD-AFC4-6F175D3DCCD1}">
                <a14:hiddenFill xmlns:a14="http://schemas.microsoft.com/office/drawing/2010/main">
                  <a:solidFill>
                    <a:srgbClr val="FFFFFF"/>
                  </a:solidFill>
                </a14:hiddenFill>
              </a:ext>
            </a:extLst>
          </p:spPr>
        </p:pic>
        <p:pic>
          <p:nvPicPr>
            <p:cNvPr id="3080" name="Picture 8" descr="tableau logo USE THIS ON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897613" y="1856981"/>
              <a:ext cx="2925281" cy="1560151"/>
            </a:xfrm>
            <a:prstGeom prst="rect">
              <a:avLst/>
            </a:prstGeom>
            <a:noFill/>
            <a:ln>
              <a:solidFill>
                <a:schemeClr val="bg2">
                  <a:lumMod val="25000"/>
                </a:schemeClr>
              </a:solidFill>
            </a:ln>
            <a:extLst>
              <a:ext uri="{909E8E84-426E-40DD-AFC4-6F175D3DCCD1}">
                <a14:hiddenFill xmlns:a14="http://schemas.microsoft.com/office/drawing/2010/main">
                  <a:solidFill>
                    <a:srgbClr val="FFFFFF"/>
                  </a:solidFill>
                </a14:hiddenFill>
              </a:ext>
            </a:extLst>
          </p:spPr>
        </p:pic>
        <p:pic>
          <p:nvPicPr>
            <p:cNvPr id="3082" name="Picture 10" descr="https://www.twilio.com/blog/wp-content/uploads/2015/05/mspowerbi.jp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623472" y="1831979"/>
              <a:ext cx="2771016" cy="1560152"/>
            </a:xfrm>
            <a:prstGeom prst="rect">
              <a:avLst/>
            </a:prstGeom>
            <a:noFill/>
            <a:ln>
              <a:solidFill>
                <a:schemeClr val="bg2">
                  <a:lumMod val="25000"/>
                </a:schemeClr>
              </a:solidFill>
            </a:ln>
            <a:extLst>
              <a:ext uri="{909E8E84-426E-40DD-AFC4-6F175D3DCCD1}">
                <a14:hiddenFill xmlns:a14="http://schemas.microsoft.com/office/drawing/2010/main">
                  <a:solidFill>
                    <a:srgbClr val="FFFFFF"/>
                  </a:solidFill>
                </a14:hiddenFill>
              </a:ext>
            </a:extLst>
          </p:spPr>
        </p:pic>
      </p:grpSp>
      <p:sp>
        <p:nvSpPr>
          <p:cNvPr id="10" name="TextBox 9"/>
          <p:cNvSpPr txBox="1"/>
          <p:nvPr/>
        </p:nvSpPr>
        <p:spPr>
          <a:xfrm>
            <a:off x="429742" y="1353214"/>
            <a:ext cx="11126731" cy="341632"/>
          </a:xfrm>
          <a:prstGeom prst="rect">
            <a:avLst/>
          </a:prstGeom>
          <a:solidFill>
            <a:schemeClr val="bg1"/>
          </a:solidFill>
          <a:ln>
            <a:noFill/>
          </a:ln>
        </p:spPr>
        <p:txBody>
          <a:bodyPr wrap="square">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6"/>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93" lvl="1" indent="0" algn="ctr">
              <a:spcBef>
                <a:spcPts val="600"/>
              </a:spcBef>
              <a:buNone/>
            </a:pPr>
            <a:r>
              <a:rPr lang="en-US" altLang="en-US" sz="1800" dirty="0" smtClean="0"/>
              <a:t>HDInsight Spark integrates with these BI tools to report on Spark data</a:t>
            </a:r>
          </a:p>
        </p:txBody>
      </p:sp>
    </p:spTree>
    <p:extLst>
      <p:ext uri="{BB962C8B-B14F-4D97-AF65-F5344CB8AC3E}">
        <p14:creationId xmlns:p14="http://schemas.microsoft.com/office/powerpoint/2010/main" val="3607567746"/>
      </p:ext>
    </p:extLst>
  </p:cSld>
  <p:clrMapOvr>
    <a:masterClrMapping/>
  </p:clrMapOvr>
  <p:transition spd="med">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park – Use cases</a:t>
            </a:r>
            <a:endParaRPr lang="en-US" dirty="0"/>
          </a:p>
        </p:txBody>
      </p:sp>
      <p:sp>
        <p:nvSpPr>
          <p:cNvPr id="3" name="Slide Number Placeholder 2"/>
          <p:cNvSpPr>
            <a:spLocks noGrp="1"/>
          </p:cNvSpPr>
          <p:nvPr>
            <p:ph type="sldNum" sz="quarter" idx="11"/>
          </p:nvPr>
        </p:nvSpPr>
        <p:spPr/>
        <p:txBody>
          <a:bodyPr/>
          <a:lstStyle/>
          <a:p>
            <a:pPr>
              <a:defRPr/>
            </a:pPr>
            <a:fld id="{F8A0AC42-AA1D-4944-8D96-660DE70C7E1B}" type="slidenum">
              <a:rPr lang="en-US" smtClean="0"/>
              <a:pPr>
                <a:defRPr/>
              </a:pPr>
              <a:t>7</a:t>
            </a:fld>
            <a:endParaRPr lang="en-US" dirty="0"/>
          </a:p>
        </p:txBody>
      </p:sp>
      <p:graphicFrame>
        <p:nvGraphicFramePr>
          <p:cNvPr id="4" name="Table 3"/>
          <p:cNvGraphicFramePr>
            <a:graphicFrameLocks noGrp="1"/>
          </p:cNvGraphicFramePr>
          <p:nvPr>
            <p:extLst>
              <p:ext uri="{D42A27DB-BD31-4B8C-83A1-F6EECF244321}">
                <p14:modId xmlns:p14="http://schemas.microsoft.com/office/powerpoint/2010/main" val="2910458652"/>
              </p:ext>
            </p:extLst>
          </p:nvPr>
        </p:nvGraphicFramePr>
        <p:xfrm>
          <a:off x="1383029" y="1281177"/>
          <a:ext cx="9784081" cy="5156565"/>
        </p:xfrm>
        <a:graphic>
          <a:graphicData uri="http://schemas.openxmlformats.org/drawingml/2006/table">
            <a:tbl>
              <a:tblPr firstRow="1" bandRow="1">
                <a:tableStyleId>{1FECB4D8-DB02-4DC6-A0A2-4F2EBAE1DC90}</a:tableStyleId>
              </a:tblPr>
              <a:tblGrid>
                <a:gridCol w="2114551"/>
                <a:gridCol w="3865183"/>
                <a:gridCol w="3804347"/>
              </a:tblGrid>
              <a:tr h="373883">
                <a:tc>
                  <a:txBody>
                    <a:bodyPr/>
                    <a:lstStyle/>
                    <a:p>
                      <a:pPr algn="ctr"/>
                      <a:r>
                        <a:rPr lang="en-US" dirty="0" smtClean="0"/>
                        <a:t>Use case</a:t>
                      </a:r>
                      <a:endParaRPr lang="en-US" dirty="0"/>
                    </a:p>
                  </a:txBody>
                  <a:tcPr/>
                </a:tc>
                <a:tc>
                  <a:txBody>
                    <a:bodyPr/>
                    <a:lstStyle/>
                    <a:p>
                      <a:pPr algn="ctr"/>
                      <a:r>
                        <a:rPr lang="en-US" dirty="0" smtClean="0"/>
                        <a:t>Description</a:t>
                      </a:r>
                      <a:endParaRPr lang="en-US" dirty="0"/>
                    </a:p>
                  </a:txBody>
                  <a:tcPr/>
                </a:tc>
                <a:tc>
                  <a:txBody>
                    <a:bodyPr/>
                    <a:lstStyle/>
                    <a:p>
                      <a:pPr algn="ctr"/>
                      <a:r>
                        <a:rPr lang="en-US" dirty="0" smtClean="0"/>
                        <a:t>Users</a:t>
                      </a:r>
                      <a:endParaRPr lang="en-US" dirty="0"/>
                    </a:p>
                  </a:txBody>
                  <a:tcPr/>
                </a:tc>
              </a:tr>
              <a:tr h="826267">
                <a:tc>
                  <a:txBody>
                    <a:bodyPr/>
                    <a:lstStyle/>
                    <a:p>
                      <a:r>
                        <a:rPr lang="en-US" sz="1800" dirty="0" smtClean="0">
                          <a:solidFill>
                            <a:schemeClr val="tx1">
                              <a:lumMod val="65000"/>
                              <a:lumOff val="35000"/>
                            </a:schemeClr>
                          </a:solidFill>
                        </a:rPr>
                        <a:t>Data Integration and ETL</a:t>
                      </a:r>
                      <a:endParaRPr lang="en-US" sz="1800" dirty="0">
                        <a:solidFill>
                          <a:schemeClr val="tx1">
                            <a:lumMod val="65000"/>
                            <a:lumOff val="35000"/>
                          </a:schemeClr>
                        </a:solidFill>
                      </a:endParaRPr>
                    </a:p>
                  </a:txBody>
                  <a:tcPr anchor="ctr"/>
                </a:tc>
                <a:tc>
                  <a:txBody>
                    <a:bodyPr/>
                    <a:lstStyle/>
                    <a:p>
                      <a:r>
                        <a:rPr lang="en-US" sz="1800" u="none" strike="noStrike" kern="1200" baseline="0" dirty="0" smtClean="0">
                          <a:solidFill>
                            <a:schemeClr val="tx1">
                              <a:lumMod val="65000"/>
                              <a:lumOff val="35000"/>
                            </a:schemeClr>
                          </a:solidFill>
                        </a:rPr>
                        <a:t>Cleansing and combining data from diverse sources</a:t>
                      </a:r>
                      <a:endParaRPr lang="en-US" sz="1800" dirty="0">
                        <a:solidFill>
                          <a:schemeClr val="tx1">
                            <a:lumMod val="65000"/>
                            <a:lumOff val="35000"/>
                          </a:schemeClr>
                        </a:solidFill>
                      </a:endParaRPr>
                    </a:p>
                  </a:txBody>
                  <a:tcPr anchor="ctr"/>
                </a:tc>
                <a:tc>
                  <a:txBody>
                    <a:bodyPr/>
                    <a:lstStyle/>
                    <a:p>
                      <a:r>
                        <a:rPr lang="en-US" sz="1800" dirty="0" smtClean="0">
                          <a:solidFill>
                            <a:schemeClr val="tx1">
                              <a:lumMod val="65000"/>
                              <a:lumOff val="35000"/>
                            </a:schemeClr>
                          </a:solidFill>
                        </a:rPr>
                        <a:t>Palantir:</a:t>
                      </a:r>
                      <a:r>
                        <a:rPr lang="en-US" sz="1800" baseline="0" dirty="0" smtClean="0">
                          <a:solidFill>
                            <a:schemeClr val="tx1">
                              <a:lumMod val="65000"/>
                              <a:lumOff val="35000"/>
                            </a:schemeClr>
                          </a:solidFill>
                        </a:rPr>
                        <a:t>  </a:t>
                      </a:r>
                      <a:r>
                        <a:rPr lang="en-US" sz="1800" u="none" strike="noStrike" kern="1200" baseline="0" dirty="0" smtClean="0">
                          <a:solidFill>
                            <a:schemeClr val="tx1">
                              <a:lumMod val="65000"/>
                              <a:lumOff val="35000"/>
                            </a:schemeClr>
                          </a:solidFill>
                        </a:rPr>
                        <a:t>Data analytics platform</a:t>
                      </a:r>
                      <a:endParaRPr lang="en-US" sz="1800" dirty="0">
                        <a:solidFill>
                          <a:schemeClr val="tx1">
                            <a:lumMod val="65000"/>
                            <a:lumOff val="35000"/>
                          </a:schemeClr>
                        </a:solidFill>
                      </a:endParaRPr>
                    </a:p>
                  </a:txBody>
                  <a:tcPr anchor="ctr"/>
                </a:tc>
              </a:tr>
              <a:tr h="1061227">
                <a:tc>
                  <a:txBody>
                    <a:bodyPr/>
                    <a:lstStyle/>
                    <a:p>
                      <a:r>
                        <a:rPr lang="en-US" sz="1800" dirty="0" smtClean="0">
                          <a:solidFill>
                            <a:schemeClr val="tx1">
                              <a:lumMod val="65000"/>
                              <a:lumOff val="35000"/>
                            </a:schemeClr>
                          </a:solidFill>
                        </a:rPr>
                        <a:t>Interactive analytics</a:t>
                      </a:r>
                      <a:endParaRPr lang="en-US" sz="1800" dirty="0">
                        <a:solidFill>
                          <a:schemeClr val="tx1">
                            <a:lumMod val="65000"/>
                            <a:lumOff val="35000"/>
                          </a:schemeClr>
                        </a:solidFill>
                      </a:endParaRPr>
                    </a:p>
                  </a:txBody>
                  <a:tcPr anchor="ctr"/>
                </a:tc>
                <a:tc>
                  <a:txBody>
                    <a:bodyPr/>
                    <a:lstStyle/>
                    <a:p>
                      <a:r>
                        <a:rPr lang="en-US" sz="1800" u="none" strike="noStrike" kern="1200" baseline="0" dirty="0" smtClean="0">
                          <a:solidFill>
                            <a:schemeClr val="tx1">
                              <a:lumMod val="65000"/>
                              <a:lumOff val="35000"/>
                            </a:schemeClr>
                          </a:solidFill>
                        </a:rPr>
                        <a:t>Gain insight from massive data sets tin ad hoc investigations or regularly planned dashboards.</a:t>
                      </a:r>
                      <a:endParaRPr lang="en-US" sz="1800" dirty="0">
                        <a:solidFill>
                          <a:schemeClr val="tx1">
                            <a:lumMod val="65000"/>
                            <a:lumOff val="35000"/>
                          </a:schemeClr>
                        </a:solidFill>
                      </a:endParaRPr>
                    </a:p>
                  </a:txBody>
                  <a:tcPr anchor="ctr"/>
                </a:tc>
                <a:tc>
                  <a:txBody>
                    <a:bodyPr/>
                    <a:lstStyle/>
                    <a:p>
                      <a:r>
                        <a:rPr lang="en-US" sz="1800" u="none" strike="noStrike" kern="1200" baseline="0" dirty="0" smtClean="0">
                          <a:solidFill>
                            <a:schemeClr val="tx1">
                              <a:lumMod val="65000"/>
                              <a:lumOff val="35000"/>
                            </a:schemeClr>
                          </a:solidFill>
                        </a:rPr>
                        <a:t>Goldman Sachs: Analytics platform </a:t>
                      </a:r>
                    </a:p>
                    <a:p>
                      <a:r>
                        <a:rPr lang="en-US" sz="1800" u="none" strike="noStrike" kern="1200" baseline="0" dirty="0" smtClean="0">
                          <a:solidFill>
                            <a:schemeClr val="tx1">
                              <a:lumMod val="65000"/>
                              <a:lumOff val="35000"/>
                            </a:schemeClr>
                          </a:solidFill>
                        </a:rPr>
                        <a:t>Huawei: Query platform in the telecom sector.</a:t>
                      </a:r>
                      <a:endParaRPr lang="en-US" sz="1800" dirty="0">
                        <a:solidFill>
                          <a:schemeClr val="tx1">
                            <a:lumMod val="65000"/>
                            <a:lumOff val="35000"/>
                          </a:schemeClr>
                        </a:solidFill>
                      </a:endParaRPr>
                    </a:p>
                  </a:txBody>
                  <a:tcPr anchor="ctr"/>
                </a:tc>
              </a:tr>
              <a:tr h="919561">
                <a:tc>
                  <a:txBody>
                    <a:bodyPr/>
                    <a:lstStyle/>
                    <a:p>
                      <a:r>
                        <a:rPr lang="en-US" sz="1800" dirty="0" smtClean="0">
                          <a:solidFill>
                            <a:schemeClr val="tx1">
                              <a:lumMod val="65000"/>
                              <a:lumOff val="35000"/>
                            </a:schemeClr>
                          </a:solidFill>
                        </a:rPr>
                        <a:t>High performance batch computation</a:t>
                      </a:r>
                      <a:endParaRPr lang="en-US" sz="1800" dirty="0">
                        <a:solidFill>
                          <a:schemeClr val="tx1">
                            <a:lumMod val="65000"/>
                            <a:lumOff val="35000"/>
                          </a:schemeClr>
                        </a:solidFill>
                      </a:endParaRPr>
                    </a:p>
                  </a:txBody>
                  <a:tcPr anchor="ctr"/>
                </a:tc>
                <a:tc>
                  <a:txBody>
                    <a:bodyPr/>
                    <a:lstStyle/>
                    <a:p>
                      <a:r>
                        <a:rPr lang="en-US" sz="1800" u="none" strike="noStrike" kern="1200" baseline="0" dirty="0" smtClean="0">
                          <a:solidFill>
                            <a:schemeClr val="tx1">
                              <a:lumMod val="65000"/>
                              <a:lumOff val="35000"/>
                            </a:schemeClr>
                          </a:solidFill>
                        </a:rPr>
                        <a:t>Run complex algorithms against large scale data</a:t>
                      </a:r>
                      <a:endParaRPr lang="en-US" sz="1800" dirty="0">
                        <a:solidFill>
                          <a:schemeClr val="tx1">
                            <a:lumMod val="65000"/>
                            <a:lumOff val="35000"/>
                          </a:schemeClr>
                        </a:solidFill>
                      </a:endParaRPr>
                    </a:p>
                  </a:txBody>
                  <a:tcPr anchor="ctr"/>
                </a:tc>
                <a:tc>
                  <a:txBody>
                    <a:bodyPr/>
                    <a:lstStyle/>
                    <a:p>
                      <a:r>
                        <a:rPr lang="en-US" sz="1800" u="none" strike="noStrike" kern="1200" baseline="0" dirty="0" smtClean="0">
                          <a:solidFill>
                            <a:schemeClr val="tx1">
                              <a:lumMod val="65000"/>
                              <a:lumOff val="35000"/>
                            </a:schemeClr>
                          </a:solidFill>
                        </a:rPr>
                        <a:t>Novartis: Genomic Research</a:t>
                      </a:r>
                    </a:p>
                    <a:p>
                      <a:r>
                        <a:rPr lang="en-US" sz="1800" u="none" strike="noStrike" kern="1200" baseline="0" dirty="0" smtClean="0">
                          <a:solidFill>
                            <a:schemeClr val="tx1">
                              <a:lumMod val="65000"/>
                              <a:lumOff val="35000"/>
                            </a:schemeClr>
                          </a:solidFill>
                        </a:rPr>
                        <a:t>MyFitnessPal: Process food data</a:t>
                      </a:r>
                      <a:endParaRPr lang="en-US" sz="1800" b="0" i="0" u="none" strike="noStrike" kern="1200" baseline="0" dirty="0" smtClean="0">
                        <a:solidFill>
                          <a:schemeClr val="tx1">
                            <a:lumMod val="65000"/>
                            <a:lumOff val="35000"/>
                          </a:schemeClr>
                        </a:solidFill>
                        <a:latin typeface="+mn-lt"/>
                        <a:ea typeface="+mn-ea"/>
                        <a:cs typeface="+mn-cs"/>
                      </a:endParaRPr>
                    </a:p>
                  </a:txBody>
                  <a:tcPr anchor="ctr"/>
                </a:tc>
              </a:tr>
              <a:tr h="868680">
                <a:tc>
                  <a:txBody>
                    <a:bodyPr/>
                    <a:lstStyle/>
                    <a:p>
                      <a:r>
                        <a:rPr lang="en-US" sz="1800" dirty="0" smtClean="0">
                          <a:solidFill>
                            <a:schemeClr val="tx1">
                              <a:lumMod val="65000"/>
                              <a:lumOff val="35000"/>
                            </a:schemeClr>
                          </a:solidFill>
                        </a:rPr>
                        <a:t>Machine Learning</a:t>
                      </a:r>
                      <a:endParaRPr lang="en-US" sz="1800" dirty="0">
                        <a:solidFill>
                          <a:schemeClr val="tx1">
                            <a:lumMod val="65000"/>
                            <a:lumOff val="35000"/>
                          </a:schemeClr>
                        </a:solidFill>
                      </a:endParaRPr>
                    </a:p>
                  </a:txBody>
                  <a:tcPr anchor="ctr"/>
                </a:tc>
                <a:tc>
                  <a:txBody>
                    <a:bodyPr/>
                    <a:lstStyle/>
                    <a:p>
                      <a:r>
                        <a:rPr lang="en-US" sz="1800" dirty="0" smtClean="0">
                          <a:solidFill>
                            <a:schemeClr val="tx1">
                              <a:lumMod val="65000"/>
                              <a:lumOff val="35000"/>
                            </a:schemeClr>
                          </a:solidFill>
                        </a:rPr>
                        <a:t>Predict outcomes to make</a:t>
                      </a:r>
                      <a:r>
                        <a:rPr lang="en-US" sz="1800" baseline="0" dirty="0" smtClean="0">
                          <a:solidFill>
                            <a:schemeClr val="tx1">
                              <a:lumMod val="65000"/>
                              <a:lumOff val="35000"/>
                            </a:schemeClr>
                          </a:solidFill>
                        </a:rPr>
                        <a:t> decisions based on input data</a:t>
                      </a:r>
                      <a:endParaRPr lang="en-US" sz="1800" dirty="0">
                        <a:solidFill>
                          <a:schemeClr val="tx1">
                            <a:lumMod val="65000"/>
                            <a:lumOff val="35000"/>
                          </a:schemeClr>
                        </a:solidFill>
                      </a:endParaRPr>
                    </a:p>
                  </a:txBody>
                  <a:tcPr anchor="ctr"/>
                </a:tc>
                <a:tc>
                  <a:txBody>
                    <a:bodyPr/>
                    <a:lstStyle/>
                    <a:p>
                      <a:r>
                        <a:rPr lang="en-US" sz="1800" dirty="0" smtClean="0">
                          <a:solidFill>
                            <a:schemeClr val="tx1">
                              <a:lumMod val="65000"/>
                              <a:lumOff val="35000"/>
                            </a:schemeClr>
                          </a:solidFill>
                        </a:rPr>
                        <a:t>Alibaba</a:t>
                      </a:r>
                      <a:r>
                        <a:rPr lang="en-US" sz="1800" baseline="0" dirty="0" smtClean="0">
                          <a:solidFill>
                            <a:schemeClr val="tx1">
                              <a:lumMod val="65000"/>
                              <a:lumOff val="35000"/>
                            </a:schemeClr>
                          </a:solidFill>
                        </a:rPr>
                        <a:t>: Marketplace Analysis</a:t>
                      </a:r>
                    </a:p>
                    <a:p>
                      <a:r>
                        <a:rPr lang="en-US" sz="1800" baseline="0" dirty="0" smtClean="0">
                          <a:solidFill>
                            <a:schemeClr val="tx1">
                              <a:lumMod val="65000"/>
                              <a:lumOff val="35000"/>
                            </a:schemeClr>
                          </a:solidFill>
                        </a:rPr>
                        <a:t>Spotify: Music Recommendation</a:t>
                      </a:r>
                    </a:p>
                    <a:p>
                      <a:r>
                        <a:rPr lang="en-US" sz="1800" baseline="0" dirty="0" smtClean="0">
                          <a:solidFill>
                            <a:schemeClr val="tx1">
                              <a:lumMod val="65000"/>
                              <a:lumOff val="35000"/>
                            </a:schemeClr>
                          </a:solidFill>
                        </a:rPr>
                        <a:t> </a:t>
                      </a:r>
                      <a:endParaRPr lang="en-US" sz="1800" dirty="0">
                        <a:solidFill>
                          <a:schemeClr val="tx1">
                            <a:lumMod val="65000"/>
                            <a:lumOff val="35000"/>
                          </a:schemeClr>
                        </a:solidFill>
                      </a:endParaRPr>
                    </a:p>
                  </a:txBody>
                  <a:tcPr anchor="ctr"/>
                </a:tc>
              </a:tr>
              <a:tr h="1061227">
                <a:tc>
                  <a:txBody>
                    <a:bodyPr/>
                    <a:lstStyle/>
                    <a:p>
                      <a:r>
                        <a:rPr lang="en-US" sz="1800" dirty="0" smtClean="0">
                          <a:solidFill>
                            <a:schemeClr val="tx1">
                              <a:lumMod val="65000"/>
                              <a:lumOff val="35000"/>
                            </a:schemeClr>
                          </a:solidFill>
                        </a:rPr>
                        <a:t>Real-time stream processing</a:t>
                      </a:r>
                      <a:endParaRPr lang="en-US" sz="1800" dirty="0">
                        <a:solidFill>
                          <a:schemeClr val="tx1">
                            <a:lumMod val="65000"/>
                            <a:lumOff val="35000"/>
                          </a:schemeClr>
                        </a:solidFill>
                      </a:endParaRPr>
                    </a:p>
                  </a:txBody>
                  <a:tcPr anchor="ctr"/>
                </a:tc>
                <a:tc>
                  <a:txBody>
                    <a:bodyPr/>
                    <a:lstStyle/>
                    <a:p>
                      <a:r>
                        <a:rPr lang="en-US" sz="1800" u="none" strike="noStrike" kern="1200" baseline="0" dirty="0" smtClean="0">
                          <a:solidFill>
                            <a:schemeClr val="tx1">
                              <a:lumMod val="65000"/>
                              <a:lumOff val="35000"/>
                            </a:schemeClr>
                          </a:solidFill>
                        </a:rPr>
                        <a:t>Capturing and processing data continuously with low latency and high reliability</a:t>
                      </a:r>
                      <a:endParaRPr lang="en-US" sz="1800" dirty="0">
                        <a:solidFill>
                          <a:schemeClr val="tx1">
                            <a:lumMod val="65000"/>
                            <a:lumOff val="35000"/>
                          </a:schemeClr>
                        </a:solidFill>
                      </a:endParaRPr>
                    </a:p>
                  </a:txBody>
                  <a:tcPr anchor="ctr"/>
                </a:tc>
                <a:tc>
                  <a:txBody>
                    <a:bodyPr/>
                    <a:lstStyle/>
                    <a:p>
                      <a:r>
                        <a:rPr lang="en-US" sz="1800" dirty="0" smtClean="0">
                          <a:solidFill>
                            <a:schemeClr val="tx1">
                              <a:lumMod val="65000"/>
                              <a:lumOff val="35000"/>
                            </a:schemeClr>
                          </a:solidFill>
                        </a:rPr>
                        <a:t>Netflix</a:t>
                      </a:r>
                      <a:r>
                        <a:rPr lang="en-US" sz="1800" baseline="0" dirty="0" smtClean="0">
                          <a:solidFill>
                            <a:schemeClr val="tx1">
                              <a:lumMod val="65000"/>
                              <a:lumOff val="35000"/>
                            </a:schemeClr>
                          </a:solidFill>
                        </a:rPr>
                        <a:t>: Recommendation Engine</a:t>
                      </a:r>
                    </a:p>
                    <a:p>
                      <a:r>
                        <a:rPr lang="en-US" sz="1800" baseline="0" dirty="0" smtClean="0">
                          <a:solidFill>
                            <a:schemeClr val="tx1">
                              <a:lumMod val="65000"/>
                              <a:lumOff val="35000"/>
                            </a:schemeClr>
                          </a:solidFill>
                        </a:rPr>
                        <a:t>British Gas: Connected Homes</a:t>
                      </a:r>
                      <a:endParaRPr lang="en-US" sz="1800" dirty="0">
                        <a:solidFill>
                          <a:schemeClr val="tx1">
                            <a:lumMod val="65000"/>
                            <a:lumOff val="35000"/>
                          </a:schemeClr>
                        </a:solidFill>
                      </a:endParaRPr>
                    </a:p>
                  </a:txBody>
                  <a:tcPr anchor="ctr"/>
                </a:tc>
              </a:tr>
            </a:tbl>
          </a:graphicData>
        </a:graphic>
      </p:graphicFrame>
    </p:spTree>
    <p:extLst>
      <p:ext uri="{BB962C8B-B14F-4D97-AF65-F5344CB8AC3E}">
        <p14:creationId xmlns:p14="http://schemas.microsoft.com/office/powerpoint/2010/main" val="1153351114"/>
      </p:ext>
    </p:extLst>
  </p:cSld>
  <p:clrMapOvr>
    <a:masterClrMapping/>
  </p:clrMapOvr>
  <p:transition spd="med">
    <p:fade/>
  </p:transition>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a:xfrm>
            <a:off x="270066" y="2084555"/>
            <a:ext cx="10755572" cy="4481488"/>
          </a:xfrm>
          <a:prstGeom prst="rect">
            <a:avLst/>
          </a:prstGeom>
          <a:solidFill>
            <a:schemeClr val="accent3">
              <a:alpha val="8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192">
              <a:defRPr/>
            </a:pPr>
            <a:endParaRPr lang="en-US" sz="1765" dirty="0">
              <a:solidFill>
                <a:srgbClr val="FFFFFF"/>
              </a:solidFill>
            </a:endParaRPr>
          </a:p>
        </p:txBody>
      </p:sp>
      <p:pic>
        <p:nvPicPr>
          <p:cNvPr id="46082" name="Picture 5"/>
          <p:cNvPicPr>
            <a:picLocks noChangeAspect="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463020" y="2271283"/>
            <a:ext cx="1277535" cy="28009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0" name="TextBox 9"/>
          <p:cNvSpPr txBox="1"/>
          <p:nvPr/>
        </p:nvSpPr>
        <p:spPr>
          <a:xfrm>
            <a:off x="466132" y="2959437"/>
            <a:ext cx="5825935" cy="892298"/>
          </a:xfrm>
          <a:prstGeom prst="rect">
            <a:avLst/>
          </a:prstGeom>
          <a:noFill/>
        </p:spPr>
        <p:txBody>
          <a:bodyPr>
            <a:spAutoFit/>
          </a:bodyPr>
          <a:lstStyle/>
          <a:p>
            <a:pPr defTabSz="914192">
              <a:defRPr/>
            </a:pPr>
            <a:r>
              <a:rPr lang="en-US" sz="5097" dirty="0">
                <a:gradFill>
                  <a:gsLst>
                    <a:gs pos="2917">
                      <a:srgbClr val="FFFFFF"/>
                    </a:gs>
                    <a:gs pos="100000">
                      <a:srgbClr val="FFFFFF"/>
                    </a:gs>
                  </a:gsLst>
                  <a:lin ang="5400000" scaled="0"/>
                </a:gradFill>
                <a:latin typeface="Segoe UI Light"/>
              </a:rPr>
              <a:t>Get started today!</a:t>
            </a:r>
          </a:p>
        </p:txBody>
      </p:sp>
      <p:sp>
        <p:nvSpPr>
          <p:cNvPr id="11" name="TextBox 10"/>
          <p:cNvSpPr txBox="1"/>
          <p:nvPr/>
        </p:nvSpPr>
        <p:spPr>
          <a:xfrm>
            <a:off x="466133" y="3889599"/>
            <a:ext cx="10559507" cy="341584"/>
          </a:xfrm>
          <a:prstGeom prst="rect">
            <a:avLst/>
          </a:prstGeom>
          <a:noFill/>
        </p:spPr>
        <p:txBody>
          <a:bodyPr>
            <a:spAutoFit/>
          </a:bodyPr>
          <a:lstStyle/>
          <a:p>
            <a:pPr marL="280067" lvl="1" indent="-280067" defTabSz="895919">
              <a:lnSpc>
                <a:spcPct val="90000"/>
              </a:lnSpc>
              <a:spcAft>
                <a:spcPts val="1175"/>
              </a:spcAft>
              <a:buFont typeface="Wingdings" pitchFamily="2" charset="2"/>
              <a:buChar char="§"/>
              <a:defRPr/>
            </a:pPr>
            <a:r>
              <a:rPr lang="en-US" sz="1765" dirty="0">
                <a:solidFill>
                  <a:srgbClr val="FFFFFF"/>
                </a:solidFill>
                <a:latin typeface="Segoe UI Light"/>
              </a:rPr>
              <a:t>For more information visit: http://azure.microsoft.com/en-us/services/hdinsight/  </a:t>
            </a:r>
          </a:p>
        </p:txBody>
      </p:sp>
    </p:spTree>
    <p:extLst>
      <p:ext uri="{BB962C8B-B14F-4D97-AF65-F5344CB8AC3E}">
        <p14:creationId xmlns:p14="http://schemas.microsoft.com/office/powerpoint/2010/main" val="1371471683"/>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park integrates well with Hadoop</a:t>
            </a:r>
            <a:endParaRPr lang="en-US" dirty="0"/>
          </a:p>
        </p:txBody>
      </p:sp>
      <p:sp>
        <p:nvSpPr>
          <p:cNvPr id="3" name="Slide Number Placeholder 2"/>
          <p:cNvSpPr>
            <a:spLocks noGrp="1"/>
          </p:cNvSpPr>
          <p:nvPr>
            <p:ph type="sldNum" sz="quarter" idx="11"/>
          </p:nvPr>
        </p:nvSpPr>
        <p:spPr/>
        <p:txBody>
          <a:bodyPr/>
          <a:lstStyle/>
          <a:p>
            <a:pPr>
              <a:defRPr/>
            </a:pPr>
            <a:fld id="{F8A0AC42-AA1D-4944-8D96-660DE70C7E1B}" type="slidenum">
              <a:rPr lang="en-US" smtClean="0"/>
              <a:pPr>
                <a:defRPr/>
              </a:pPr>
              <a:t>8</a:t>
            </a:fld>
            <a:endParaRPr lang="en-US" dirty="0"/>
          </a:p>
        </p:txBody>
      </p:sp>
      <p:sp>
        <p:nvSpPr>
          <p:cNvPr id="4" name="TextBox 3"/>
          <p:cNvSpPr txBox="1"/>
          <p:nvPr/>
        </p:nvSpPr>
        <p:spPr>
          <a:xfrm>
            <a:off x="493282" y="1645432"/>
            <a:ext cx="10873883" cy="3487108"/>
          </a:xfrm>
          <a:prstGeom prst="rect">
            <a:avLst/>
          </a:prstGeom>
        </p:spPr>
        <p:txBody>
          <a:bodyPr wrap="square">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lvl="1"/>
            <a:r>
              <a:rPr lang="en-US" sz="2400" dirty="0"/>
              <a:t>Spark can use Hadoop 1.0 or Hadoop YARN as resource managers. </a:t>
            </a:r>
          </a:p>
          <a:p>
            <a:pPr lvl="1"/>
            <a:r>
              <a:rPr lang="en-US" sz="2400" dirty="0"/>
              <a:t>Spark also can work with other resource managers:</a:t>
            </a:r>
          </a:p>
          <a:p>
            <a:pPr marL="1200150" lvl="2" indent="-285750">
              <a:buFont typeface="Arial" panose="020B0604020202020204" pitchFamily="34" charset="0"/>
              <a:buChar char="•"/>
            </a:pPr>
            <a:r>
              <a:rPr lang="en-US" sz="2000" dirty="0">
                <a:solidFill>
                  <a:schemeClr val="tx1">
                    <a:lumMod val="65000"/>
                    <a:lumOff val="35000"/>
                  </a:schemeClr>
                </a:solidFill>
              </a:rPr>
              <a:t>MESOS</a:t>
            </a:r>
          </a:p>
          <a:p>
            <a:pPr marL="1200150" lvl="2" indent="-285750">
              <a:buFont typeface="Arial" panose="020B0604020202020204" pitchFamily="34" charset="0"/>
              <a:buChar char="•"/>
            </a:pPr>
            <a:r>
              <a:rPr lang="en-US" sz="2000" dirty="0">
                <a:solidFill>
                  <a:schemeClr val="tx1">
                    <a:lumMod val="65000"/>
                    <a:lumOff val="35000"/>
                  </a:schemeClr>
                </a:solidFill>
              </a:rPr>
              <a:t>It’s own resource manager</a:t>
            </a:r>
          </a:p>
          <a:p>
            <a:pPr lvl="1"/>
            <a:r>
              <a:rPr lang="en-US" sz="2400" dirty="0"/>
              <a:t>Spark does not have it own storage layer. Spark can read and </a:t>
            </a:r>
            <a:r>
              <a:rPr lang="en-US" sz="2400" dirty="0" smtClean="0"/>
              <a:t>write </a:t>
            </a:r>
            <a:r>
              <a:rPr lang="en-US" sz="2400" dirty="0"/>
              <a:t>directly to HDFS.</a:t>
            </a:r>
          </a:p>
          <a:p>
            <a:pPr lvl="1"/>
            <a:r>
              <a:rPr lang="en-US" sz="2400" dirty="0"/>
              <a:t>Integrates with Hadoop ecosystem projects such as Apache </a:t>
            </a:r>
            <a:r>
              <a:rPr lang="en-US" sz="2400" dirty="0" smtClean="0"/>
              <a:t>Hive, Apache </a:t>
            </a:r>
            <a:r>
              <a:rPr lang="en-US" sz="2400" dirty="0"/>
              <a:t>HBase.</a:t>
            </a:r>
          </a:p>
          <a:p>
            <a:endParaRPr lang="en-US" sz="1600" dirty="0"/>
          </a:p>
        </p:txBody>
      </p:sp>
    </p:spTree>
    <p:extLst>
      <p:ext uri="{BB962C8B-B14F-4D97-AF65-F5344CB8AC3E}">
        <p14:creationId xmlns:p14="http://schemas.microsoft.com/office/powerpoint/2010/main" val="1492581338"/>
      </p:ext>
    </p:extLst>
  </p:cSld>
  <p:clrMapOvr>
    <a:overrideClrMapping bg1="lt1" tx1="dk1" bg2="lt2" tx2="dk2" accent1="accent1" accent2="accent2" accent3="accent3" accent4="accent4" accent5="accent5" accent6="accent6" hlink="hlink" folHlink="folHlink"/>
  </p:clrMapOvr>
  <p:transition spd="med">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park is fast </a:t>
            </a:r>
            <a:endParaRPr lang="en-US" dirty="0"/>
          </a:p>
        </p:txBody>
      </p:sp>
      <p:sp>
        <p:nvSpPr>
          <p:cNvPr id="3" name="Slide Number Placeholder 2"/>
          <p:cNvSpPr>
            <a:spLocks noGrp="1"/>
          </p:cNvSpPr>
          <p:nvPr>
            <p:ph type="sldNum" sz="quarter" idx="11"/>
          </p:nvPr>
        </p:nvSpPr>
        <p:spPr/>
        <p:txBody>
          <a:bodyPr/>
          <a:lstStyle/>
          <a:p>
            <a:pPr>
              <a:defRPr/>
            </a:pPr>
            <a:fld id="{F8A0AC42-AA1D-4944-8D96-660DE70C7E1B}" type="slidenum">
              <a:rPr lang="en-US" smtClean="0"/>
              <a:pPr>
                <a:defRPr/>
              </a:pPr>
              <a:t>9</a:t>
            </a:fld>
            <a:endParaRPr lang="en-US" dirty="0"/>
          </a:p>
        </p:txBody>
      </p:sp>
      <p:sp>
        <p:nvSpPr>
          <p:cNvPr id="4" name="TextBox 3"/>
          <p:cNvSpPr txBox="1"/>
          <p:nvPr/>
        </p:nvSpPr>
        <p:spPr>
          <a:xfrm>
            <a:off x="551597" y="5442540"/>
            <a:ext cx="11232107" cy="480131"/>
          </a:xfrm>
          <a:prstGeom prst="rect">
            <a:avLst/>
          </a:prstGeom>
          <a:solidFill>
            <a:schemeClr val="tx2"/>
          </a:solidFill>
        </p:spPr>
        <p:txBody>
          <a:bodyPr wrap="square">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2"/>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93" lvl="1" indent="0" algn="ctr">
              <a:spcBef>
                <a:spcPts val="1200"/>
              </a:spcBef>
              <a:buNone/>
            </a:pPr>
            <a:r>
              <a:rPr lang="en-US" dirty="0" smtClean="0">
                <a:solidFill>
                  <a:schemeClr val="bg1"/>
                </a:solidFill>
              </a:rPr>
              <a:t>Spark is fast not just for In-Memory but On-Disk computation as well</a:t>
            </a:r>
          </a:p>
        </p:txBody>
      </p:sp>
      <p:sp>
        <p:nvSpPr>
          <p:cNvPr id="5" name="TextBox 4"/>
          <p:cNvSpPr txBox="1"/>
          <p:nvPr/>
        </p:nvSpPr>
        <p:spPr>
          <a:xfrm>
            <a:off x="2238233" y="1403677"/>
            <a:ext cx="7697337" cy="1032757"/>
          </a:xfrm>
          <a:prstGeom prst="rect">
            <a:avLst/>
          </a:prstGeom>
          <a:noFill/>
        </p:spPr>
        <p:txBody>
          <a:bodyPr wrap="none" lIns="182880" tIns="146304" rIns="182880" bIns="146304" rtlCol="0">
            <a:noAutofit/>
          </a:bodyPr>
          <a:lstStyle/>
          <a:p>
            <a:pPr algn="ctr">
              <a:lnSpc>
                <a:spcPct val="90000"/>
              </a:lnSpc>
              <a:spcAft>
                <a:spcPts val="600"/>
              </a:spcAft>
            </a:pPr>
            <a:r>
              <a:rPr lang="en-US" sz="2400" dirty="0" smtClean="0">
                <a:solidFill>
                  <a:schemeClr val="tx1">
                    <a:lumMod val="65000"/>
                    <a:lumOff val="35000"/>
                  </a:schemeClr>
                </a:solidFill>
              </a:rPr>
              <a:t>Spark is the current (2014) Sort Benchmark winner. </a:t>
            </a:r>
          </a:p>
          <a:p>
            <a:pPr algn="ctr">
              <a:lnSpc>
                <a:spcPct val="90000"/>
              </a:lnSpc>
              <a:spcAft>
                <a:spcPts val="600"/>
              </a:spcAft>
            </a:pPr>
            <a:r>
              <a:rPr lang="en-US" sz="2400" dirty="0" smtClean="0">
                <a:solidFill>
                  <a:schemeClr val="tx1">
                    <a:lumMod val="65000"/>
                    <a:lumOff val="35000"/>
                  </a:schemeClr>
                </a:solidFill>
              </a:rPr>
              <a:t>3x faster than 2013 winner (Hadoop).</a:t>
            </a:r>
          </a:p>
        </p:txBody>
      </p:sp>
      <p:pic>
        <p:nvPicPr>
          <p:cNvPr id="6" name="Picture 5"/>
          <p:cNvPicPr>
            <a:picLocks noChangeAspect="1"/>
          </p:cNvPicPr>
          <p:nvPr/>
        </p:nvPicPr>
        <p:blipFill>
          <a:blip r:embed="rId3"/>
          <a:stretch>
            <a:fillRect/>
          </a:stretch>
        </p:blipFill>
        <p:spPr>
          <a:xfrm>
            <a:off x="2042800" y="2435381"/>
            <a:ext cx="8105775" cy="2781300"/>
          </a:xfrm>
          <a:prstGeom prst="rect">
            <a:avLst/>
          </a:prstGeom>
        </p:spPr>
      </p:pic>
      <p:sp>
        <p:nvSpPr>
          <p:cNvPr id="7" name="TextBox 6"/>
          <p:cNvSpPr txBox="1"/>
          <p:nvPr/>
        </p:nvSpPr>
        <p:spPr>
          <a:xfrm>
            <a:off x="525438" y="5922671"/>
            <a:ext cx="3425590" cy="512011"/>
          </a:xfrm>
          <a:prstGeom prst="rect">
            <a:avLst/>
          </a:prstGeom>
          <a:noFill/>
        </p:spPr>
        <p:txBody>
          <a:bodyPr wrap="square" lIns="182880" tIns="146304" rIns="182880" bIns="146304" rtlCol="0">
            <a:noAutofit/>
          </a:bodyPr>
          <a:lstStyle/>
          <a:p>
            <a:pPr>
              <a:lnSpc>
                <a:spcPct val="90000"/>
              </a:lnSpc>
              <a:spcAft>
                <a:spcPts val="600"/>
              </a:spcAft>
            </a:pPr>
            <a:r>
              <a:rPr lang="en-US" u="sng" dirty="0" smtClean="0">
                <a:solidFill>
                  <a:schemeClr val="accent1">
                    <a:lumMod val="60000"/>
                    <a:lumOff val="40000"/>
                  </a:schemeClr>
                </a:solidFill>
                <a:hlinkClick r:id="rId4"/>
              </a:rPr>
              <a:t>tinyurl.com/spark-sort</a:t>
            </a:r>
            <a:endParaRPr lang="en-US" u="sng" dirty="0" smtClean="0">
              <a:solidFill>
                <a:schemeClr val="accent1">
                  <a:lumMod val="60000"/>
                  <a:lumOff val="40000"/>
                </a:schemeClr>
              </a:solidFill>
            </a:endParaRPr>
          </a:p>
        </p:txBody>
      </p:sp>
    </p:spTree>
    <p:extLst>
      <p:ext uri="{BB962C8B-B14F-4D97-AF65-F5344CB8AC3E}">
        <p14:creationId xmlns:p14="http://schemas.microsoft.com/office/powerpoint/2010/main" val="45216195"/>
      </p:ext>
    </p:extLst>
  </p:cSld>
  <p:clrMapOvr>
    <a:masterClrMapping/>
  </p:clrMapOvr>
  <p:transition spd="med">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heme1">
  <a:themeElements>
    <a:clrScheme name="STB 2013 colors">
      <a:dk1>
        <a:srgbClr val="000000"/>
      </a:dk1>
      <a:lt1>
        <a:srgbClr val="FFFFFF"/>
      </a:lt1>
      <a:dk2>
        <a:srgbClr val="505050"/>
      </a:dk2>
      <a:lt2>
        <a:srgbClr val="D2D2D2"/>
      </a:lt2>
      <a:accent1>
        <a:srgbClr val="0072C6"/>
      </a:accent1>
      <a:accent2>
        <a:srgbClr val="008272"/>
      </a:accent2>
      <a:accent3>
        <a:srgbClr val="68217A"/>
      </a:accent3>
      <a:accent4>
        <a:srgbClr val="DC3C00"/>
      </a:accent4>
      <a:accent5>
        <a:srgbClr val="FF8C00"/>
      </a:accent5>
      <a:accent6>
        <a:srgbClr val="00BCF2"/>
      </a:accent6>
      <a:hlink>
        <a:srgbClr val="505050"/>
      </a:hlink>
      <a:folHlink>
        <a:srgbClr val="505050"/>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4"/>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000" b="1" dirty="0" smtClean="0">
            <a:solidFill>
              <a:schemeClr val="bg1"/>
            </a:solidFill>
            <a:latin typeface="+mj-lt"/>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noAutofit/>
      </a:bodyPr>
      <a:lstStyle>
        <a:defPPr>
          <a:lnSpc>
            <a:spcPct val="90000"/>
          </a:lnSpc>
          <a:spcAft>
            <a:spcPts val="600"/>
          </a:spcAft>
          <a:defRPr sz="2400"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heme1" id="{3B365E36-265F-42ED-90CB-897686AA20D5}" vid="{42BB44ED-578C-437B-982F-BE4F33A2196C}"/>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STB 2013 colors">
    <a:dk1>
      <a:srgbClr val="000000"/>
    </a:dk1>
    <a:lt1>
      <a:srgbClr val="FFFFFF"/>
    </a:lt1>
    <a:dk2>
      <a:srgbClr val="505050"/>
    </a:dk2>
    <a:lt2>
      <a:srgbClr val="D2D2D2"/>
    </a:lt2>
    <a:accent1>
      <a:srgbClr val="0072C6"/>
    </a:accent1>
    <a:accent2>
      <a:srgbClr val="008272"/>
    </a:accent2>
    <a:accent3>
      <a:srgbClr val="68217A"/>
    </a:accent3>
    <a:accent4>
      <a:srgbClr val="DC3C00"/>
    </a:accent4>
    <a:accent5>
      <a:srgbClr val="FF8C00"/>
    </a:accent5>
    <a:accent6>
      <a:srgbClr val="00BCF2"/>
    </a:accent6>
    <a:hlink>
      <a:srgbClr val="505050"/>
    </a:hlink>
    <a:folHlink>
      <a:srgbClr val="505050"/>
    </a:folHlink>
  </a:clrScheme>
</a:themeOverride>
</file>

<file path=ppt/theme/themeOverride2.xml><?xml version="1.0" encoding="utf-8"?>
<a:themeOverride xmlns:a="http://schemas.openxmlformats.org/drawingml/2006/main">
  <a:clrScheme name="STB 2013 colors">
    <a:dk1>
      <a:srgbClr val="000000"/>
    </a:dk1>
    <a:lt1>
      <a:srgbClr val="FFFFFF"/>
    </a:lt1>
    <a:dk2>
      <a:srgbClr val="505050"/>
    </a:dk2>
    <a:lt2>
      <a:srgbClr val="D2D2D2"/>
    </a:lt2>
    <a:accent1>
      <a:srgbClr val="0072C6"/>
    </a:accent1>
    <a:accent2>
      <a:srgbClr val="008272"/>
    </a:accent2>
    <a:accent3>
      <a:srgbClr val="68217A"/>
    </a:accent3>
    <a:accent4>
      <a:srgbClr val="DC3C00"/>
    </a:accent4>
    <a:accent5>
      <a:srgbClr val="FF8C00"/>
    </a:accent5>
    <a:accent6>
      <a:srgbClr val="00BCF2"/>
    </a:accent6>
    <a:hlink>
      <a:srgbClr val="505050"/>
    </a:hlink>
    <a:folHlink>
      <a:srgbClr val="505050"/>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mso-contentType ?>
<SharedContentType xmlns="Microsoft.SharePoint.Taxonomy.ContentTypeSync" SourceId="e385fb40-52d4-4fae-9c5b-3e8ff8a5878e" ContentTypeId="0x0101000E4CB7077FEE4FF7AE86D4A500EEC78003" PreviousValue="false"/>
</file>

<file path=customXml/item2.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4.0.0.0, Culture=neutral, PublicKeyToken=71e9bce111e9429c</Assembly>
    <Class>Microsoft.Office.DocumentManagement.Internal.DocIdHandler</Class>
    <Data/>
    <Filter/>
  </Receiver>
  <Receiver>
    <Name>DocumentSet ItemUpdated</Name>
    <Synchronization>Synchronous</Synchronization>
    <Type>10002</Type>
    <SequenceNumber>100</SequenceNumber>
    <Url/>
    <Assembly>Microsoft.Office.DocumentManagement, Version=15.0.0.0, Culture=neutral, PublicKeyToken=71e9bce111e9429c</Assembly>
    <Class>Microsoft.Office.DocumentManagement.DocumentSets.DocumentSetEventReceiver</Class>
    <Data/>
    <Filter/>
  </Receiver>
  <Receiver>
    <Name>DocumentSet ItemAdded</Name>
    <Synchronization>Synchronous</Synchronization>
    <Type>10001</Type>
    <SequenceNumber>100</SequenceNumber>
    <Url/>
    <Assembly>Microsoft.Office.DocumentManagement, Version=15.0.0.0, Culture=neutral, PublicKeyToken=71e9bce111e9429c</Assembly>
    <Class>Microsoft.Office.DocumentManagement.DocumentSets.DocumentSetItemsEventReceiver</Class>
    <Data/>
    <Filter/>
  </Receiver>
</spe:Receivers>
</file>

<file path=customXml/item3.xml><?xml version="1.0" encoding="utf-8"?>
<p:properties xmlns:p="http://schemas.microsoft.com/office/2006/metadata/properties" xmlns:xsi="http://www.w3.org/2001/XMLSchema-instance" xmlns:pc="http://schemas.microsoft.com/office/infopath/2007/PartnerControls">
  <documentManagement>
    <DocumentDescription xmlns="230e9df3-be65-4c73-a93b-d1236ebd677e">This deck provides detailed technical information about Spark and how it sits on top of HDInsight.</DocumentDescription>
    <hd9637eefc984b85b6097c6374e15725 xmlns="230e9df3-be65-4c73-a93b-d1236ebd677e">
      <Terms xmlns="http://schemas.microsoft.com/office/infopath/2007/PartnerControls">
        <TermInfo xmlns="http://schemas.microsoft.com/office/infopath/2007/PartnerControls">
          <TermName xmlns="http://schemas.microsoft.com/office/infopath/2007/PartnerControls">technical presentations</TermName>
          <TermId xmlns="http://schemas.microsoft.com/office/infopath/2007/PartnerControls">83a894cf-702b-47fc-aba5-41bd10dc1e75</TermId>
        </TermInfo>
      </Terms>
    </hd9637eefc984b85b6097c6374e15725>
    <k20e0dfa74bf4e44818db03027b0ccd8 xmlns="230e9df3-be65-4c73-a93b-d1236ebd677e">
      <Terms xmlns="http://schemas.microsoft.com/office/infopath/2007/PartnerControls"/>
    </k20e0dfa74bf4e44818db03027b0ccd8>
    <od9986d31974458fb3007746ec0bce5f xmlns="230e9df3-be65-4c73-a93b-d1236ebd677e">
      <Terms xmlns="http://schemas.microsoft.com/office/infopath/2007/PartnerControls"/>
    </od9986d31974458fb3007746ec0bce5f>
    <Owner xmlns="230e9df3-be65-4c73-a93b-d1236ebd677e">
      <UserInfo>
        <DisplayName>Nishant Thacker</DisplayName>
        <AccountId>157666</AccountId>
        <AccountType/>
      </UserInfo>
    </Owner>
    <k21a64daf20d4502b2796a1c6b8ce6c8 xmlns="230e9df3-be65-4c73-a93b-d1236ebd677e">
      <Terms xmlns="http://schemas.microsoft.com/office/infopath/2007/PartnerControls"/>
    </k21a64daf20d4502b2796a1c6b8ce6c8>
    <Expire_x0020_Review xmlns="230e9df3-be65-4c73-a93b-d1236ebd677e">2016-07-05T07:00:00+00:00</Expire_x0020_Review>
    <l3c3ea61849e4288a8acc49bb5388e8c xmlns="230e9df3-be65-4c73-a93b-d1236ebd677e">
      <Terms xmlns="http://schemas.microsoft.com/office/infopath/2007/PartnerControls">
        <TermInfo xmlns="http://schemas.microsoft.com/office/infopath/2007/PartnerControls">
          <TermName xmlns="http://schemas.microsoft.com/office/infopath/2007/PartnerControls">SQL Server Marketing</TermName>
          <TermId xmlns="http://schemas.microsoft.com/office/infopath/2007/PartnerControls">bb7921b3-c1d8-4da4-b894-8b6075d9546d</TermId>
        </TermInfo>
        <TermInfo xmlns="http://schemas.microsoft.com/office/infopath/2007/PartnerControls">
          <TermName xmlns="http://schemas.microsoft.com/office/infopath/2007/PartnerControls">Cloud and Enterprise Marketing Group</TermName>
          <TermId xmlns="http://schemas.microsoft.com/office/infopath/2007/PartnerControls">4f75e184-e5aa-4234-a07f-b032d60df254</TermId>
        </TermInfo>
      </Terms>
    </l3c3ea61849e4288a8acc49bb5388e8c>
    <ConfidentialityTaxHTField0 xmlns="230e9df3-be65-4c73-a93b-d1236ebd677e">
      <Terms xmlns="http://schemas.microsoft.com/office/infopath/2007/PartnerControls">
        <TermInfo xmlns="http://schemas.microsoft.com/office/infopath/2007/PartnerControls">
          <TermName xmlns="http://schemas.microsoft.com/office/infopath/2007/PartnerControls">Microsoft confidential</TermName>
          <TermId xmlns="http://schemas.microsoft.com/office/infopath/2007/PartnerControls">461efa83-0283-486a-a8d5-943328f3693f</TermId>
        </TermInfo>
      </Terms>
    </ConfidentialityTaxHTField0>
    <ApplyWorkflowRules xmlns="ad820760-4664-4be3-bee2-f8b9a6708b4c">Yes</ApplyWorkflowRules>
    <eb54ac91059940029a3cc8a4ff5af673 xmlns="230e9df3-be65-4c73-a93b-d1236ebd677e">
      <Terms xmlns="http://schemas.microsoft.com/office/infopath/2007/PartnerControls">
        <TermInfo xmlns="http://schemas.microsoft.com/office/infopath/2007/PartnerControls">
          <TermName xmlns="http://schemas.microsoft.com/office/infopath/2007/PartnerControls">Server and Tools Business</TermName>
          <TermId xmlns="http://schemas.microsoft.com/office/infopath/2007/PartnerControls">6783548d-8609-4f97-be4a-4ca2616905a6</TermId>
        </TermInfo>
        <TermInfo xmlns="http://schemas.microsoft.com/office/infopath/2007/PartnerControls">
          <TermName xmlns="http://schemas.microsoft.com/office/infopath/2007/PartnerControls">SQL Server Domain</TermName>
          <TermId xmlns="http://schemas.microsoft.com/office/infopath/2007/PartnerControls">0c0f1824-39dc-4b26-8c74-eff4364b812b</TermId>
        </TermInfo>
      </Terms>
    </eb54ac91059940029a3cc8a4ff5af673>
    <PublishingPageContent xmlns="http://schemas.microsoft.com/sharepoint/v3" xsi:nil="true"/>
    <MediaTitle xmlns="ad820760-4664-4be3-bee2-f8b9a6708b4c" xsi:nil="true"/>
    <IconOverlay xmlns="http://schemas.microsoft.com/sharepoint/v4" xsi:nil="true"/>
    <ef109fd36bcf4bcd9dd945731030600b xmlns="230e9df3-be65-4c73-a93b-d1236ebd677e">
      <Terms xmlns="http://schemas.microsoft.com/office/infopath/2007/PartnerControls"/>
    </ef109fd36bcf4bcd9dd945731030600b>
    <PublishDate xmlns="ad820760-4664-4be3-bee2-f8b9a6708b4c" xsi:nil="true"/>
    <LCA_x0020_Approved xmlns="230e9df3-be65-4c73-a93b-d1236ebd677e">
      <UserInfo>
        <DisplayName/>
        <AccountId xsi:nil="true"/>
        <AccountType/>
      </UserInfo>
    </LCA_x0020_Approved>
    <ec5b2ad5c27b45fb8a00a1f27c7ce1ae xmlns="230e9df3-be65-4c73-a93b-d1236ebd677e">
      <Terms xmlns="http://schemas.microsoft.com/office/infopath/2007/PartnerControls"/>
    </ec5b2ad5c27b45fb8a00a1f27c7ce1ae>
    <bf80e81150e248c48aa8cffdf0021a1f xmlns="230e9df3-be65-4c73-a93b-d1236ebd677e">
      <Terms xmlns="http://schemas.microsoft.com/office/infopath/2007/PartnerControls">
        <TermInfo xmlns="http://schemas.microsoft.com/office/infopath/2007/PartnerControls">
          <TermName xmlns="http://schemas.microsoft.com/office/infopath/2007/PartnerControls">Microsoft SQL Server</TermName>
          <TermId xmlns="http://schemas.microsoft.com/office/infopath/2007/PartnerControls">261ba873-f3ab-420e-96d6-e3004596a551</TermId>
        </TermInfo>
      </Terms>
    </bf80e81150e248c48aa8cffdf0021a1f>
    <m6d26e40ac264097a006193f92232ece xmlns="230e9df3-be65-4c73-a93b-d1236ebd677e">
      <Terms xmlns="http://schemas.microsoft.com/office/infopath/2007/PartnerControls"/>
    </m6d26e40ac264097a006193f92232ece>
    <b60f8d2dbb984f349d80d8196897f4d3 xmlns="230e9df3-be65-4c73-a93b-d1236ebd677e">
      <Terms xmlns="http://schemas.microsoft.com/office/infopath/2007/PartnerControls"/>
    </b60f8d2dbb984f349d80d8196897f4d3>
    <Thumbnail1 xmlns="230e9df3-be65-4c73-a93b-d1236ebd677e">
      <Url>http://infopedia/kc02/media/Thumbnails/Server and Tools Business/KC02-23-74579/HDInsightTechDeepDive.png</Url>
      <Description>/kc02/media/Thumbnails/Server and Tools Business/KC02-23-74579/HDInsightTechDeepDive.png</Description>
    </Thumbnail1>
    <i0d941ee1e744ffea7aeee9924c91cbb xmlns="230e9df3-be65-4c73-a93b-d1236ebd677e">
      <Terms xmlns="http://schemas.microsoft.com/office/infopath/2007/PartnerControls">
        <TermInfo xmlns="http://schemas.microsoft.com/office/infopath/2007/PartnerControls">
          <TermName xmlns="http://schemas.microsoft.com/office/infopath/2007/PartnerControls">modern data warehouses</TermName>
          <TermId xmlns="http://schemas.microsoft.com/office/infopath/2007/PartnerControls">73a3f3c0-b1f4-4059-b3f7-d568167cd895</TermId>
        </TermInfo>
      </Terms>
    </i0d941ee1e744ffea7aeee9924c91cbb>
    <PublishingExpirationDate xmlns="http://schemas.microsoft.com/sharepoint/v3" xsi:nil="true"/>
    <RoutingRuleDescription xmlns="http://schemas.microsoft.com/sharepoint/v3" xsi:nil="true"/>
    <DocumentSetKcId xmlns="ad820760-4664-4be3-bee2-f8b9a6708b4c">74579</DocumentSetKcId>
    <CoOwner xmlns="ad820760-4664-4be3-bee2-f8b9a6708b4c">
      <UserInfo>
        <DisplayName>i:0#.w|redmond\v-anmarv</DisplayName>
        <AccountId>62976</AccountId>
        <AccountType/>
      </UserInfo>
      <UserInfo>
        <DisplayName>i:0#.w|redmond\chrisper</DisplayName>
        <AccountId>49210</AccountId>
        <AccountType/>
      </UserInfo>
    </CoOwner>
    <i1b478372f814787abd313030b81fcb2 xmlns="230e9df3-be65-4c73-a93b-d1236ebd677e">
      <Terms xmlns="http://schemas.microsoft.com/office/infopath/2007/PartnerControls"/>
    </i1b478372f814787abd313030b81fcb2>
    <TaxKeywordTaxHTField xmlns="230e9df3-be65-4c73-a93b-d1236ebd677e">
      <Terms xmlns="http://schemas.microsoft.com/office/infopath/2007/PartnerControls"/>
    </TaxKeywordTaxHTField>
    <TaxCatchAll xmlns="230e9df3-be65-4c73-a93b-d1236ebd677e">
      <Value>31</Value>
      <Value>2325</Value>
      <Value>311</Value>
      <Value>262</Value>
      <Value>566</Value>
      <Value>156</Value>
      <Value>1</Value>
      <Value>762</Value>
    </TaxCatchAll>
    <mb88723863e1404388ba3733387d48df xmlns="230e9df3-be65-4c73-a93b-d1236ebd677e">
      <Terms xmlns="http://schemas.microsoft.com/office/infopath/2007/PartnerControls"/>
    </mb88723863e1404388ba3733387d48df>
    <b1337ea954344dcfb0425a10eee4daa8 xmlns="ad820760-4664-4be3-bee2-f8b9a6708b4c">
      <Terms xmlns="http://schemas.microsoft.com/office/infopath/2007/PartnerControls"/>
    </b1337ea954344dcfb0425a10eee4daa8>
    <kf34bcdc8fc34e479d3f94c6210e8e27 xmlns="230e9df3-be65-4c73-a93b-d1236ebd677e">
      <Terms xmlns="http://schemas.microsoft.com/office/infopath/2007/PartnerControls"/>
    </kf34bcdc8fc34e479d3f94c6210e8e27>
    <m6c7b4717b6346e6a075a59dd47eac69 xmlns="230e9df3-be65-4c73-a93b-d1236ebd677e">
      <Terms xmlns="http://schemas.microsoft.com/office/infopath/2007/PartnerControls"/>
    </m6c7b4717b6346e6a075a59dd47eac69>
    <_dlc_DocId xmlns="230e9df3-be65-4c73-a93b-d1236ebd677e">KC02-23-74581</_dlc_DocId>
    <_dlc_DocIdUrl xmlns="230e9df3-be65-4c73-a93b-d1236ebd677e">
      <Url>http://infopedia/kc02/docstore/_layouts/DocIdRedir.aspx?ID=KC02-23-74581</Url>
      <Description>KC02-23-74581</Description>
    </_dlc_DocIdUrl>
    <AverageRating xmlns="http://schemas.microsoft.com/sharepoint/v3" xsi:nil="true"/>
  </documentManagement>
</p:properties>
</file>

<file path=customXml/item4.xml><?xml version="1.0" encoding="utf-8"?>
<?mso-contentType ?>
<FormTemplates xmlns="http://schemas.microsoft.com/sharepoint/v3/contenttype/forms">
  <Display>DocumentLibraryForm</Display>
  <Edit>DocumentLibraryForm</Edit>
  <New>DocumentLibraryForm</New>
</FormTemplates>
</file>

<file path=customXml/item5.xml><?xml version="1.0" encoding="utf-8"?>
<ct:contentTypeSchema xmlns:ct="http://schemas.microsoft.com/office/2006/metadata/contentType" xmlns:ma="http://schemas.microsoft.com/office/2006/metadata/properties/metaAttributes" ct:_="" ma:_="" ma:contentTypeName="KCDoc" ma:contentTypeID="0x0101000E4CB7077FEE4FF7AE86D4A500EEC7800300C6CD36C6B4DAA64EAACFCCF5D9298AA000B09CC05C6355444CB49B4B62F83D23B8" ma:contentTypeVersion="43" ma:contentTypeDescription="" ma:contentTypeScope="" ma:versionID="529c3d1a1ff7547e8cab9af9dc74631e">
  <xsd:schema xmlns:xsd="http://www.w3.org/2001/XMLSchema" xmlns:xs="http://www.w3.org/2001/XMLSchema" xmlns:p="http://schemas.microsoft.com/office/2006/metadata/properties" xmlns:ns1="http://schemas.microsoft.com/sharepoint/v3" xmlns:ns2="230e9df3-be65-4c73-a93b-d1236ebd677e" xmlns:ns3="ad820760-4664-4be3-bee2-f8b9a6708b4c" xmlns:ns4="http://schemas.microsoft.com/sharepoint/v4" targetNamespace="http://schemas.microsoft.com/office/2006/metadata/properties" ma:root="true" ma:fieldsID="d263f6792e3b868d0f42c9b986651ab9" ns1:_="" ns2:_="" ns3:_="" ns4:_="">
    <xsd:import namespace="http://schemas.microsoft.com/sharepoint/v3"/>
    <xsd:import namespace="230e9df3-be65-4c73-a93b-d1236ebd677e"/>
    <xsd:import namespace="ad820760-4664-4be3-bee2-f8b9a6708b4c"/>
    <xsd:import namespace="http://schemas.microsoft.com/sharepoint/v4"/>
    <xsd:element name="properties">
      <xsd:complexType>
        <xsd:sequence>
          <xsd:element name="documentManagement">
            <xsd:complexType>
              <xsd:all>
                <xsd:element ref="ns2:DocumentDescription" minOccurs="0"/>
                <xsd:element ref="ns3:PublishDate" minOccurs="0"/>
                <xsd:element ref="ns1:PublishingExpirationDate" minOccurs="0"/>
                <xsd:element ref="ns1:AverageRating" minOccurs="0"/>
                <xsd:element ref="ns2:Thumbnail1" minOccurs="0"/>
                <xsd:element ref="ns1:PublishingPageContent" minOccurs="0"/>
                <xsd:element ref="ns1:RatingCount" minOccurs="0"/>
                <xsd:element ref="ns2:Owner" minOccurs="0"/>
                <xsd:element ref="ns2:LCA_x0020_Approved" minOccurs="0"/>
                <xsd:element ref="ns2:Expire_x0020_Review" minOccurs="0"/>
                <xsd:element ref="ns3:DocumentSetKcId" minOccurs="0"/>
                <xsd:element ref="ns3:CoOwner" minOccurs="0"/>
                <xsd:element ref="ns3:MediaTitle" minOccurs="0"/>
                <xsd:element ref="ns2:hd9637eefc984b85b6097c6374e15725" minOccurs="0"/>
                <xsd:element ref="ns2:l3c3ea61849e4288a8acc49bb5388e8c" minOccurs="0"/>
                <xsd:element ref="ns1:RoutingRuleDescription" minOccurs="0"/>
                <xsd:element ref="ns2:i0d941ee1e744ffea7aeee9924c91cbb" minOccurs="0"/>
                <xsd:element ref="ns2:TaxCatchAllLabel" minOccurs="0"/>
                <xsd:element ref="ns2:k21a64daf20d4502b2796a1c6b8ce6c8" minOccurs="0"/>
                <xsd:element ref="ns2:TaxCatchAll" minOccurs="0"/>
                <xsd:element ref="ns2:ef109fd36bcf4bcd9dd945731030600b" minOccurs="0"/>
                <xsd:element ref="ns2:mb88723863e1404388ba3733387d48df" minOccurs="0"/>
                <xsd:element ref="ns2:kf34bcdc8fc34e479d3f94c6210e8e27" minOccurs="0"/>
                <xsd:element ref="ns2:_dlc_DocIdUrl" minOccurs="0"/>
                <xsd:element ref="ns2:ec5b2ad5c27b45fb8a00a1f27c7ce1ae" minOccurs="0"/>
                <xsd:element ref="ns2:_dlc_DocIdPersistId" minOccurs="0"/>
                <xsd:element ref="ns2:b60f8d2dbb984f349d80d8196897f4d3" minOccurs="0"/>
                <xsd:element ref="ns2:ConfidentialityTaxHTField0" minOccurs="0"/>
                <xsd:element ref="ns3:ApplyWorkflowRules" minOccurs="0"/>
                <xsd:element ref="ns2:k20e0dfa74bf4e44818db03027b0ccd8" minOccurs="0"/>
                <xsd:element ref="ns2:eb54ac91059940029a3cc8a4ff5af673" minOccurs="0"/>
                <xsd:element ref="ns2:i1b478372f814787abd313030b81fcb2" minOccurs="0"/>
                <xsd:element ref="ns4:IconOverlay" minOccurs="0"/>
                <xsd:element ref="ns2:TaxKeywordTaxHTField" minOccurs="0"/>
                <xsd:element ref="ns2:od9986d31974458fb3007746ec0bce5f" minOccurs="0"/>
                <xsd:element ref="ns2:m6c7b4717b6346e6a075a59dd47eac69" minOccurs="0"/>
                <xsd:element ref="ns2:_dlc_DocId" minOccurs="0"/>
                <xsd:element ref="ns3:b1337ea954344dcfb0425a10eee4daa8" minOccurs="0"/>
                <xsd:element ref="ns2:bf80e81150e248c48aa8cffdf0021a1f" minOccurs="0"/>
                <xsd:element ref="ns2:m6d26e40ac264097a006193f92232ec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ExpirationDate" ma:index="4" nillable="true" ma:displayName="Scheduling End Date" ma:internalName="PublishingExpirationDate">
      <xsd:simpleType>
        <xsd:restriction base="dms:Unknown"/>
      </xsd:simpleType>
    </xsd:element>
    <xsd:element name="AverageRating" ma:index="5" nillable="true" ma:displayName="Rating (0-5)" ma:decimals="2" ma:description="Average value of all the ratings that have been submitted" ma:internalName="AverageRating" ma:readOnly="true">
      <xsd:simpleType>
        <xsd:restriction base="dms:Number"/>
      </xsd:simpleType>
    </xsd:element>
    <xsd:element name="PublishingPageContent" ma:index="13" nillable="true" ma:displayName="Page Content" ma:internalName="PublishingPageContent">
      <xsd:simpleType>
        <xsd:restriction base="dms:Unknown"/>
      </xsd:simpleType>
    </xsd:element>
    <xsd:element name="RatingCount" ma:index="15" nillable="true" ma:displayName="Number of Ratings" ma:decimals="0" ma:description="Number of ratings submitted" ma:internalName="RatingCount" ma:readOnly="true">
      <xsd:simpleType>
        <xsd:restriction base="dms:Number"/>
      </xsd:simpleType>
    </xsd:element>
    <xsd:element name="RoutingRuleDescription" ma:index="36" nillable="true" ma:displayName="Description" ma:hidden="true" ma:internalName="RoutingRuleDescription" ma:readOnly="false">
      <xsd:simpleType>
        <xsd:restriction base="dms:Text">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DocumentDescription" ma:index="2" nillable="true" ma:displayName="DocumentDescription" ma:description="Alternate description for documents that can be used for display." ma:internalName="DocumentDescription">
      <xsd:simpleType>
        <xsd:restriction base="dms:Note"/>
      </xsd:simpleType>
    </xsd:element>
    <xsd:element name="Thumbnail1" ma:index="12" nillable="true" ma:displayName="Thumbnail" ma:format="Hyperlink" ma:internalName="Thumbnail1" ma:readOnly="false">
      <xsd:complexType>
        <xsd:complexContent>
          <xsd:extension base="dms:URL">
            <xsd:sequence>
              <xsd:element name="Url" type="dms:ValidUrl" minOccurs="0" nillable="true"/>
              <xsd:element name="Description" type="xsd:string" nillable="true"/>
            </xsd:sequence>
          </xsd:extension>
        </xsd:complexContent>
      </xsd:complexType>
    </xsd:element>
    <xsd:element name="Owner" ma:index="17" nillable="true" ma:displayName="Owner" ma:description="Must be an FTE" ma:indexed="true" ma:list="UserInfo" ma:SharePointGroup="0" ma:internalName="Owner" ma:readOnly="false" ma:showField="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LCA_x0020_Approved" ma:index="23" nillable="true" ma:displayName="LCA Approved" ma:description="This field is for the name of the person from LCA that reviewed and approved the content." ma:list="UserInfo" ma:SharePointGroup="0" ma:internalName="LCA_x0020_Approved"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Expire_x0020_Review" ma:index="28" nillable="true" ma:displayName="Expiration" ma:format="DateOnly" ma:indexed="true" ma:internalName="Expire_x0020_Review" ma:readOnly="false">
      <xsd:simpleType>
        <xsd:restriction base="dms:DateTime"/>
      </xsd:simpleType>
    </xsd:element>
    <xsd:element name="hd9637eefc984b85b6097c6374e15725" ma:index="34" nillable="true" ma:taxonomy="true" ma:internalName="hd9637eefc984b85b6097c6374e15725" ma:taxonomyFieldName="ItemType" ma:displayName="SMSG Item Type" ma:readOnly="false" ma:default="" ma:fieldId="{1d9637ee-fc98-4b85-b609-7c6374e15725}" ma:taxonomyMulti="true" ma:sspId="e385fb40-52d4-4fae-9c5b-3e8ff8a5878e" ma:termSetId="a611a704-4666-406e-a571-a6e9bb4a2dcc" ma:anchorId="3d59bf14-be35-4b82-81a4-70bbe2a90cc2" ma:open="false" ma:isKeyword="false">
      <xsd:complexType>
        <xsd:sequence>
          <xsd:element ref="pc:Terms" minOccurs="0" maxOccurs="1"/>
        </xsd:sequence>
      </xsd:complexType>
    </xsd:element>
    <xsd:element name="l3c3ea61849e4288a8acc49bb5388e8c" ma:index="35" nillable="true" ma:taxonomy="true" ma:internalName="l3c3ea61849e4288a8acc49bb5388e8c" ma:taxonomyFieldName="Groups" ma:displayName="SMSG Groups" ma:readOnly="false" ma:default="" ma:fieldId="{53c3ea61-849e-4288-a8ac-c49bb5388e8c}" ma:taxonomyMulti="true" ma:sspId="e385fb40-52d4-4fae-9c5b-3e8ff8a5878e" ma:termSetId="d039009f-2da8-468b-bf5e-ff4693a9f72f" ma:anchorId="ec38e82f-eddf-4553-aa72-f3bd3c1d5855" ma:open="false" ma:isKeyword="false">
      <xsd:complexType>
        <xsd:sequence>
          <xsd:element ref="pc:Terms" minOccurs="0" maxOccurs="1"/>
        </xsd:sequence>
      </xsd:complexType>
    </xsd:element>
    <xsd:element name="i0d941ee1e744ffea7aeee9924c91cbb" ma:index="37" nillable="true" ma:taxonomy="true" ma:internalName="i0d941ee1e744ffea7aeee9924c91cbb" ma:taxonomyFieldName="BusinessArchitecture" ma:displayName="SMSG Business Architecture" ma:readOnly="false" ma:default="" ma:fieldId="{20d941ee-1e74-4ffe-a7ae-ee9924c91cbb}" ma:taxonomyMulti="true" ma:sspId="e385fb40-52d4-4fae-9c5b-3e8ff8a5878e" ma:termSetId="d039009f-2da8-468b-bf5e-ff4693a9f72f" ma:anchorId="1951c1e0-4cc7-414f-a435-7369277bc757" ma:open="false" ma:isKeyword="false">
      <xsd:complexType>
        <xsd:sequence>
          <xsd:element ref="pc:Terms" minOccurs="0" maxOccurs="1"/>
        </xsd:sequence>
      </xsd:complexType>
    </xsd:element>
    <xsd:element name="TaxCatchAllLabel" ma:index="38" nillable="true" ma:displayName="Taxonomy Catch All Column1" ma:hidden="true" ma:list="{341bdb36-d19b-4bce-9fa6-6145346cf024}" ma:internalName="TaxCatchAllLabel" ma:readOnly="true" ma:showField="CatchAllDataLabel" ma:web="ad820760-4664-4be3-bee2-f8b9a6708b4c">
      <xsd:complexType>
        <xsd:complexContent>
          <xsd:extension base="dms:MultiChoiceLookup">
            <xsd:sequence>
              <xsd:element name="Value" type="dms:Lookup" maxOccurs="unbounded" minOccurs="0" nillable="true"/>
            </xsd:sequence>
          </xsd:extension>
        </xsd:complexContent>
      </xsd:complexType>
    </xsd:element>
    <xsd:element name="k21a64daf20d4502b2796a1c6b8ce6c8" ma:index="40" nillable="true" ma:taxonomy="true" ma:internalName="k21a64daf20d4502b2796a1c6b8ce6c8" ma:taxonomyFieldName="Industries" ma:displayName="SMSG Industries" ma:readOnly="false" ma:default="" ma:fieldId="{421a64da-f20d-4502-b279-6a1c6b8ce6c8}" ma:taxonomyMulti="true" ma:sspId="e385fb40-52d4-4fae-9c5b-3e8ff8a5878e" ma:termSetId="a611a704-4666-406e-a571-a6e9bb4a2dcc" ma:anchorId="322da17f-7441-43de-8ac8-ca7d62aec02b" ma:open="false" ma:isKeyword="false">
      <xsd:complexType>
        <xsd:sequence>
          <xsd:element ref="pc:Terms" minOccurs="0" maxOccurs="1"/>
        </xsd:sequence>
      </xsd:complexType>
    </xsd:element>
    <xsd:element name="TaxCatchAll" ma:index="41" nillable="true" ma:displayName="Taxonomy Catch All Column" ma:hidden="true" ma:list="{341bdb36-d19b-4bce-9fa6-6145346cf024}" ma:internalName="TaxCatchAll" ma:showField="CatchAllData" ma:web="ad820760-4664-4be3-bee2-f8b9a6708b4c">
      <xsd:complexType>
        <xsd:complexContent>
          <xsd:extension base="dms:MultiChoiceLookup">
            <xsd:sequence>
              <xsd:element name="Value" type="dms:Lookup" maxOccurs="unbounded" minOccurs="0" nillable="true"/>
            </xsd:sequence>
          </xsd:extension>
        </xsd:complexContent>
      </xsd:complexType>
    </xsd:element>
    <xsd:element name="ef109fd36bcf4bcd9dd945731030600b" ma:index="42" nillable="true" ma:taxonomy="true" ma:internalName="ef109fd36bcf4bcd9dd945731030600b" ma:taxonomyFieldName="Region" ma:displayName="SMSG Region" ma:readOnly="false" ma:default="" ma:fieldId="{ef109fd3-6bcf-4bcd-9dd9-45731030600b}" ma:taxonomyMulti="true" ma:sspId="e385fb40-52d4-4fae-9c5b-3e8ff8a5878e" ma:termSetId="a611a704-4666-406e-a571-a6e9bb4a2dcc" ma:anchorId="c5404caa-7d82-41c6-82c2-0230c1d96864" ma:open="false" ma:isKeyword="false">
      <xsd:complexType>
        <xsd:sequence>
          <xsd:element ref="pc:Terms" minOccurs="0" maxOccurs="1"/>
        </xsd:sequence>
      </xsd:complexType>
    </xsd:element>
    <xsd:element name="mb88723863e1404388ba3733387d48df" ma:index="43" nillable="true" ma:taxonomy="true" ma:internalName="mb88723863e1404388ba3733387d48df" ma:taxonomyFieldName="Audiences" ma:displayName="SMSG Customer Audiences" ma:readOnly="false" ma:default="" ma:fieldId="{6b887238-63e1-4043-88ba-3733387d48df}" ma:taxonomyMulti="true" ma:sspId="e385fb40-52d4-4fae-9c5b-3e8ff8a5878e" ma:termSetId="a611a704-4666-406e-a571-a6e9bb4a2dcc" ma:anchorId="8a0280e9-c6e8-4e3c-80d6-8db643b96ddd" ma:open="false" ma:isKeyword="false">
      <xsd:complexType>
        <xsd:sequence>
          <xsd:element ref="pc:Terms" minOccurs="0" maxOccurs="1"/>
        </xsd:sequence>
      </xsd:complexType>
    </xsd:element>
    <xsd:element name="kf34bcdc8fc34e479d3f94c6210e8e27" ma:index="44" nillable="true" ma:taxonomy="true" ma:internalName="kf34bcdc8fc34e479d3f94c6210e8e27" ma:taxonomyFieldName="Competitors" ma:displayName="SMSG Competition" ma:readOnly="false" ma:default="" ma:fieldId="{4f34bcdc-8fc3-4e47-9d3f-94c6210e8e27}" ma:taxonomyMulti="true" ma:sspId="e385fb40-52d4-4fae-9c5b-3e8ff8a5878e" ma:termSetId="a611a704-4666-406e-a571-a6e9bb4a2dcc" ma:anchorId="718f8fd0-b740-48bc-92ad-5700213c04b2" ma:open="false" ma:isKeyword="false">
      <xsd:complexType>
        <xsd:sequence>
          <xsd:element ref="pc:Terms" minOccurs="0" maxOccurs="1"/>
        </xsd:sequence>
      </xsd:complexType>
    </xsd:element>
    <xsd:element name="_dlc_DocIdUrl" ma:index="45"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ec5b2ad5c27b45fb8a00a1f27c7ce1ae" ma:index="46" nillable="true" ma:taxonomy="true" ma:internalName="ec5b2ad5c27b45fb8a00a1f27c7ce1ae" ma:taxonomyFieldName="Partners" ma:displayName="SMSG Partners" ma:readOnly="false" ma:default="" ma:fieldId="{ec5b2ad5-c27b-45fb-8a00-a1f27c7ce1ae}" ma:taxonomyMulti="true" ma:sspId="e385fb40-52d4-4fae-9c5b-3e8ff8a5878e" ma:termSetId="a611a704-4666-406e-a571-a6e9bb4a2dcc" ma:anchorId="dd1a91fa-3198-4561-9b04-bc737b2a8291" ma:open="false" ma:isKeyword="false">
      <xsd:complexType>
        <xsd:sequence>
          <xsd:element ref="pc:Terms" minOccurs="0" maxOccurs="1"/>
        </xsd:sequence>
      </xsd:complexType>
    </xsd:element>
    <xsd:element name="_dlc_DocIdPersistId" ma:index="47" nillable="true" ma:displayName="Persist ID" ma:description="Keep ID on add." ma:hidden="true" ma:internalName="_dlc_DocIdPersistId" ma:readOnly="true">
      <xsd:simpleType>
        <xsd:restriction base="dms:Boolean"/>
      </xsd:simpleType>
    </xsd:element>
    <xsd:element name="b60f8d2dbb984f349d80d8196897f4d3" ma:index="48" nillable="true" ma:taxonomy="true" ma:internalName="b60f8d2dbb984f349d80d8196897f4d3" ma:taxonomyFieldName="Roles" ma:displayName="SMSG Roles" ma:readOnly="false" ma:default="" ma:fieldId="{b60f8d2d-bb98-4f34-9d80-d8196897f4d3}" ma:taxonomyMulti="true" ma:sspId="e385fb40-52d4-4fae-9c5b-3e8ff8a5878e" ma:termSetId="a611a704-4666-406e-a571-a6e9bb4a2dcc" ma:anchorId="c9a07ef0-4236-4915-97ca-1b3392dac369" ma:open="false" ma:isKeyword="false">
      <xsd:complexType>
        <xsd:sequence>
          <xsd:element ref="pc:Terms" minOccurs="0" maxOccurs="1"/>
        </xsd:sequence>
      </xsd:complexType>
    </xsd:element>
    <xsd:element name="ConfidentialityTaxHTField0" ma:index="49" nillable="true" ma:taxonomy="true" ma:internalName="ConfidentialityTaxHTField0" ma:taxonomyFieldName="Confidentiality" ma:displayName="Confidentiality" ma:indexed="true" ma:readOnly="false" ma:default="1;#Microsoft confidential|461efa83-0283-486a-a8d5-943328f3693f" ma:fieldId="{840a9f3c-1e14-4c21-9dbf-5637765665db}" ma:sspId="e385fb40-52d4-4fae-9c5b-3e8ff8a5878e" ma:termSetId="e0e820dc-7da0-48b9-8472-209c7e82d1d0" ma:anchorId="00000000-0000-0000-0000-000000000000" ma:open="false" ma:isKeyword="false">
      <xsd:complexType>
        <xsd:sequence>
          <xsd:element ref="pc:Terms" minOccurs="0" maxOccurs="1"/>
        </xsd:sequence>
      </xsd:complexType>
    </xsd:element>
    <xsd:element name="k20e0dfa74bf4e44818db03027b0ccd8" ma:index="51" nillable="true" ma:taxonomy="true" ma:internalName="k20e0dfa74bf4e44818db03027b0ccd8" ma:taxonomyFieldName="Segments" ma:displayName="SMSG Customer Segments" ma:readOnly="false" ma:default="" ma:fieldId="{420e0dfa-74bf-4e44-818d-b03027b0ccd8}" ma:taxonomyMulti="true" ma:sspId="e385fb40-52d4-4fae-9c5b-3e8ff8a5878e" ma:termSetId="a611a704-4666-406e-a571-a6e9bb4a2dcc" ma:anchorId="dd7a2ee5-7d01-4a82-9346-1eefa47ece8b" ma:open="false" ma:isKeyword="false">
      <xsd:complexType>
        <xsd:sequence>
          <xsd:element ref="pc:Terms" minOccurs="0" maxOccurs="1"/>
        </xsd:sequence>
      </xsd:complexType>
    </xsd:element>
    <xsd:element name="eb54ac91059940029a3cc8a4ff5af673" ma:index="53" nillable="true" ma:taxonomy="true" ma:internalName="eb54ac91059940029a3cc8a4ff5af673" ma:taxonomyFieldName="SMSGDomain" ma:displayName="SMSG Domain" ma:readOnly="false" ma:default="" ma:fieldId="{eb54ac91-0599-4002-9a3c-c8a4ff5af673}" ma:taxonomyMulti="true" ma:sspId="e385fb40-52d4-4fae-9c5b-3e8ff8a5878e" ma:termSetId="a611a704-4666-406e-a571-a6e9bb4a2dcc" ma:anchorId="dd7a2ee5-7d01-4a82-9346-1eefa47ece8b" ma:open="false" ma:isKeyword="false">
      <xsd:complexType>
        <xsd:sequence>
          <xsd:element ref="pc:Terms" minOccurs="0" maxOccurs="1"/>
        </xsd:sequence>
      </xsd:complexType>
    </xsd:element>
    <xsd:element name="i1b478372f814787abd313030b81fcb2" ma:index="54" nillable="true" ma:taxonomy="true" ma:internalName="i1b478372f814787abd313030b81fcb2" ma:taxonomyFieldName="ActivitiesAndPrograms" ma:displayName="SMSG Activities &amp; Programs" ma:readOnly="false" ma:default="" ma:fieldId="{21b47837-2f81-4787-abd3-13030b81fcb2}" ma:taxonomyMulti="true" ma:sspId="e385fb40-52d4-4fae-9c5b-3e8ff8a5878e" ma:termSetId="d039009f-2da8-468b-bf5e-ff4693a9f72f" ma:anchorId="846d39ff-6475-4006-99df-de42970d666e" ma:open="false" ma:isKeyword="false">
      <xsd:complexType>
        <xsd:sequence>
          <xsd:element ref="pc:Terms" minOccurs="0" maxOccurs="1"/>
        </xsd:sequence>
      </xsd:complexType>
    </xsd:element>
    <xsd:element name="TaxKeywordTaxHTField" ma:index="58" nillable="true" ma:taxonomy="true" ma:internalName="TaxKeywordTaxHTField" ma:taxonomyFieldName="TaxKeyword" ma:displayName="Enterprise Keywords" ma:readOnly="false"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od9986d31974458fb3007746ec0bce5f" ma:index="59" nillable="true" ma:taxonomy="true" ma:internalName="od9986d31974458fb3007746ec0bce5f" ma:taxonomyFieldName="Languages" ma:displayName="SMSG Languages" ma:default="" ma:fieldId="{8d9986d3-1974-458f-b300-7746ec0bce5f}" ma:taxonomyMulti="true" ma:sspId="e385fb40-52d4-4fae-9c5b-3e8ff8a5878e" ma:termSetId="a611a704-4666-406e-a571-a6e9bb4a2dcc" ma:anchorId="c5f267fd-fa38-4ffe-a1d8-2693d87e90bc" ma:open="false" ma:isKeyword="false">
      <xsd:complexType>
        <xsd:sequence>
          <xsd:element ref="pc:Terms" minOccurs="0" maxOccurs="1"/>
        </xsd:sequence>
      </xsd:complexType>
    </xsd:element>
    <xsd:element name="m6c7b4717b6346e6a075a59dd47eac69" ma:index="60" nillable="true" ma:taxonomy="true" ma:internalName="m6c7b4717b6346e6a075a59dd47eac69" ma:taxonomyFieldName="Topics" ma:displayName="SMSG Topics" ma:readOnly="false" ma:default="" ma:fieldId="{66c7b471-7b63-46e6-a075-a59dd47eac69}" ma:taxonomyMulti="true" ma:sspId="e385fb40-52d4-4fae-9c5b-3e8ff8a5878e" ma:termSetId="d039009f-2da8-468b-bf5e-ff4693a9f72f" ma:anchorId="ddcce936-3357-448e-8326-e6fdfddfb752" ma:open="false" ma:isKeyword="false">
      <xsd:complexType>
        <xsd:sequence>
          <xsd:element ref="pc:Terms" minOccurs="0" maxOccurs="1"/>
        </xsd:sequence>
      </xsd:complexType>
    </xsd:element>
    <xsd:element name="_dlc_DocId" ma:index="61" nillable="true" ma:displayName="Document ID Value" ma:description="The value of the document ID assigned to this item." ma:indexed="true" ma:internalName="_dlc_DocId" ma:readOnly="true">
      <xsd:simpleType>
        <xsd:restriction base="dms:Text"/>
      </xsd:simpleType>
    </xsd:element>
    <xsd:element name="bf80e81150e248c48aa8cffdf0021a1f" ma:index="65" nillable="true" ma:taxonomy="true" ma:internalName="bf80e81150e248c48aa8cffdf0021a1f" ma:taxonomyFieldName="Products" ma:displayName="SMSG Products &amp; Technologies" ma:readOnly="false" ma:default="" ma:fieldId="{bf80e811-50e2-48c4-8aa8-cffdf0021a1f}" ma:taxonomyMulti="true" ma:sspId="e385fb40-52d4-4fae-9c5b-3e8ff8a5878e" ma:termSetId="a611a704-4666-406e-a571-a6e9bb4a2dcc" ma:anchorId="f7bdd4ba-8e81-43d6-a504-860f505d5c97" ma:open="false" ma:isKeyword="false">
      <xsd:complexType>
        <xsd:sequence>
          <xsd:element ref="pc:Terms" minOccurs="0" maxOccurs="1"/>
        </xsd:sequence>
      </xsd:complexType>
    </xsd:element>
    <xsd:element name="m6d26e40ac264097a006193f92232ece" ma:index="66" nillable="true" ma:taxonomy="true" ma:internalName="m6d26e40ac264097a006193f92232ece" ma:taxonomyFieldName="TechnicalLevel" ma:displayName="Technical Level" ma:readOnly="false" ma:default="" ma:fieldId="{66d26e40-ac26-4097-a006-193f92232ece}" ma:sspId="e385fb40-52d4-4fae-9c5b-3e8ff8a5878e" ma:termSetId="7123edbd-7265-47b9-9049-04e46d245d8e" ma:anchorId="3c636e1e-6390-429f-a144-68438d32bffe"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ad820760-4664-4be3-bee2-f8b9a6708b4c" elementFormDefault="qualified">
    <xsd:import namespace="http://schemas.microsoft.com/office/2006/documentManagement/types"/>
    <xsd:import namespace="http://schemas.microsoft.com/office/infopath/2007/PartnerControls"/>
    <xsd:element name="PublishDate" ma:index="3" nillable="true" ma:displayName="PublishDate" ma:description="Used in Blog Posts and documents." ma:format="DateOnly" ma:indexed="true" ma:internalName="PublishDate">
      <xsd:simpleType>
        <xsd:restriction base="dms:DateTime"/>
      </xsd:simpleType>
    </xsd:element>
    <xsd:element name="DocumentSetKcId" ma:index="31" nillable="true" ma:displayName="DocumentSetKcId" ma:description="Custom Column used to capture Document ID to share with DocumentSet Contents" ma:indexed="true" ma:internalName="DocumentSetKcId" ma:readOnly="false">
      <xsd:simpleType>
        <xsd:restriction base="dms:Text">
          <xsd:maxLength value="255"/>
        </xsd:restriction>
      </xsd:simpleType>
    </xsd:element>
    <xsd:element name="CoOwner" ma:index="32" nillable="true" ma:displayName="Co-Owner" ma:description="Co-Owner" ma:list="UserInfo" ma:SharePointGroup="0" ma:internalName="CoOwner" ma:readOnly="false" ma:showField="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MediaTitle" ma:index="33" nillable="true" ma:displayName="BlogPostID" ma:description="Blog Post ID to link documents on the blog post." ma:internalName="MediaTitle" ma:readOnly="false">
      <xsd:simpleType>
        <xsd:restriction base="dms:Text">
          <xsd:maxLength value="255"/>
        </xsd:restriction>
      </xsd:simpleType>
    </xsd:element>
    <xsd:element name="ApplyWorkflowRules" ma:index="50" nillable="true" ma:displayName="ApplyWorkflowRules" ma:default="Yes" ma:description="This columns is used to help to apply the workflow rules on Document Sets / Documents. by Default the Value is Yes" ma:format="Dropdown" ma:hidden="true" ma:internalName="ApplyWorkflowRules" ma:readOnly="false">
      <xsd:simpleType>
        <xsd:restriction base="dms:Choice">
          <xsd:enumeration value="Yes"/>
          <xsd:enumeration value="No"/>
        </xsd:restriction>
      </xsd:simpleType>
    </xsd:element>
    <xsd:element name="b1337ea954344dcfb0425a10eee4daa8" ma:index="63" nillable="true" ma:taxonomy="true" ma:internalName="b1337ea954344dcfb0425a10eee4daa8" ma:taxonomyFieldName="EnterpriseDomainTags" ma:displayName="EnterpriseDomainTags" ma:default="" ma:fieldId="{b1337ea9-5434-4dcf-b042-5a10eee4daa8}" ma:taxonomyMulti="true" ma:sspId="e385fb40-52d4-4fae-9c5b-3e8ff8a5878e" ma:termSetId="d039009f-2da8-468b-bf5e-ff4693a9f72f"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4" elementFormDefault="qualified">
    <xsd:import namespace="http://schemas.microsoft.com/office/2006/documentManagement/types"/>
    <xsd:import namespace="http://schemas.microsoft.com/office/infopath/2007/PartnerControls"/>
    <xsd:element name="IconOverlay" ma:index="55" nillable="true" ma:displayName="IconOverlay" ma:hidden="true" ma:internalName="IconOverlay">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39"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FE409374-58EC-479C-B780-BEA40D16E8F1}"/>
</file>

<file path=customXml/itemProps2.xml><?xml version="1.0" encoding="utf-8"?>
<ds:datastoreItem xmlns:ds="http://schemas.openxmlformats.org/officeDocument/2006/customXml" ds:itemID="{84438D4E-AED5-4826-82B5-D69283AFCC44}"/>
</file>

<file path=customXml/itemProps3.xml><?xml version="1.0" encoding="utf-8"?>
<ds:datastoreItem xmlns:ds="http://schemas.openxmlformats.org/officeDocument/2006/customXml" ds:itemID="{257D2129-058C-406B-B2AA-6300A212079C}"/>
</file>

<file path=customXml/itemProps4.xml><?xml version="1.0" encoding="utf-8"?>
<ds:datastoreItem xmlns:ds="http://schemas.openxmlformats.org/officeDocument/2006/customXml" ds:itemID="{BD90002D-D2E1-4980-96ED-D44D50241574}"/>
</file>

<file path=customXml/itemProps5.xml><?xml version="1.0" encoding="utf-8"?>
<ds:datastoreItem xmlns:ds="http://schemas.openxmlformats.org/officeDocument/2006/customXml" ds:itemID="{760A0304-905F-45B4-B54A-C0F4C7E82D36}"/>
</file>

<file path=docProps/app.xml><?xml version="1.0" encoding="utf-8"?>
<Properties xmlns="http://schemas.openxmlformats.org/officeDocument/2006/extended-properties" xmlns:vt="http://schemas.openxmlformats.org/officeDocument/2006/docPropsVTypes">
  <Template/>
  <TotalTime>6233</TotalTime>
  <Words>6054</Words>
  <Application>Microsoft Office PowerPoint</Application>
  <PresentationFormat>Widescreen</PresentationFormat>
  <Paragraphs>897</Paragraphs>
  <Slides>70</Slides>
  <Notes>4</Notes>
  <HiddenSlides>0</HiddenSlides>
  <MMClips>0</MMClips>
  <ScaleCrop>false</ScaleCrop>
  <HeadingPairs>
    <vt:vector size="8" baseType="variant">
      <vt:variant>
        <vt:lpstr>Fonts Used</vt:lpstr>
      </vt:variant>
      <vt:variant>
        <vt:i4>13</vt:i4>
      </vt:variant>
      <vt:variant>
        <vt:lpstr>Theme</vt:lpstr>
      </vt:variant>
      <vt:variant>
        <vt:i4>1</vt:i4>
      </vt:variant>
      <vt:variant>
        <vt:lpstr>Embedded OLE Servers</vt:lpstr>
      </vt:variant>
      <vt:variant>
        <vt:i4>1</vt:i4>
      </vt:variant>
      <vt:variant>
        <vt:lpstr>Slide Titles</vt:lpstr>
      </vt:variant>
      <vt:variant>
        <vt:i4>70</vt:i4>
      </vt:variant>
    </vt:vector>
  </HeadingPairs>
  <TitlesOfParts>
    <vt:vector size="85" baseType="lpstr">
      <vt:lpstr>ＭＳ Ｐゴシック</vt:lpstr>
      <vt:lpstr>ＭＳ Ｐゴシック</vt:lpstr>
      <vt:lpstr>Arial</vt:lpstr>
      <vt:lpstr>Arial Narrow</vt:lpstr>
      <vt:lpstr>Calibri</vt:lpstr>
      <vt:lpstr>Consolas</vt:lpstr>
      <vt:lpstr>Segoe</vt:lpstr>
      <vt:lpstr>Segoe Semibold</vt:lpstr>
      <vt:lpstr>Segoe UI</vt:lpstr>
      <vt:lpstr>Segoe UI Light</vt:lpstr>
      <vt:lpstr>Segoe UI Semibold</vt:lpstr>
      <vt:lpstr>Segoe UI Semilight</vt:lpstr>
      <vt:lpstr>Wingdings</vt:lpstr>
      <vt:lpstr>Theme1</vt:lpstr>
      <vt:lpstr>think-cell Slide</vt:lpstr>
      <vt:lpstr>Apache Spark on Azure HDInsight A technical overview  Nishant Thacker Microsoft </vt:lpstr>
      <vt:lpstr>PowerPoint Presentation</vt:lpstr>
      <vt:lpstr>PowerPoint Presentation</vt:lpstr>
      <vt:lpstr>Apache Spark – An Unified Framework</vt:lpstr>
      <vt:lpstr>Spark - Benefits</vt:lpstr>
      <vt:lpstr>Advantages of Unified Platform</vt:lpstr>
      <vt:lpstr>Spark – Use cases</vt:lpstr>
      <vt:lpstr>Spark integrates well with Hadoop</vt:lpstr>
      <vt:lpstr>Spark is fast </vt:lpstr>
      <vt:lpstr>… especially for iterative applications</vt:lpstr>
      <vt:lpstr>What makes Spark fast?</vt:lpstr>
      <vt:lpstr>PowerPoint Presentation</vt:lpstr>
      <vt:lpstr>Spark Cluster Architecture</vt:lpstr>
      <vt:lpstr>Spark Cluster Architecture - Driver</vt:lpstr>
      <vt:lpstr>Core Abstraction: Resilient Data Sets (RDDs)</vt:lpstr>
      <vt:lpstr>RDDs: Transformations and Actions</vt:lpstr>
      <vt:lpstr>Transformations and Actions: Sample Code</vt:lpstr>
      <vt:lpstr>RDD Transformations (1)</vt:lpstr>
      <vt:lpstr>RDD Transformations (2)</vt:lpstr>
      <vt:lpstr>RDD Actions (1)</vt:lpstr>
      <vt:lpstr>RDD Actions(2)</vt:lpstr>
      <vt:lpstr>RDD Persistence Options</vt:lpstr>
      <vt:lpstr>Core Concept: Accumulators</vt:lpstr>
      <vt:lpstr>PowerPoint Presentation</vt:lpstr>
      <vt:lpstr>Developing Spark Apps with Notebooks</vt:lpstr>
      <vt:lpstr>Apache Zeppelin</vt:lpstr>
      <vt:lpstr>Zeppelin Architecture</vt:lpstr>
      <vt:lpstr>Jupyter </vt:lpstr>
      <vt:lpstr>PowerPoint Presentation</vt:lpstr>
      <vt:lpstr>Stream Processing</vt:lpstr>
      <vt:lpstr>What is Spark Streaming?</vt:lpstr>
      <vt:lpstr>How it works – High level Overview</vt:lpstr>
      <vt:lpstr>Core Abstraction: DStream</vt:lpstr>
      <vt:lpstr>DStream - Operations</vt:lpstr>
      <vt:lpstr>Sample Code</vt:lpstr>
      <vt:lpstr>Windowing in Spark</vt:lpstr>
      <vt:lpstr>Spark: Window Transformation Operations</vt:lpstr>
      <vt:lpstr>Windowing Sample Code</vt:lpstr>
      <vt:lpstr>“Exactly once”, “At Least Once” Guarantees</vt:lpstr>
      <vt:lpstr>PowerPoint Presentation</vt:lpstr>
      <vt:lpstr>Spark SQL Overview</vt:lpstr>
      <vt:lpstr>sqlContext and hiveContext</vt:lpstr>
      <vt:lpstr>Core Abstraction - DataFrames</vt:lpstr>
      <vt:lpstr>Creating DataFrames from Data Sources</vt:lpstr>
      <vt:lpstr>Creating DataFrames from RDDs</vt:lpstr>
      <vt:lpstr>DataFrame operations</vt:lpstr>
      <vt:lpstr>Tables and Queries</vt:lpstr>
      <vt:lpstr>Hive Tables</vt:lpstr>
      <vt:lpstr>PowerPoint Presentation</vt:lpstr>
      <vt:lpstr>What is MLlib?</vt:lpstr>
      <vt:lpstr>Movie Recommendation – Dataset</vt:lpstr>
      <vt:lpstr>Train the Model</vt:lpstr>
      <vt:lpstr>… Make Recommendations</vt:lpstr>
      <vt:lpstr>Recommender Performance Evaluation</vt:lpstr>
      <vt:lpstr>PowerPoint Presentation</vt:lpstr>
      <vt:lpstr>Creating a HDInsight Spark Cluster</vt:lpstr>
      <vt:lpstr>HDInsight Spark Dashboard</vt:lpstr>
      <vt:lpstr>HDInsight Spark Resource Manager</vt:lpstr>
      <vt:lpstr>Resizing a HDInsight Spark Cluster</vt:lpstr>
      <vt:lpstr>Notebooks: Jupyter and Zeppelin</vt:lpstr>
      <vt:lpstr>HDInsight Spark: Jupytr Notebooks</vt:lpstr>
      <vt:lpstr>HDInsight Spark: Zeppelin Notebooks</vt:lpstr>
      <vt:lpstr>Machine Learning with Anaconda </vt:lpstr>
      <vt:lpstr>Streaming with Azure Event Hub</vt:lpstr>
      <vt:lpstr>Creating HDInsight Spark with Script Actions</vt:lpstr>
      <vt:lpstr>Interactive Queries with Spark Shell</vt:lpstr>
      <vt:lpstr>Stand-alone Scale Programs</vt:lpstr>
      <vt:lpstr>Running and Managing Queries/Jobs</vt:lpstr>
      <vt:lpstr>Integration with BI Reporting Tools</vt:lpstr>
      <vt:lpstr>PowerPoint Presentation</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park on HDInsight - Technical Deep Dive</dc:title>
  <dc:creator>Nishant Thacker</dc:creator>
  <cp:keywords/>
  <cp:lastModifiedBy>Ann Marvin (Denny Mountain Media LLC)</cp:lastModifiedBy>
  <cp:revision>239</cp:revision>
  <cp:lastPrinted>2015-02-09T16:23:58Z</cp:lastPrinted>
  <dcterms:created xsi:type="dcterms:W3CDTF">2015-02-08T05:05:03Z</dcterms:created>
  <dcterms:modified xsi:type="dcterms:W3CDTF">2015-07-06T19:46:4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E4CB7077FEE4FF7AE86D4A500EEC7800300C6CD36C6B4DAA64EAACFCCF5D9298AA000B09CC05C6355444CB49B4B62F83D23B8</vt:lpwstr>
  </property>
  <property fmtid="{D5CDD505-2E9C-101B-9397-08002B2CF9AE}" pid="3" name="TaxKeyword">
    <vt:lpwstr/>
  </property>
  <property fmtid="{D5CDD505-2E9C-101B-9397-08002B2CF9AE}" pid="4" name="Audiences">
    <vt:lpwstr/>
  </property>
  <property fmtid="{D5CDD505-2E9C-101B-9397-08002B2CF9AE}" pid="5" name="Region">
    <vt:lpwstr/>
  </property>
  <property fmtid="{D5CDD505-2E9C-101B-9397-08002B2CF9AE}" pid="6" name="Confidentiality">
    <vt:lpwstr>1;#Microsoft confidential|461efa83-0283-486a-a8d5-943328f3693f</vt:lpwstr>
  </property>
  <property fmtid="{D5CDD505-2E9C-101B-9397-08002B2CF9AE}" pid="7" name="ActivitiesAndPrograms">
    <vt:lpwstr/>
  </property>
  <property fmtid="{D5CDD505-2E9C-101B-9397-08002B2CF9AE}" pid="8" name="Segments">
    <vt:lpwstr/>
  </property>
  <property fmtid="{D5CDD505-2E9C-101B-9397-08002B2CF9AE}" pid="9" name="Partners">
    <vt:lpwstr/>
  </property>
  <property fmtid="{D5CDD505-2E9C-101B-9397-08002B2CF9AE}" pid="10" name="Topics">
    <vt:lpwstr/>
  </property>
  <property fmtid="{D5CDD505-2E9C-101B-9397-08002B2CF9AE}" pid="11" name="Groups">
    <vt:lpwstr>762;#SQL Server Marketing|bb7921b3-c1d8-4da4-b894-8b6075d9546d;#311;#Cloud and Enterprise Marketing Group|4f75e184-e5aa-4234-a07f-b032d60df254</vt:lpwstr>
  </property>
  <property fmtid="{D5CDD505-2E9C-101B-9397-08002B2CF9AE}" pid="12" name="Industries">
    <vt:lpwstr/>
  </property>
  <property fmtid="{D5CDD505-2E9C-101B-9397-08002B2CF9AE}" pid="13" name="Roles">
    <vt:lpwstr/>
  </property>
  <property fmtid="{D5CDD505-2E9C-101B-9397-08002B2CF9AE}" pid="14" name="Competitors">
    <vt:lpwstr/>
  </property>
  <property fmtid="{D5CDD505-2E9C-101B-9397-08002B2CF9AE}" pid="15" name="SMSGDomain">
    <vt:lpwstr>156;#Server and Tools Business|6783548d-8609-4f97-be4a-4ca2616905a6;#566;#SQL Server Domain|0c0f1824-39dc-4b26-8c74-eff4364b812b</vt:lpwstr>
  </property>
  <property fmtid="{D5CDD505-2E9C-101B-9397-08002B2CF9AE}" pid="16" name="BusinessArchitecture">
    <vt:lpwstr>2325;#modern data warehouses|73a3f3c0-b1f4-4059-b3f7-d568167cd895</vt:lpwstr>
  </property>
  <property fmtid="{D5CDD505-2E9C-101B-9397-08002B2CF9AE}" pid="17" name="Products">
    <vt:lpwstr>262;#Microsoft SQL Server|261ba873-f3ab-420e-96d6-e3004596a551</vt:lpwstr>
  </property>
  <property fmtid="{D5CDD505-2E9C-101B-9397-08002B2CF9AE}" pid="18" name="_dlc_policyId">
    <vt:lpwstr/>
  </property>
  <property fmtid="{D5CDD505-2E9C-101B-9397-08002B2CF9AE}" pid="19" name="ItemRetentionFormula">
    <vt:lpwstr/>
  </property>
  <property fmtid="{D5CDD505-2E9C-101B-9397-08002B2CF9AE}" pid="20" name="_dlc_DocIdItemGuid">
    <vt:lpwstr>d6b9614a-17bc-4c40-be72-47bdeeaac7eb</vt:lpwstr>
  </property>
  <property fmtid="{D5CDD505-2E9C-101B-9397-08002B2CF9AE}" pid="21" name="ItemType">
    <vt:lpwstr>31;#technical presentations|83a894cf-702b-47fc-aba5-41bd10dc1e75</vt:lpwstr>
  </property>
  <property fmtid="{D5CDD505-2E9C-101B-9397-08002B2CF9AE}" pid="22" name="EnterpriseDomainTags">
    <vt:lpwstr/>
  </property>
  <property fmtid="{D5CDD505-2E9C-101B-9397-08002B2CF9AE}" pid="23" name="Languages">
    <vt:lpwstr/>
  </property>
  <property fmtid="{D5CDD505-2E9C-101B-9397-08002B2CF9AE}" pid="24" name="TechnicalLevel">
    <vt:lpwstr/>
  </property>
  <property fmtid="{D5CDD505-2E9C-101B-9397-08002B2CF9AE}" pid="25" name="p1cd454bacc149bfbcfd764edd279de7">
    <vt:lpwstr/>
  </property>
  <property fmtid="{D5CDD505-2E9C-101B-9397-08002B2CF9AE}" pid="26" name="bc28b5f076654a3b96073bbbebfeb8c9">
    <vt:lpwstr/>
  </property>
  <property fmtid="{D5CDD505-2E9C-101B-9397-08002B2CF9AE}" pid="27" name="j4d667fb28274e85b2214f6e751c8d1f">
    <vt:lpwstr/>
  </property>
  <property fmtid="{D5CDD505-2E9C-101B-9397-08002B2CF9AE}" pid="28" name="MSProducts">
    <vt:lpwstr/>
  </property>
  <property fmtid="{D5CDD505-2E9C-101B-9397-08002B2CF9AE}" pid="29" name="SMSGTags">
    <vt:lpwstr/>
  </property>
  <property fmtid="{D5CDD505-2E9C-101B-9397-08002B2CF9AE}" pid="30" name="j031aa32f4154c8c9a646efae715ebde">
    <vt:lpwstr/>
  </property>
  <property fmtid="{D5CDD505-2E9C-101B-9397-08002B2CF9AE}" pid="31" name="l311460e3fdf46688abc31ddb7bdc05a">
    <vt:lpwstr/>
  </property>
  <property fmtid="{D5CDD505-2E9C-101B-9397-08002B2CF9AE}" pid="32" name="la4444b61d19467597d63190b69ac227">
    <vt:lpwstr/>
  </property>
  <property fmtid="{D5CDD505-2E9C-101B-9397-08002B2CF9AE}" pid="33" name="MSProductsTaxHTField0">
    <vt:lpwstr/>
  </property>
  <property fmtid="{D5CDD505-2E9C-101B-9397-08002B2CF9AE}" pid="34" name="_docset_NoMedatataSyncRequired">
    <vt:lpwstr>False</vt:lpwstr>
  </property>
  <property fmtid="{D5CDD505-2E9C-101B-9397-08002B2CF9AE}" pid="35" name="messageframeworktype">
    <vt:lpwstr/>
  </property>
  <property fmtid="{D5CDD505-2E9C-101B-9397-08002B2CF9AE}" pid="36" name="MSLanguage">
    <vt:lpwstr/>
  </property>
  <property fmtid="{D5CDD505-2E9C-101B-9397-08002B2CF9AE}" pid="37" name="cb7870d3641f4a52807a63577a9c1b08">
    <vt:lpwstr/>
  </property>
  <property fmtid="{D5CDD505-2E9C-101B-9397-08002B2CF9AE}" pid="38" name="LearningOrganization">
    <vt:lpwstr/>
  </property>
  <property fmtid="{D5CDD505-2E9C-101B-9397-08002B2CF9AE}" pid="39" name="EmployeeRole">
    <vt:lpwstr/>
  </property>
  <property fmtid="{D5CDD505-2E9C-101B-9397-08002B2CF9AE}" pid="40" name="LearningDeliveryMethod">
    <vt:lpwstr/>
  </property>
  <property fmtid="{D5CDD505-2E9C-101B-9397-08002B2CF9AE}" pid="41" name="SalesGeography">
    <vt:lpwstr/>
  </property>
  <property fmtid="{D5CDD505-2E9C-101B-9397-08002B2CF9AE}" pid="42" name="WorkflowChangePath">
    <vt:lpwstr>4c942473-d120-4286-a51a-b65ad3d92ffb,9;4c942473-d120-4286-a51a-b65ad3d92ffb,9;4c942473-d120-4286-a51a-b65ad3d92ffb,13;</vt:lpwstr>
  </property>
</Properties>
</file>